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3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4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5.xml" ContentType="application/vnd.openxmlformats-officedocument.theme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6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7.xml" ContentType="application/vnd.openxmlformats-officedocument.theme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8.xml" ContentType="application/vnd.openxmlformats-officedocument.theme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theme/theme9.xml" ContentType="application/vnd.openxmlformats-officedocument.theme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theme/theme10.xml" ContentType="application/vnd.openxmlformats-officedocument.theme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theme/theme11.xml" ContentType="application/vnd.openxmlformats-officedocument.theme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theme/theme12.xml" ContentType="application/vnd.openxmlformats-officedocument.theme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theme/theme13.xml" ContentType="application/vnd.openxmlformats-officedocument.theme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theme/theme14.xml" ContentType="application/vnd.openxmlformats-officedocument.theme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theme/theme15.xml" ContentType="application/vnd.openxmlformats-officedocument.theme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theme/theme16.xml" ContentType="application/vnd.openxmlformats-officedocument.theme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theme/theme17.xml" ContentType="application/vnd.openxmlformats-officedocument.theme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theme/theme18.xml" ContentType="application/vnd.openxmlformats-officedocument.theme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theme/theme1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theme/theme20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theme/theme21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theme/theme22.xml" ContentType="application/vnd.openxmlformats-officedocument.theme+xml"/>
  <Override PartName="/ppt/theme/theme23.xml" ContentType="application/vnd.openxmlformats-officedocument.theme+xml"/>
  <Override PartName="/ppt/theme/theme2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2" r:id="rId2"/>
    <p:sldMasterId id="2147483709" r:id="rId3"/>
    <p:sldMasterId id="2147483736" r:id="rId4"/>
    <p:sldMasterId id="2147483763" r:id="rId5"/>
    <p:sldMasterId id="2147483790" r:id="rId6"/>
    <p:sldMasterId id="2147483817" r:id="rId7"/>
    <p:sldMasterId id="2147483844" r:id="rId8"/>
    <p:sldMasterId id="2147483871" r:id="rId9"/>
    <p:sldMasterId id="2147483898" r:id="rId10"/>
    <p:sldMasterId id="2147483925" r:id="rId11"/>
    <p:sldMasterId id="2147483970" r:id="rId12"/>
    <p:sldMasterId id="2147483998" r:id="rId13"/>
    <p:sldMasterId id="2147484033" r:id="rId14"/>
    <p:sldMasterId id="2147484070" r:id="rId15"/>
    <p:sldMasterId id="2147484086" r:id="rId16"/>
    <p:sldMasterId id="2147484114" r:id="rId17"/>
    <p:sldMasterId id="2147484142" r:id="rId18"/>
    <p:sldMasterId id="2147484158" r:id="rId19"/>
    <p:sldMasterId id="2147484187" r:id="rId20"/>
    <p:sldMasterId id="2147484216" r:id="rId21"/>
    <p:sldMasterId id="2147484245" r:id="rId22"/>
  </p:sldMasterIdLst>
  <p:notesMasterIdLst>
    <p:notesMasterId r:id="rId41"/>
  </p:notesMasterIdLst>
  <p:handoutMasterIdLst>
    <p:handoutMasterId r:id="rId42"/>
  </p:handoutMasterIdLst>
  <p:sldIdLst>
    <p:sldId id="380" r:id="rId23"/>
    <p:sldId id="390" r:id="rId24"/>
    <p:sldId id="337" r:id="rId25"/>
    <p:sldId id="378" r:id="rId26"/>
    <p:sldId id="359" r:id="rId27"/>
    <p:sldId id="347" r:id="rId28"/>
    <p:sldId id="342" r:id="rId29"/>
    <p:sldId id="354" r:id="rId30"/>
    <p:sldId id="364" r:id="rId31"/>
    <p:sldId id="384" r:id="rId32"/>
    <p:sldId id="400" r:id="rId33"/>
    <p:sldId id="398" r:id="rId34"/>
    <p:sldId id="394" r:id="rId35"/>
    <p:sldId id="395" r:id="rId36"/>
    <p:sldId id="392" r:id="rId37"/>
    <p:sldId id="397" r:id="rId38"/>
    <p:sldId id="402" r:id="rId39"/>
    <p:sldId id="388" r:id="rId40"/>
  </p:sldIdLst>
  <p:sldSz cx="12192000" cy="6858000"/>
  <p:notesSz cx="6797675" cy="9926638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B4499"/>
    <a:srgbClr val="6BBD46"/>
    <a:srgbClr val="FF5050"/>
    <a:srgbClr val="3A3A3A"/>
    <a:srgbClr val="716F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41" autoAdjust="0"/>
    <p:restoredTop sz="90409" autoAdjust="0"/>
  </p:normalViewPr>
  <p:slideViewPr>
    <p:cSldViewPr showGuides="1">
      <p:cViewPr>
        <p:scale>
          <a:sx n="80" d="100"/>
          <a:sy n="80" d="100"/>
        </p:scale>
        <p:origin x="-72" y="168"/>
      </p:cViewPr>
      <p:guideLst>
        <p:guide orient="horz" pos="2160"/>
        <p:guide orient="horz" pos="1117"/>
        <p:guide orient="horz" pos="981"/>
        <p:guide orient="horz" pos="1344"/>
        <p:guide orient="horz" pos="3793"/>
        <p:guide pos="3840"/>
        <p:guide pos="574"/>
        <p:guide pos="7106"/>
        <p:guide pos="6199"/>
      </p:guideLst>
    </p:cSldViewPr>
  </p:slideViewPr>
  <p:outlineViewPr>
    <p:cViewPr>
      <p:scale>
        <a:sx n="33" d="100"/>
        <a:sy n="33" d="100"/>
      </p:scale>
      <p:origin x="0" y="5346"/>
    </p:cViewPr>
  </p:outlin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86" d="100"/>
          <a:sy n="86" d="100"/>
        </p:scale>
        <p:origin x="-3810" y="-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4.xml"/><Relationship Id="rId39" Type="http://schemas.openxmlformats.org/officeDocument/2006/relationships/slide" Target="slides/slide17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2.xml"/><Relationship Id="rId42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slide" Target="slides/slide15.xml"/><Relationship Id="rId40" Type="http://schemas.openxmlformats.org/officeDocument/2006/relationships/slide" Target="slides/slide18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slide" Target="slides/slide14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9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slide" Target="slides/slide13.xml"/><Relationship Id="rId43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slide" Target="slides/slide16.xml"/><Relationship Id="rId46" Type="http://schemas.openxmlformats.org/officeDocument/2006/relationships/tableStyles" Target="tableStyles.xml"/><Relationship Id="rId20" Type="http://schemas.openxmlformats.org/officeDocument/2006/relationships/slideMaster" Target="slideMasters/slideMaster20.xml"/><Relationship Id="rId41" Type="http://schemas.openxmlformats.org/officeDocument/2006/relationships/notesMaster" Target="notesMasters/notesMaster1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image" Target="../media/image20.jpeg"/><Relationship Id="rId4" Type="http://schemas.openxmlformats.org/officeDocument/2006/relationships/image" Target="../media/image23.jpe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image" Target="../media/image20.jpeg"/><Relationship Id="rId4" Type="http://schemas.openxmlformats.org/officeDocument/2006/relationships/image" Target="../media/image23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785C936-EFAA-400B-8BF2-65A0FF50D6B5}" type="doc">
      <dgm:prSet loTypeId="urn:microsoft.com/office/officeart/2005/8/layout/cycle8" loCatId="cycle" qsTypeId="urn:microsoft.com/office/officeart/2005/8/quickstyle/simple1" qsCatId="simple" csTypeId="urn:microsoft.com/office/officeart/2005/8/colors/accent1_2" csCatId="accent1" phldr="1"/>
      <dgm:spPr/>
    </dgm:pt>
    <dgm:pt modelId="{A691304E-ED81-4A28-A0C4-454053704C2D}">
      <dgm:prSet phldrT="[Text]"/>
      <dgm:spPr>
        <a:solidFill>
          <a:srgbClr val="FFC000"/>
        </a:solidFill>
      </dgm:spPr>
      <dgm:t>
        <a:bodyPr/>
        <a:lstStyle/>
        <a:p>
          <a:r>
            <a:rPr lang="en-US" b="1" dirty="0" err="1" smtClean="0"/>
            <a:t>Hyvä</a:t>
          </a:r>
          <a:r>
            <a:rPr lang="en-US" b="1" dirty="0" smtClean="0"/>
            <a:t>/ </a:t>
          </a:r>
          <a:r>
            <a:rPr lang="en-US" b="1" dirty="0" err="1" smtClean="0"/>
            <a:t>merkityksellinen</a:t>
          </a:r>
          <a:r>
            <a:rPr lang="en-US" b="1" dirty="0" smtClean="0"/>
            <a:t> </a:t>
          </a:r>
          <a:r>
            <a:rPr lang="en-US" b="1" dirty="0" err="1" smtClean="0"/>
            <a:t>ensikokemus</a:t>
          </a:r>
          <a:endParaRPr lang="en-US" b="1" dirty="0" smtClean="0"/>
        </a:p>
        <a:p>
          <a:r>
            <a:rPr lang="en-US" b="1" dirty="0" err="1" smtClean="0"/>
            <a:t>työelämästä</a:t>
          </a:r>
          <a:endParaRPr lang="en-US" b="1" dirty="0"/>
        </a:p>
      </dgm:t>
    </dgm:pt>
    <dgm:pt modelId="{FDC4BA8E-BBE0-404E-BC73-50237E7D5F9F}" type="parTrans" cxnId="{C0BA54B2-D05B-426C-A665-4D7BBD528686}">
      <dgm:prSet/>
      <dgm:spPr/>
      <dgm:t>
        <a:bodyPr/>
        <a:lstStyle/>
        <a:p>
          <a:endParaRPr lang="en-US"/>
        </a:p>
      </dgm:t>
    </dgm:pt>
    <dgm:pt modelId="{1D187B24-A13A-4F9A-9697-EB5CE6CB33AC}" type="sibTrans" cxnId="{C0BA54B2-D05B-426C-A665-4D7BBD528686}">
      <dgm:prSet/>
      <dgm:spPr/>
      <dgm:t>
        <a:bodyPr/>
        <a:lstStyle/>
        <a:p>
          <a:endParaRPr lang="en-US"/>
        </a:p>
      </dgm:t>
    </dgm:pt>
    <dgm:pt modelId="{5DF6C9F4-253E-484E-A942-AD66C45FA7CA}">
      <dgm:prSet phldrT="[Text]"/>
      <dgm:spPr>
        <a:solidFill>
          <a:schemeClr val="accent2"/>
        </a:solidFill>
      </dgm:spPr>
      <dgm:t>
        <a:bodyPr/>
        <a:lstStyle/>
        <a:p>
          <a:r>
            <a:rPr lang="en-US" b="1" dirty="0" err="1" smtClean="0"/>
            <a:t>Työelämään</a:t>
          </a:r>
          <a:r>
            <a:rPr lang="en-US" b="1" dirty="0" smtClean="0"/>
            <a:t> </a:t>
          </a:r>
          <a:r>
            <a:rPr lang="en-US" b="1" dirty="0" err="1" smtClean="0"/>
            <a:t>kiinnittyminen</a:t>
          </a:r>
          <a:r>
            <a:rPr lang="en-US" b="1" dirty="0" smtClean="0"/>
            <a:t> ja </a:t>
          </a:r>
          <a:r>
            <a:rPr lang="en-US" b="1" dirty="0" err="1" smtClean="0"/>
            <a:t>hyvät</a:t>
          </a:r>
          <a:r>
            <a:rPr lang="en-US" b="1" dirty="0" smtClean="0"/>
            <a:t> </a:t>
          </a:r>
          <a:r>
            <a:rPr lang="en-US" b="1" dirty="0" err="1" smtClean="0"/>
            <a:t>työelämätaidot</a:t>
          </a:r>
          <a:endParaRPr lang="en-US" b="1" dirty="0" smtClean="0"/>
        </a:p>
      </dgm:t>
    </dgm:pt>
    <dgm:pt modelId="{78554C3F-BE24-44FD-8836-F9FA70BC4B77}" type="parTrans" cxnId="{3C31143D-FB6D-4445-8BEC-9517D429C97A}">
      <dgm:prSet/>
      <dgm:spPr/>
      <dgm:t>
        <a:bodyPr/>
        <a:lstStyle/>
        <a:p>
          <a:endParaRPr lang="en-US"/>
        </a:p>
      </dgm:t>
    </dgm:pt>
    <dgm:pt modelId="{F9CF8145-C83C-4F1B-AB65-7C021664DEC8}" type="sibTrans" cxnId="{3C31143D-FB6D-4445-8BEC-9517D429C97A}">
      <dgm:prSet/>
      <dgm:spPr/>
      <dgm:t>
        <a:bodyPr/>
        <a:lstStyle/>
        <a:p>
          <a:endParaRPr lang="en-US"/>
        </a:p>
      </dgm:t>
    </dgm:pt>
    <dgm:pt modelId="{CFB41A30-4892-4721-A7CB-5096F03FE48C}">
      <dgm:prSet/>
      <dgm:spPr>
        <a:solidFill>
          <a:srgbClr val="0070C0"/>
        </a:solidFill>
      </dgm:spPr>
      <dgm:t>
        <a:bodyPr/>
        <a:lstStyle/>
        <a:p>
          <a:r>
            <a:rPr lang="en-US" b="1" dirty="0" err="1" smtClean="0"/>
            <a:t>Nuorten</a:t>
          </a:r>
          <a:r>
            <a:rPr lang="en-US" b="1" dirty="0" smtClean="0"/>
            <a:t> </a:t>
          </a:r>
          <a:r>
            <a:rPr lang="en-US" b="1" dirty="0" err="1" smtClean="0"/>
            <a:t>työhyvinvointi</a:t>
          </a:r>
          <a:r>
            <a:rPr lang="en-US" b="1" dirty="0" smtClean="0"/>
            <a:t> ja </a:t>
          </a:r>
          <a:r>
            <a:rPr lang="en-US" b="1" dirty="0" err="1" smtClean="0"/>
            <a:t>työkykyisyys</a:t>
          </a:r>
          <a:endParaRPr lang="en-US" b="1" dirty="0"/>
        </a:p>
      </dgm:t>
    </dgm:pt>
    <dgm:pt modelId="{0852125B-671A-4083-B12A-5AFDA42807D4}" type="parTrans" cxnId="{9EC6A16E-E3CE-4795-BA38-4CA8B7DDFB01}">
      <dgm:prSet/>
      <dgm:spPr/>
      <dgm:t>
        <a:bodyPr/>
        <a:lstStyle/>
        <a:p>
          <a:endParaRPr lang="en-US"/>
        </a:p>
      </dgm:t>
    </dgm:pt>
    <dgm:pt modelId="{B6FE38F6-2E95-48ED-95CC-02472B49B001}" type="sibTrans" cxnId="{9EC6A16E-E3CE-4795-BA38-4CA8B7DDFB01}">
      <dgm:prSet/>
      <dgm:spPr/>
      <dgm:t>
        <a:bodyPr/>
        <a:lstStyle/>
        <a:p>
          <a:endParaRPr lang="en-US"/>
        </a:p>
      </dgm:t>
    </dgm:pt>
    <dgm:pt modelId="{8B3FFAA8-8E6E-4AC1-A54D-E0E300FE233A}" type="pres">
      <dgm:prSet presAssocID="{7785C936-EFAA-400B-8BF2-65A0FF50D6B5}" presName="compositeShape" presStyleCnt="0">
        <dgm:presLayoutVars>
          <dgm:chMax val="7"/>
          <dgm:dir/>
          <dgm:resizeHandles val="exact"/>
        </dgm:presLayoutVars>
      </dgm:prSet>
      <dgm:spPr/>
    </dgm:pt>
    <dgm:pt modelId="{6E3CECCE-74A7-462E-9C39-34DBEE981C2F}" type="pres">
      <dgm:prSet presAssocID="{7785C936-EFAA-400B-8BF2-65A0FF50D6B5}" presName="wedge1" presStyleLbl="node1" presStyleIdx="0" presStyleCnt="3"/>
      <dgm:spPr/>
      <dgm:t>
        <a:bodyPr/>
        <a:lstStyle/>
        <a:p>
          <a:endParaRPr lang="en-US"/>
        </a:p>
      </dgm:t>
    </dgm:pt>
    <dgm:pt modelId="{972EF175-D891-4518-8D38-52ABC687D9D4}" type="pres">
      <dgm:prSet presAssocID="{7785C936-EFAA-400B-8BF2-65A0FF50D6B5}" presName="dummy1a" presStyleCnt="0"/>
      <dgm:spPr/>
    </dgm:pt>
    <dgm:pt modelId="{2D1A5445-1DC2-4324-9645-C9FDABF15CC6}" type="pres">
      <dgm:prSet presAssocID="{7785C936-EFAA-400B-8BF2-65A0FF50D6B5}" presName="dummy1b" presStyleCnt="0"/>
      <dgm:spPr/>
    </dgm:pt>
    <dgm:pt modelId="{5634E197-0237-4FAE-BE3F-B6B6AB4B3B5C}" type="pres">
      <dgm:prSet presAssocID="{7785C936-EFAA-400B-8BF2-65A0FF50D6B5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0B1939-28D0-47E0-9471-4C8E44657AB2}" type="pres">
      <dgm:prSet presAssocID="{7785C936-EFAA-400B-8BF2-65A0FF50D6B5}" presName="wedge2" presStyleLbl="node1" presStyleIdx="1" presStyleCnt="3"/>
      <dgm:spPr/>
      <dgm:t>
        <a:bodyPr/>
        <a:lstStyle/>
        <a:p>
          <a:endParaRPr lang="en-US"/>
        </a:p>
      </dgm:t>
    </dgm:pt>
    <dgm:pt modelId="{7D6819D1-C867-4AAE-A537-F30672B2DAFB}" type="pres">
      <dgm:prSet presAssocID="{7785C936-EFAA-400B-8BF2-65A0FF50D6B5}" presName="dummy2a" presStyleCnt="0"/>
      <dgm:spPr/>
    </dgm:pt>
    <dgm:pt modelId="{224C5E04-5A64-487F-BDDC-EAF9ED9793DA}" type="pres">
      <dgm:prSet presAssocID="{7785C936-EFAA-400B-8BF2-65A0FF50D6B5}" presName="dummy2b" presStyleCnt="0"/>
      <dgm:spPr/>
    </dgm:pt>
    <dgm:pt modelId="{1448884E-7519-4A7F-800A-7C7B15EEC061}" type="pres">
      <dgm:prSet presAssocID="{7785C936-EFAA-400B-8BF2-65A0FF50D6B5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D6E63E7-B7BD-417A-8313-591FA3FCE7D9}" type="pres">
      <dgm:prSet presAssocID="{7785C936-EFAA-400B-8BF2-65A0FF50D6B5}" presName="wedge3" presStyleLbl="node1" presStyleIdx="2" presStyleCnt="3"/>
      <dgm:spPr/>
      <dgm:t>
        <a:bodyPr/>
        <a:lstStyle/>
        <a:p>
          <a:endParaRPr lang="en-US"/>
        </a:p>
      </dgm:t>
    </dgm:pt>
    <dgm:pt modelId="{1B86FFC9-5927-48C4-84F6-89BD4D455822}" type="pres">
      <dgm:prSet presAssocID="{7785C936-EFAA-400B-8BF2-65A0FF50D6B5}" presName="dummy3a" presStyleCnt="0"/>
      <dgm:spPr/>
    </dgm:pt>
    <dgm:pt modelId="{D18201BC-0813-43D3-A67D-4ABDB1955E79}" type="pres">
      <dgm:prSet presAssocID="{7785C936-EFAA-400B-8BF2-65A0FF50D6B5}" presName="dummy3b" presStyleCnt="0"/>
      <dgm:spPr/>
    </dgm:pt>
    <dgm:pt modelId="{2B8986BA-409E-485A-855C-8D08D2647E26}" type="pres">
      <dgm:prSet presAssocID="{7785C936-EFAA-400B-8BF2-65A0FF50D6B5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35720B-5E90-421B-8B00-88ECF037EC25}" type="pres">
      <dgm:prSet presAssocID="{1D187B24-A13A-4F9A-9697-EB5CE6CB33AC}" presName="arrowWedge1" presStyleLbl="fgSibTrans2D1" presStyleIdx="0" presStyleCnt="3"/>
      <dgm:spPr/>
    </dgm:pt>
    <dgm:pt modelId="{BD4FD05C-C6EF-40DE-8A1F-68ADACBFB107}" type="pres">
      <dgm:prSet presAssocID="{B6FE38F6-2E95-48ED-95CC-02472B49B001}" presName="arrowWedge2" presStyleLbl="fgSibTrans2D1" presStyleIdx="1" presStyleCnt="3"/>
      <dgm:spPr/>
    </dgm:pt>
    <dgm:pt modelId="{968DFC0B-51ED-4BD5-B307-94812671F19C}" type="pres">
      <dgm:prSet presAssocID="{F9CF8145-C83C-4F1B-AB65-7C021664DEC8}" presName="arrowWedge3" presStyleLbl="fgSibTrans2D1" presStyleIdx="2" presStyleCnt="3"/>
      <dgm:spPr/>
    </dgm:pt>
  </dgm:ptLst>
  <dgm:cxnLst>
    <dgm:cxn modelId="{9EC6A16E-E3CE-4795-BA38-4CA8B7DDFB01}" srcId="{7785C936-EFAA-400B-8BF2-65A0FF50D6B5}" destId="{CFB41A30-4892-4721-A7CB-5096F03FE48C}" srcOrd="1" destOrd="0" parTransId="{0852125B-671A-4083-B12A-5AFDA42807D4}" sibTransId="{B6FE38F6-2E95-48ED-95CC-02472B49B001}"/>
    <dgm:cxn modelId="{6B87F9D4-24C9-46FE-836D-9EA588879852}" type="presOf" srcId="{CFB41A30-4892-4721-A7CB-5096F03FE48C}" destId="{E50B1939-28D0-47E0-9471-4C8E44657AB2}" srcOrd="0" destOrd="0" presId="urn:microsoft.com/office/officeart/2005/8/layout/cycle8"/>
    <dgm:cxn modelId="{3C31143D-FB6D-4445-8BEC-9517D429C97A}" srcId="{7785C936-EFAA-400B-8BF2-65A0FF50D6B5}" destId="{5DF6C9F4-253E-484E-A942-AD66C45FA7CA}" srcOrd="2" destOrd="0" parTransId="{78554C3F-BE24-44FD-8836-F9FA70BC4B77}" sibTransId="{F9CF8145-C83C-4F1B-AB65-7C021664DEC8}"/>
    <dgm:cxn modelId="{2351A6DF-4B8E-48F7-A7EE-0130DAD7E4A1}" type="presOf" srcId="{7785C936-EFAA-400B-8BF2-65A0FF50D6B5}" destId="{8B3FFAA8-8E6E-4AC1-A54D-E0E300FE233A}" srcOrd="0" destOrd="0" presId="urn:microsoft.com/office/officeart/2005/8/layout/cycle8"/>
    <dgm:cxn modelId="{C0BA54B2-D05B-426C-A665-4D7BBD528686}" srcId="{7785C936-EFAA-400B-8BF2-65A0FF50D6B5}" destId="{A691304E-ED81-4A28-A0C4-454053704C2D}" srcOrd="0" destOrd="0" parTransId="{FDC4BA8E-BBE0-404E-BC73-50237E7D5F9F}" sibTransId="{1D187B24-A13A-4F9A-9697-EB5CE6CB33AC}"/>
    <dgm:cxn modelId="{364619BA-CFEF-443F-8379-170FCCB3C88A}" type="presOf" srcId="{CFB41A30-4892-4721-A7CB-5096F03FE48C}" destId="{1448884E-7519-4A7F-800A-7C7B15EEC061}" srcOrd="1" destOrd="0" presId="urn:microsoft.com/office/officeart/2005/8/layout/cycle8"/>
    <dgm:cxn modelId="{17A24A40-2BE8-4432-B977-F28B5CF26655}" type="presOf" srcId="{5DF6C9F4-253E-484E-A942-AD66C45FA7CA}" destId="{2B8986BA-409E-485A-855C-8D08D2647E26}" srcOrd="1" destOrd="0" presId="urn:microsoft.com/office/officeart/2005/8/layout/cycle8"/>
    <dgm:cxn modelId="{E0720EA4-E04A-4CCA-8459-09E2C8644D97}" type="presOf" srcId="{A691304E-ED81-4A28-A0C4-454053704C2D}" destId="{6E3CECCE-74A7-462E-9C39-34DBEE981C2F}" srcOrd="0" destOrd="0" presId="urn:microsoft.com/office/officeart/2005/8/layout/cycle8"/>
    <dgm:cxn modelId="{C7FAF522-3C57-4B39-9A95-6B54380ACE46}" type="presOf" srcId="{A691304E-ED81-4A28-A0C4-454053704C2D}" destId="{5634E197-0237-4FAE-BE3F-B6B6AB4B3B5C}" srcOrd="1" destOrd="0" presId="urn:microsoft.com/office/officeart/2005/8/layout/cycle8"/>
    <dgm:cxn modelId="{5735F46E-81CC-4ED0-9FEB-59E60487ACCA}" type="presOf" srcId="{5DF6C9F4-253E-484E-A942-AD66C45FA7CA}" destId="{0D6E63E7-B7BD-417A-8313-591FA3FCE7D9}" srcOrd="0" destOrd="0" presId="urn:microsoft.com/office/officeart/2005/8/layout/cycle8"/>
    <dgm:cxn modelId="{FD8BCBCE-D7E0-453A-AE57-38A1683523DC}" type="presParOf" srcId="{8B3FFAA8-8E6E-4AC1-A54D-E0E300FE233A}" destId="{6E3CECCE-74A7-462E-9C39-34DBEE981C2F}" srcOrd="0" destOrd="0" presId="urn:microsoft.com/office/officeart/2005/8/layout/cycle8"/>
    <dgm:cxn modelId="{36D3896E-A24E-426F-BC5D-A1F72C6C602E}" type="presParOf" srcId="{8B3FFAA8-8E6E-4AC1-A54D-E0E300FE233A}" destId="{972EF175-D891-4518-8D38-52ABC687D9D4}" srcOrd="1" destOrd="0" presId="urn:microsoft.com/office/officeart/2005/8/layout/cycle8"/>
    <dgm:cxn modelId="{323DA9D6-B1C6-4191-85C8-54F9ABED62C5}" type="presParOf" srcId="{8B3FFAA8-8E6E-4AC1-A54D-E0E300FE233A}" destId="{2D1A5445-1DC2-4324-9645-C9FDABF15CC6}" srcOrd="2" destOrd="0" presId="urn:microsoft.com/office/officeart/2005/8/layout/cycle8"/>
    <dgm:cxn modelId="{C9D6196F-69D0-4166-83B6-52B7A0037A68}" type="presParOf" srcId="{8B3FFAA8-8E6E-4AC1-A54D-E0E300FE233A}" destId="{5634E197-0237-4FAE-BE3F-B6B6AB4B3B5C}" srcOrd="3" destOrd="0" presId="urn:microsoft.com/office/officeart/2005/8/layout/cycle8"/>
    <dgm:cxn modelId="{E6DBB43D-36B9-462B-9BAB-47329FADE9AE}" type="presParOf" srcId="{8B3FFAA8-8E6E-4AC1-A54D-E0E300FE233A}" destId="{E50B1939-28D0-47E0-9471-4C8E44657AB2}" srcOrd="4" destOrd="0" presId="urn:microsoft.com/office/officeart/2005/8/layout/cycle8"/>
    <dgm:cxn modelId="{E545ABEF-65EB-4BF2-9D7F-BB92EB59E98F}" type="presParOf" srcId="{8B3FFAA8-8E6E-4AC1-A54D-E0E300FE233A}" destId="{7D6819D1-C867-4AAE-A537-F30672B2DAFB}" srcOrd="5" destOrd="0" presId="urn:microsoft.com/office/officeart/2005/8/layout/cycle8"/>
    <dgm:cxn modelId="{CEECA403-CC00-4B89-B7B2-FBCDD01BD13C}" type="presParOf" srcId="{8B3FFAA8-8E6E-4AC1-A54D-E0E300FE233A}" destId="{224C5E04-5A64-487F-BDDC-EAF9ED9793DA}" srcOrd="6" destOrd="0" presId="urn:microsoft.com/office/officeart/2005/8/layout/cycle8"/>
    <dgm:cxn modelId="{925DF98E-D4A7-4FA7-9547-BE3FEBB86281}" type="presParOf" srcId="{8B3FFAA8-8E6E-4AC1-A54D-E0E300FE233A}" destId="{1448884E-7519-4A7F-800A-7C7B15EEC061}" srcOrd="7" destOrd="0" presId="urn:microsoft.com/office/officeart/2005/8/layout/cycle8"/>
    <dgm:cxn modelId="{E43842CC-DE5C-4700-8E36-30C3E6304456}" type="presParOf" srcId="{8B3FFAA8-8E6E-4AC1-A54D-E0E300FE233A}" destId="{0D6E63E7-B7BD-417A-8313-591FA3FCE7D9}" srcOrd="8" destOrd="0" presId="urn:microsoft.com/office/officeart/2005/8/layout/cycle8"/>
    <dgm:cxn modelId="{9E982266-7600-4C61-ADA5-CF0E57FFD912}" type="presParOf" srcId="{8B3FFAA8-8E6E-4AC1-A54D-E0E300FE233A}" destId="{1B86FFC9-5927-48C4-84F6-89BD4D455822}" srcOrd="9" destOrd="0" presId="urn:microsoft.com/office/officeart/2005/8/layout/cycle8"/>
    <dgm:cxn modelId="{F8DFDFA9-2261-4475-A5BD-368A64EEFCE0}" type="presParOf" srcId="{8B3FFAA8-8E6E-4AC1-A54D-E0E300FE233A}" destId="{D18201BC-0813-43D3-A67D-4ABDB1955E79}" srcOrd="10" destOrd="0" presId="urn:microsoft.com/office/officeart/2005/8/layout/cycle8"/>
    <dgm:cxn modelId="{55572D36-8EC2-4747-89C0-BC594A1B5C95}" type="presParOf" srcId="{8B3FFAA8-8E6E-4AC1-A54D-E0E300FE233A}" destId="{2B8986BA-409E-485A-855C-8D08D2647E26}" srcOrd="11" destOrd="0" presId="urn:microsoft.com/office/officeart/2005/8/layout/cycle8"/>
    <dgm:cxn modelId="{4652BE2B-0E8D-460C-965D-660FCAC46C30}" type="presParOf" srcId="{8B3FFAA8-8E6E-4AC1-A54D-E0E300FE233A}" destId="{AC35720B-5E90-421B-8B00-88ECF037EC25}" srcOrd="12" destOrd="0" presId="urn:microsoft.com/office/officeart/2005/8/layout/cycle8"/>
    <dgm:cxn modelId="{7A5C2A3E-03D3-4A48-80AA-59085363001F}" type="presParOf" srcId="{8B3FFAA8-8E6E-4AC1-A54D-E0E300FE233A}" destId="{BD4FD05C-C6EF-40DE-8A1F-68ADACBFB107}" srcOrd="13" destOrd="0" presId="urn:microsoft.com/office/officeart/2005/8/layout/cycle8"/>
    <dgm:cxn modelId="{EBFD452B-447E-4E6E-B06C-F5CD26B1332F}" type="presParOf" srcId="{8B3FFAA8-8E6E-4AC1-A54D-E0E300FE233A}" destId="{968DFC0B-51ED-4BD5-B307-94812671F19C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651871B-9BBC-492F-8668-0CCE95601D67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E45033F6-A8ED-40E8-96B2-A8D838B1AA7B}">
      <dgm:prSet phldrT="[Teksti]" custT="1"/>
      <dgm:spPr/>
      <dgm:t>
        <a:bodyPr/>
        <a:lstStyle/>
        <a:p>
          <a:r>
            <a:rPr lang="fi-FI" sz="1400" b="1" dirty="0" smtClean="0"/>
            <a:t>Nuorten työelämäodotusten selvitys</a:t>
          </a:r>
          <a:endParaRPr lang="fi-FI" sz="1400" b="1" dirty="0"/>
        </a:p>
      </dgm:t>
    </dgm:pt>
    <dgm:pt modelId="{D4A73D89-9929-492F-8504-72A55C7BD7E2}" type="parTrans" cxnId="{1BBE55AE-8C39-4357-8145-246D963EDA1C}">
      <dgm:prSet/>
      <dgm:spPr/>
      <dgm:t>
        <a:bodyPr/>
        <a:lstStyle/>
        <a:p>
          <a:endParaRPr lang="fi-FI"/>
        </a:p>
      </dgm:t>
    </dgm:pt>
    <dgm:pt modelId="{CD952FA1-A8EA-462B-AAED-B606F6E4C531}" type="sibTrans" cxnId="{1BBE55AE-8C39-4357-8145-246D963EDA1C}">
      <dgm:prSet/>
      <dgm:spPr/>
      <dgm:t>
        <a:bodyPr/>
        <a:lstStyle/>
        <a:p>
          <a:endParaRPr lang="fi-FI"/>
        </a:p>
      </dgm:t>
    </dgm:pt>
    <dgm:pt modelId="{DFCE84FC-0FD1-4D07-AE72-9AE669B02206}">
      <dgm:prSet phldrT="[Teksti]" custT="1"/>
      <dgm:spPr/>
      <dgm:t>
        <a:bodyPr/>
        <a:lstStyle/>
        <a:p>
          <a:r>
            <a:rPr lang="fi-FI" sz="1200" dirty="0" smtClean="0">
              <a:solidFill>
                <a:srgbClr val="FFC000"/>
              </a:solidFill>
            </a:rPr>
            <a:t>TTL  - Auli </a:t>
          </a:r>
          <a:r>
            <a:rPr lang="fi-FI" sz="1200" dirty="0" err="1" smtClean="0">
              <a:solidFill>
                <a:srgbClr val="FFC000"/>
              </a:solidFill>
            </a:rPr>
            <a:t>Airila</a:t>
          </a:r>
          <a:r>
            <a:rPr lang="fi-FI" sz="1200" dirty="0" smtClean="0">
              <a:solidFill>
                <a:srgbClr val="FFC000"/>
              </a:solidFill>
            </a:rPr>
            <a:t> PP </a:t>
          </a:r>
          <a:r>
            <a:rPr lang="fi-FI" sz="1200" dirty="0" smtClean="0"/>
            <a:t>ja TTL – Mikko Nykänen</a:t>
          </a:r>
          <a:endParaRPr lang="fi-FI" sz="1200" dirty="0"/>
        </a:p>
      </dgm:t>
    </dgm:pt>
    <dgm:pt modelId="{00BCD85A-1FD5-474A-8288-7323E1D52D7C}" type="parTrans" cxnId="{D71A2CDB-C2FE-46F8-9C44-BC9710C4B22D}">
      <dgm:prSet/>
      <dgm:spPr/>
      <dgm:t>
        <a:bodyPr/>
        <a:lstStyle/>
        <a:p>
          <a:endParaRPr lang="fi-FI"/>
        </a:p>
      </dgm:t>
    </dgm:pt>
    <dgm:pt modelId="{881ABA3E-6342-4282-B531-2E4CC7D60351}" type="sibTrans" cxnId="{D71A2CDB-C2FE-46F8-9C44-BC9710C4B22D}">
      <dgm:prSet/>
      <dgm:spPr/>
      <dgm:t>
        <a:bodyPr/>
        <a:lstStyle/>
        <a:p>
          <a:endParaRPr lang="fi-FI"/>
        </a:p>
      </dgm:t>
    </dgm:pt>
    <dgm:pt modelId="{A1DC16FB-4748-44E7-A19F-6854BBBD9A92}">
      <dgm:prSet phldrT="[Teksti]" custT="1"/>
      <dgm:spPr/>
      <dgm:t>
        <a:bodyPr/>
        <a:lstStyle/>
        <a:p>
          <a:r>
            <a:rPr lang="fi-FI" sz="1200" dirty="0" smtClean="0"/>
            <a:t>Elo  - Marjo Wallin</a:t>
          </a:r>
          <a:endParaRPr lang="fi-FI" sz="1200" dirty="0"/>
        </a:p>
      </dgm:t>
    </dgm:pt>
    <dgm:pt modelId="{0B3AA896-9DAC-4866-A6C6-94D8356F4444}" type="parTrans" cxnId="{47117D59-804A-4FD2-AC3B-69E839137441}">
      <dgm:prSet/>
      <dgm:spPr/>
      <dgm:t>
        <a:bodyPr/>
        <a:lstStyle/>
        <a:p>
          <a:endParaRPr lang="fi-FI"/>
        </a:p>
      </dgm:t>
    </dgm:pt>
    <dgm:pt modelId="{53065F7B-7ABB-45F1-8362-138FA2A659E6}" type="sibTrans" cxnId="{47117D59-804A-4FD2-AC3B-69E839137441}">
      <dgm:prSet/>
      <dgm:spPr/>
      <dgm:t>
        <a:bodyPr/>
        <a:lstStyle/>
        <a:p>
          <a:endParaRPr lang="fi-FI"/>
        </a:p>
      </dgm:t>
    </dgm:pt>
    <dgm:pt modelId="{D8119DE8-030A-4017-8372-15F6DF4317F6}">
      <dgm:prSet phldrT="[Teksti]" custT="1"/>
      <dgm:spPr/>
      <dgm:t>
        <a:bodyPr/>
        <a:lstStyle/>
        <a:p>
          <a:r>
            <a:rPr lang="fi-FI" sz="1400" b="1" dirty="0" smtClean="0"/>
            <a:t>Työkykypassi -työkalu</a:t>
          </a:r>
          <a:endParaRPr lang="fi-FI" sz="1400" b="1" dirty="0"/>
        </a:p>
      </dgm:t>
    </dgm:pt>
    <dgm:pt modelId="{22C3448C-6614-4B18-83BB-1CD8BA8A879B}" type="parTrans" cxnId="{C3545A04-E124-42E4-9AD4-3814FA796B53}">
      <dgm:prSet/>
      <dgm:spPr/>
      <dgm:t>
        <a:bodyPr/>
        <a:lstStyle/>
        <a:p>
          <a:endParaRPr lang="fi-FI"/>
        </a:p>
      </dgm:t>
    </dgm:pt>
    <dgm:pt modelId="{E221548B-CC63-46D8-B5C9-C67AF90A96BB}" type="sibTrans" cxnId="{C3545A04-E124-42E4-9AD4-3814FA796B53}">
      <dgm:prSet/>
      <dgm:spPr/>
      <dgm:t>
        <a:bodyPr/>
        <a:lstStyle/>
        <a:p>
          <a:endParaRPr lang="fi-FI"/>
        </a:p>
      </dgm:t>
    </dgm:pt>
    <dgm:pt modelId="{F03C1E90-8D29-4679-A645-31AC324C9080}">
      <dgm:prSet phldrT="[Teksti]" custT="1"/>
      <dgm:spPr/>
      <dgm:t>
        <a:bodyPr/>
        <a:lstStyle/>
        <a:p>
          <a:r>
            <a:rPr lang="fi-FI" sz="1200" dirty="0" smtClean="0">
              <a:solidFill>
                <a:srgbClr val="FFC000"/>
              </a:solidFill>
            </a:rPr>
            <a:t>TTL – Mikko Nykänen PP</a:t>
          </a:r>
          <a:endParaRPr lang="fi-FI" sz="1200" dirty="0">
            <a:solidFill>
              <a:srgbClr val="FFC000"/>
            </a:solidFill>
          </a:endParaRPr>
        </a:p>
      </dgm:t>
    </dgm:pt>
    <dgm:pt modelId="{1EB01EC7-91FD-4B3F-B3B4-9AF3F75F7B6A}" type="parTrans" cxnId="{D1173260-F053-4CF7-84A0-73B0D1038E28}">
      <dgm:prSet/>
      <dgm:spPr/>
      <dgm:t>
        <a:bodyPr/>
        <a:lstStyle/>
        <a:p>
          <a:endParaRPr lang="fi-FI"/>
        </a:p>
      </dgm:t>
    </dgm:pt>
    <dgm:pt modelId="{B1FDB277-EA13-4084-852F-06C1F5571510}" type="sibTrans" cxnId="{D1173260-F053-4CF7-84A0-73B0D1038E28}">
      <dgm:prSet/>
      <dgm:spPr/>
      <dgm:t>
        <a:bodyPr/>
        <a:lstStyle/>
        <a:p>
          <a:endParaRPr lang="fi-FI"/>
        </a:p>
      </dgm:t>
    </dgm:pt>
    <dgm:pt modelId="{B36CEE54-BF23-4314-BAEE-200699159439}">
      <dgm:prSet phldrT="[Teksti]" custT="1"/>
      <dgm:spPr/>
      <dgm:t>
        <a:bodyPr/>
        <a:lstStyle/>
        <a:p>
          <a:r>
            <a:rPr lang="fi-FI" sz="1200" dirty="0" err="1" smtClean="0"/>
            <a:t>Saky</a:t>
          </a:r>
          <a:r>
            <a:rPr lang="fi-FI" sz="1200" dirty="0" smtClean="0"/>
            <a:t> ry – Ville Virtanen</a:t>
          </a:r>
          <a:endParaRPr lang="fi-FI" sz="1200" dirty="0"/>
        </a:p>
      </dgm:t>
    </dgm:pt>
    <dgm:pt modelId="{1D67522F-7848-42D6-BA95-2F2A336141D6}" type="parTrans" cxnId="{184E3FD9-1F46-4F97-AE5B-319D18CC4A7E}">
      <dgm:prSet/>
      <dgm:spPr/>
      <dgm:t>
        <a:bodyPr/>
        <a:lstStyle/>
        <a:p>
          <a:endParaRPr lang="fi-FI"/>
        </a:p>
      </dgm:t>
    </dgm:pt>
    <dgm:pt modelId="{3C502DCE-59E7-4834-AD29-01CE6AE7D92F}" type="sibTrans" cxnId="{184E3FD9-1F46-4F97-AE5B-319D18CC4A7E}">
      <dgm:prSet/>
      <dgm:spPr/>
      <dgm:t>
        <a:bodyPr/>
        <a:lstStyle/>
        <a:p>
          <a:endParaRPr lang="fi-FI"/>
        </a:p>
      </dgm:t>
    </dgm:pt>
    <dgm:pt modelId="{7A0A3BD2-3AA0-49B3-97E7-D82FEC493873}">
      <dgm:prSet phldrT="[Teksti]" custT="1"/>
      <dgm:spPr/>
      <dgm:t>
        <a:bodyPr/>
        <a:lstStyle/>
        <a:p>
          <a:r>
            <a:rPr lang="fi-FI" sz="1400" b="1" dirty="0" smtClean="0"/>
            <a:t>Työpaikka/elämäluotsi - Työote</a:t>
          </a:r>
          <a:endParaRPr lang="fi-FI" sz="1400" b="1" dirty="0"/>
        </a:p>
      </dgm:t>
    </dgm:pt>
    <dgm:pt modelId="{A4110E0D-EED9-4066-893C-49DB21F21F6B}" type="parTrans" cxnId="{7CAD922D-7AF0-4628-AB2E-7EAAEB24F9A3}">
      <dgm:prSet/>
      <dgm:spPr/>
      <dgm:t>
        <a:bodyPr/>
        <a:lstStyle/>
        <a:p>
          <a:endParaRPr lang="fi-FI"/>
        </a:p>
      </dgm:t>
    </dgm:pt>
    <dgm:pt modelId="{060D4E50-E910-4CE4-A9B7-3E6CD7BE8967}" type="sibTrans" cxnId="{7CAD922D-7AF0-4628-AB2E-7EAAEB24F9A3}">
      <dgm:prSet/>
      <dgm:spPr/>
      <dgm:t>
        <a:bodyPr/>
        <a:lstStyle/>
        <a:p>
          <a:endParaRPr lang="fi-FI"/>
        </a:p>
      </dgm:t>
    </dgm:pt>
    <dgm:pt modelId="{87D344B2-CB91-442E-ABEE-19C2B1868C7E}">
      <dgm:prSet phldrT="[Teksti]" custT="1"/>
      <dgm:spPr/>
      <dgm:t>
        <a:bodyPr/>
        <a:lstStyle/>
        <a:p>
          <a:r>
            <a:rPr lang="fi-FI" sz="1200" dirty="0" err="1" smtClean="0">
              <a:solidFill>
                <a:srgbClr val="FFC000"/>
              </a:solidFill>
            </a:rPr>
            <a:t>Saky</a:t>
          </a:r>
          <a:r>
            <a:rPr lang="fi-FI" sz="1200" dirty="0" smtClean="0">
              <a:solidFill>
                <a:srgbClr val="FFC000"/>
              </a:solidFill>
            </a:rPr>
            <a:t> ry – Ville Virtanen PP</a:t>
          </a:r>
          <a:endParaRPr lang="fi-FI" sz="1200" dirty="0">
            <a:solidFill>
              <a:srgbClr val="FFC000"/>
            </a:solidFill>
          </a:endParaRPr>
        </a:p>
      </dgm:t>
    </dgm:pt>
    <dgm:pt modelId="{1E7A3014-3F8F-43DD-9A7A-B2F30EEE4A0B}" type="parTrans" cxnId="{03113374-CF9B-45DD-807C-9C5FB99D7601}">
      <dgm:prSet/>
      <dgm:spPr/>
      <dgm:t>
        <a:bodyPr/>
        <a:lstStyle/>
        <a:p>
          <a:endParaRPr lang="fi-FI"/>
        </a:p>
      </dgm:t>
    </dgm:pt>
    <dgm:pt modelId="{A58D3142-8F91-4F9B-A34E-3800C6C9CAD4}" type="sibTrans" cxnId="{03113374-CF9B-45DD-807C-9C5FB99D7601}">
      <dgm:prSet/>
      <dgm:spPr/>
      <dgm:t>
        <a:bodyPr/>
        <a:lstStyle/>
        <a:p>
          <a:endParaRPr lang="fi-FI"/>
        </a:p>
      </dgm:t>
    </dgm:pt>
    <dgm:pt modelId="{0220455E-B913-4BDB-93DC-D187089FEA51}">
      <dgm:prSet phldrT="[Teksti]" custT="1"/>
      <dgm:spPr/>
      <dgm:t>
        <a:bodyPr/>
        <a:lstStyle/>
        <a:p>
          <a:r>
            <a:rPr lang="fi-FI" sz="1200" dirty="0" smtClean="0"/>
            <a:t>PKO – Seija Hämäläinen</a:t>
          </a:r>
          <a:endParaRPr lang="fi-FI" sz="1200" dirty="0"/>
        </a:p>
      </dgm:t>
    </dgm:pt>
    <dgm:pt modelId="{C4B3B8CA-838B-4C55-ADA8-518A8A7F9198}" type="parTrans" cxnId="{463B95F5-1AA0-421A-8558-B08B786A80FE}">
      <dgm:prSet/>
      <dgm:spPr/>
      <dgm:t>
        <a:bodyPr/>
        <a:lstStyle/>
        <a:p>
          <a:endParaRPr lang="fi-FI"/>
        </a:p>
      </dgm:t>
    </dgm:pt>
    <dgm:pt modelId="{1EB60714-1657-46B0-AB3D-166956A7C6E2}" type="sibTrans" cxnId="{463B95F5-1AA0-421A-8558-B08B786A80FE}">
      <dgm:prSet/>
      <dgm:spPr/>
      <dgm:t>
        <a:bodyPr/>
        <a:lstStyle/>
        <a:p>
          <a:endParaRPr lang="fi-FI"/>
        </a:p>
      </dgm:t>
    </dgm:pt>
    <dgm:pt modelId="{198D3B5A-7DA6-4478-915C-B94A8568A794}">
      <dgm:prSet phldrT="[Teksti]" custT="1"/>
      <dgm:spPr/>
      <dgm:t>
        <a:bodyPr/>
        <a:lstStyle/>
        <a:p>
          <a:r>
            <a:rPr lang="fi-FI" sz="1200" dirty="0" smtClean="0"/>
            <a:t>SOK – Sanna-Mari Myllynen</a:t>
          </a:r>
          <a:endParaRPr lang="fi-FI" sz="1200" dirty="0"/>
        </a:p>
      </dgm:t>
    </dgm:pt>
    <dgm:pt modelId="{315D30BF-A08A-4EE2-8756-6BAC7D992893}" type="parTrans" cxnId="{D1644CD7-CB24-4189-B910-A7D97931FC69}">
      <dgm:prSet/>
      <dgm:spPr/>
      <dgm:t>
        <a:bodyPr/>
        <a:lstStyle/>
        <a:p>
          <a:endParaRPr lang="fi-FI"/>
        </a:p>
      </dgm:t>
    </dgm:pt>
    <dgm:pt modelId="{AB5888C2-2356-4870-BFDA-AFA75DDD3B12}" type="sibTrans" cxnId="{D1644CD7-CB24-4189-B910-A7D97931FC69}">
      <dgm:prSet/>
      <dgm:spPr/>
      <dgm:t>
        <a:bodyPr/>
        <a:lstStyle/>
        <a:p>
          <a:endParaRPr lang="fi-FI"/>
        </a:p>
      </dgm:t>
    </dgm:pt>
    <dgm:pt modelId="{3A2CF5B6-0ABD-482B-ACBD-EC013FDF9558}">
      <dgm:prSet phldrT="[Teksti]" custT="1"/>
      <dgm:spPr/>
      <dgm:t>
        <a:bodyPr/>
        <a:lstStyle/>
        <a:p>
          <a:r>
            <a:rPr lang="fi-FI" sz="1200" dirty="0" smtClean="0"/>
            <a:t>Nuorten edustus - Jonna Eerola</a:t>
          </a:r>
          <a:endParaRPr lang="fi-FI" sz="1200" dirty="0"/>
        </a:p>
      </dgm:t>
    </dgm:pt>
    <dgm:pt modelId="{FFFCC89D-59A6-42CF-880E-BA51C04F724A}" type="parTrans" cxnId="{709A1862-A814-433E-B357-A4A1BF5E5418}">
      <dgm:prSet/>
      <dgm:spPr/>
      <dgm:t>
        <a:bodyPr/>
        <a:lstStyle/>
        <a:p>
          <a:endParaRPr lang="fi-FI"/>
        </a:p>
      </dgm:t>
    </dgm:pt>
    <dgm:pt modelId="{675F8833-4C64-493A-BC99-4F65E77FDCC7}" type="sibTrans" cxnId="{709A1862-A814-433E-B357-A4A1BF5E5418}">
      <dgm:prSet/>
      <dgm:spPr/>
      <dgm:t>
        <a:bodyPr/>
        <a:lstStyle/>
        <a:p>
          <a:endParaRPr lang="fi-FI"/>
        </a:p>
      </dgm:t>
    </dgm:pt>
    <dgm:pt modelId="{192F87B4-78B8-475A-AD70-34F4BE7E8ECB}">
      <dgm:prSet phldrT="[Teksti]" custT="1"/>
      <dgm:spPr/>
      <dgm:t>
        <a:bodyPr/>
        <a:lstStyle/>
        <a:p>
          <a:r>
            <a:rPr lang="fi-FI" sz="1200" dirty="0" smtClean="0"/>
            <a:t>AOK </a:t>
          </a:r>
          <a:r>
            <a:rPr lang="fi-FI" sz="1200" dirty="0" err="1" smtClean="0"/>
            <a:t>Hämeenmaa</a:t>
          </a:r>
          <a:r>
            <a:rPr lang="fi-FI" sz="1200" dirty="0" smtClean="0"/>
            <a:t> - Maarit </a:t>
          </a:r>
          <a:r>
            <a:rPr lang="fi-FI" sz="1200" dirty="0" err="1" smtClean="0"/>
            <a:t>Pelli</a:t>
          </a:r>
          <a:r>
            <a:rPr lang="fi-FI" sz="1200" dirty="0" smtClean="0"/>
            <a:t> ja VBO Paula Pajunen</a:t>
          </a:r>
          <a:endParaRPr lang="fi-FI" sz="1200" dirty="0"/>
        </a:p>
      </dgm:t>
    </dgm:pt>
    <dgm:pt modelId="{6CA3D7D1-9F55-4014-B815-750469A916F9}" type="parTrans" cxnId="{E0735B66-5C79-4799-A00F-AD703621E045}">
      <dgm:prSet/>
      <dgm:spPr/>
      <dgm:t>
        <a:bodyPr/>
        <a:lstStyle/>
        <a:p>
          <a:endParaRPr lang="fi-FI"/>
        </a:p>
      </dgm:t>
    </dgm:pt>
    <dgm:pt modelId="{78B12A75-66BE-4844-BFBB-B3C085E4482E}" type="sibTrans" cxnId="{E0735B66-5C79-4799-A00F-AD703621E045}">
      <dgm:prSet/>
      <dgm:spPr/>
      <dgm:t>
        <a:bodyPr/>
        <a:lstStyle/>
        <a:p>
          <a:endParaRPr lang="fi-FI"/>
        </a:p>
      </dgm:t>
    </dgm:pt>
    <dgm:pt modelId="{4643B490-1F96-4421-A1FD-96718B11A153}">
      <dgm:prSet phldrT="[Teksti]" custT="1"/>
      <dgm:spPr/>
      <dgm:t>
        <a:bodyPr/>
        <a:lstStyle/>
        <a:p>
          <a:r>
            <a:rPr lang="fi-FI" sz="1200" dirty="0" smtClean="0"/>
            <a:t>SOK – Sanna-Mari Myllynen</a:t>
          </a:r>
          <a:endParaRPr lang="fi-FI" sz="1200" dirty="0"/>
        </a:p>
      </dgm:t>
    </dgm:pt>
    <dgm:pt modelId="{FB0E24DE-5C86-4A99-94B8-B27079967349}" type="parTrans" cxnId="{8A26EB98-8241-45E0-85C7-617A16EC4C62}">
      <dgm:prSet/>
      <dgm:spPr/>
      <dgm:t>
        <a:bodyPr/>
        <a:lstStyle/>
        <a:p>
          <a:endParaRPr lang="fi-FI"/>
        </a:p>
      </dgm:t>
    </dgm:pt>
    <dgm:pt modelId="{02913DF4-2813-47FC-9AA3-9BAD66884F25}" type="sibTrans" cxnId="{8A26EB98-8241-45E0-85C7-617A16EC4C62}">
      <dgm:prSet/>
      <dgm:spPr/>
      <dgm:t>
        <a:bodyPr/>
        <a:lstStyle/>
        <a:p>
          <a:endParaRPr lang="fi-FI"/>
        </a:p>
      </dgm:t>
    </dgm:pt>
    <dgm:pt modelId="{B2063185-19AB-4E11-ACA6-69A352E87442}">
      <dgm:prSet phldrT="[Teksti]" custT="1"/>
      <dgm:spPr/>
      <dgm:t>
        <a:bodyPr/>
        <a:lstStyle/>
        <a:p>
          <a:r>
            <a:rPr lang="fi-FI" sz="1200" dirty="0" smtClean="0"/>
            <a:t>Nuorten edustus - </a:t>
          </a:r>
          <a:r>
            <a:rPr lang="fi-FI" sz="1200" dirty="0" err="1" smtClean="0"/>
            <a:t>Samir</a:t>
          </a:r>
          <a:r>
            <a:rPr lang="fi-FI" sz="1200" dirty="0" smtClean="0"/>
            <a:t> </a:t>
          </a:r>
          <a:r>
            <a:rPr lang="fi-FI" sz="1200" dirty="0" err="1" smtClean="0"/>
            <a:t>Heroum</a:t>
          </a:r>
          <a:endParaRPr lang="fi-FI" sz="1200" dirty="0"/>
        </a:p>
      </dgm:t>
    </dgm:pt>
    <dgm:pt modelId="{44163DC4-2859-44AF-8133-C7DA4D06D2CD}" type="parTrans" cxnId="{7272A9D0-467B-4F57-B7C0-47358E2E5F7E}">
      <dgm:prSet/>
      <dgm:spPr/>
      <dgm:t>
        <a:bodyPr/>
        <a:lstStyle/>
        <a:p>
          <a:endParaRPr lang="fi-FI"/>
        </a:p>
      </dgm:t>
    </dgm:pt>
    <dgm:pt modelId="{A7A93FA6-92C5-46DB-BAD2-4C34E97C786A}" type="sibTrans" cxnId="{7272A9D0-467B-4F57-B7C0-47358E2E5F7E}">
      <dgm:prSet/>
      <dgm:spPr/>
      <dgm:t>
        <a:bodyPr/>
        <a:lstStyle/>
        <a:p>
          <a:endParaRPr lang="fi-FI"/>
        </a:p>
      </dgm:t>
    </dgm:pt>
    <dgm:pt modelId="{A07D4A72-0003-49E5-ABE9-9139FD323492}">
      <dgm:prSet phldrT="[Teksti]" custT="1"/>
      <dgm:spPr/>
      <dgm:t>
        <a:bodyPr/>
        <a:lstStyle/>
        <a:p>
          <a:r>
            <a:rPr lang="fi-FI" sz="1200" dirty="0" smtClean="0"/>
            <a:t>TTL – Mikko Nykänen</a:t>
          </a:r>
          <a:endParaRPr lang="fi-FI" sz="1200" dirty="0"/>
        </a:p>
      </dgm:t>
    </dgm:pt>
    <dgm:pt modelId="{1DB617A5-A5DF-4734-97AB-A8AA7578CC03}" type="parTrans" cxnId="{247C0441-5AA9-4B59-BC86-DA2972639524}">
      <dgm:prSet/>
      <dgm:spPr/>
      <dgm:t>
        <a:bodyPr/>
        <a:lstStyle/>
        <a:p>
          <a:endParaRPr lang="fi-FI"/>
        </a:p>
      </dgm:t>
    </dgm:pt>
    <dgm:pt modelId="{7C141045-27A8-4BAE-9C2F-BD59E7670FDD}" type="sibTrans" cxnId="{247C0441-5AA9-4B59-BC86-DA2972639524}">
      <dgm:prSet/>
      <dgm:spPr/>
      <dgm:t>
        <a:bodyPr/>
        <a:lstStyle/>
        <a:p>
          <a:endParaRPr lang="fi-FI"/>
        </a:p>
      </dgm:t>
    </dgm:pt>
    <dgm:pt modelId="{9F43EF25-74EB-40F4-B429-7C476D7BB3EF}">
      <dgm:prSet phldrT="[Teksti]" custT="1"/>
      <dgm:spPr/>
      <dgm:t>
        <a:bodyPr/>
        <a:lstStyle/>
        <a:p>
          <a:endParaRPr lang="fi-FI" sz="1400" dirty="0"/>
        </a:p>
      </dgm:t>
    </dgm:pt>
    <dgm:pt modelId="{1F132C0F-ADE0-4A80-B81B-48DC6F2C16ED}" type="parTrans" cxnId="{3CE84DA5-1B7B-4BF7-A3AD-531476880D0D}">
      <dgm:prSet/>
      <dgm:spPr/>
      <dgm:t>
        <a:bodyPr/>
        <a:lstStyle/>
        <a:p>
          <a:endParaRPr lang="fi-FI"/>
        </a:p>
      </dgm:t>
    </dgm:pt>
    <dgm:pt modelId="{7776BFCF-F143-47B7-A64D-6B7C8D32CD4D}" type="sibTrans" cxnId="{3CE84DA5-1B7B-4BF7-A3AD-531476880D0D}">
      <dgm:prSet/>
      <dgm:spPr/>
      <dgm:t>
        <a:bodyPr/>
        <a:lstStyle/>
        <a:p>
          <a:endParaRPr lang="fi-FI"/>
        </a:p>
      </dgm:t>
    </dgm:pt>
    <dgm:pt modelId="{0F826FC6-9534-4C8C-BB49-FB695D829291}">
      <dgm:prSet phldrT="[Teksti]" custT="1"/>
      <dgm:spPr/>
      <dgm:t>
        <a:bodyPr/>
        <a:lstStyle/>
        <a:p>
          <a:r>
            <a:rPr lang="fi-FI" sz="1400" b="1" dirty="0" smtClean="0"/>
            <a:t>Nuoren mielenterveyden tukityökalut</a:t>
          </a:r>
          <a:endParaRPr lang="fi-FI" sz="1400" b="1" dirty="0"/>
        </a:p>
      </dgm:t>
    </dgm:pt>
    <dgm:pt modelId="{50E6DB44-7B63-4ECA-949A-1493D7EBD588}" type="parTrans" cxnId="{A14FC4E5-D5C1-4035-855D-4986F1F5E540}">
      <dgm:prSet/>
      <dgm:spPr/>
      <dgm:t>
        <a:bodyPr/>
        <a:lstStyle/>
        <a:p>
          <a:endParaRPr lang="fi-FI"/>
        </a:p>
      </dgm:t>
    </dgm:pt>
    <dgm:pt modelId="{D9C0C14F-0929-49A2-969F-2000AEF26BBD}" type="sibTrans" cxnId="{A14FC4E5-D5C1-4035-855D-4986F1F5E540}">
      <dgm:prSet/>
      <dgm:spPr/>
      <dgm:t>
        <a:bodyPr/>
        <a:lstStyle/>
        <a:p>
          <a:endParaRPr lang="fi-FI"/>
        </a:p>
      </dgm:t>
    </dgm:pt>
    <dgm:pt modelId="{0F83C5BB-96BA-4B33-BE4F-8C4693089307}">
      <dgm:prSet phldrT="[Teksti]" custT="1"/>
      <dgm:spPr/>
      <dgm:t>
        <a:bodyPr/>
        <a:lstStyle/>
        <a:p>
          <a:r>
            <a:rPr lang="fi-FI" sz="1200" dirty="0" smtClean="0"/>
            <a:t>Terveystalo – Tuija Turunen ja Antti Aro</a:t>
          </a:r>
          <a:endParaRPr lang="fi-FI" sz="1200" dirty="0"/>
        </a:p>
      </dgm:t>
    </dgm:pt>
    <dgm:pt modelId="{26F15C08-D5FC-4E3D-B75C-B960402AAEE8}" type="parTrans" cxnId="{1E7DC7C0-D5DB-4277-9991-32C377007825}">
      <dgm:prSet/>
      <dgm:spPr/>
      <dgm:t>
        <a:bodyPr/>
        <a:lstStyle/>
        <a:p>
          <a:endParaRPr lang="fi-FI"/>
        </a:p>
      </dgm:t>
    </dgm:pt>
    <dgm:pt modelId="{A7F65E55-95EE-42E4-B971-6F70F64D5375}" type="sibTrans" cxnId="{1E7DC7C0-D5DB-4277-9991-32C377007825}">
      <dgm:prSet/>
      <dgm:spPr/>
      <dgm:t>
        <a:bodyPr/>
        <a:lstStyle/>
        <a:p>
          <a:endParaRPr lang="fi-FI"/>
        </a:p>
      </dgm:t>
    </dgm:pt>
    <dgm:pt modelId="{93F8615F-284B-4AA6-B279-30D0ADBD1C86}">
      <dgm:prSet phldrT="[Teksti]" custT="1"/>
      <dgm:spPr/>
      <dgm:t>
        <a:bodyPr/>
        <a:lstStyle/>
        <a:p>
          <a:r>
            <a:rPr lang="fi-FI" sz="1200" dirty="0" smtClean="0">
              <a:solidFill>
                <a:srgbClr val="FFC000"/>
              </a:solidFill>
            </a:rPr>
            <a:t>SOK – Sanna-Mari Myllynen</a:t>
          </a:r>
          <a:endParaRPr lang="fi-FI" sz="1200" dirty="0">
            <a:solidFill>
              <a:srgbClr val="FFC000"/>
            </a:solidFill>
          </a:endParaRPr>
        </a:p>
      </dgm:t>
    </dgm:pt>
    <dgm:pt modelId="{47FB9554-3037-4CDA-B6AD-8EE3BE6C5F2B}" type="parTrans" cxnId="{37B7F1E1-3D94-4C6B-A562-77929B4FCEA4}">
      <dgm:prSet/>
      <dgm:spPr/>
      <dgm:t>
        <a:bodyPr/>
        <a:lstStyle/>
        <a:p>
          <a:endParaRPr lang="fi-FI"/>
        </a:p>
      </dgm:t>
    </dgm:pt>
    <dgm:pt modelId="{4CB7EE03-42D4-4F36-94D7-F5DBE39F7461}" type="sibTrans" cxnId="{37B7F1E1-3D94-4C6B-A562-77929B4FCEA4}">
      <dgm:prSet/>
      <dgm:spPr/>
      <dgm:t>
        <a:bodyPr/>
        <a:lstStyle/>
        <a:p>
          <a:endParaRPr lang="fi-FI"/>
        </a:p>
      </dgm:t>
    </dgm:pt>
    <dgm:pt modelId="{6E45BF93-B18C-430C-9A0D-D8ABDABD04FD}">
      <dgm:prSet phldrT="[Teksti]" custT="1"/>
      <dgm:spPr/>
      <dgm:t>
        <a:bodyPr/>
        <a:lstStyle/>
        <a:p>
          <a:endParaRPr lang="fi-FI" sz="1400" dirty="0"/>
        </a:p>
      </dgm:t>
    </dgm:pt>
    <dgm:pt modelId="{587B3EF8-6BD1-4776-A2AB-7FAD09867835}" type="parTrans" cxnId="{CC2626B7-9890-4FF9-8F02-4726FB41B444}">
      <dgm:prSet/>
      <dgm:spPr/>
      <dgm:t>
        <a:bodyPr/>
        <a:lstStyle/>
        <a:p>
          <a:endParaRPr lang="fi-FI"/>
        </a:p>
      </dgm:t>
    </dgm:pt>
    <dgm:pt modelId="{891417F9-01A6-4199-A4BF-F9AC22D65FF3}" type="sibTrans" cxnId="{CC2626B7-9890-4FF9-8F02-4726FB41B444}">
      <dgm:prSet/>
      <dgm:spPr/>
      <dgm:t>
        <a:bodyPr/>
        <a:lstStyle/>
        <a:p>
          <a:endParaRPr lang="fi-FI"/>
        </a:p>
      </dgm:t>
    </dgm:pt>
    <dgm:pt modelId="{59DBD2F4-A5A2-4DF1-B316-A5AF3522A015}">
      <dgm:prSet phldrT="[Teksti]" custT="1"/>
      <dgm:spPr/>
      <dgm:t>
        <a:bodyPr/>
        <a:lstStyle/>
        <a:p>
          <a:r>
            <a:rPr lang="fi-FI" sz="1200" dirty="0" smtClean="0"/>
            <a:t>Nuorten edustus – Anna-Kaisa Piippo</a:t>
          </a:r>
          <a:r>
            <a:rPr lang="fi-FI" sz="1400" dirty="0" smtClean="0"/>
            <a:t>	</a:t>
          </a:r>
          <a:endParaRPr lang="fi-FI" sz="1400" dirty="0"/>
        </a:p>
      </dgm:t>
    </dgm:pt>
    <dgm:pt modelId="{8042E1C4-C515-4A98-AB12-7EF23B32FC94}" type="parTrans" cxnId="{C14309E8-9DDB-4B58-BEDF-DC6E7966B085}">
      <dgm:prSet/>
      <dgm:spPr/>
      <dgm:t>
        <a:bodyPr/>
        <a:lstStyle/>
        <a:p>
          <a:endParaRPr lang="fi-FI"/>
        </a:p>
      </dgm:t>
    </dgm:pt>
    <dgm:pt modelId="{6A6CC8B6-79C5-4F73-B081-21CB0E415FE6}" type="sibTrans" cxnId="{C14309E8-9DDB-4B58-BEDF-DC6E7966B085}">
      <dgm:prSet/>
      <dgm:spPr/>
      <dgm:t>
        <a:bodyPr/>
        <a:lstStyle/>
        <a:p>
          <a:endParaRPr lang="fi-FI"/>
        </a:p>
      </dgm:t>
    </dgm:pt>
    <dgm:pt modelId="{3B12080D-644D-439A-B57E-F7DC97932738}">
      <dgm:prSet phldrT="[Teksti]" custT="1"/>
      <dgm:spPr/>
      <dgm:t>
        <a:bodyPr/>
        <a:lstStyle/>
        <a:p>
          <a:endParaRPr lang="fi-FI" sz="1400" dirty="0"/>
        </a:p>
      </dgm:t>
    </dgm:pt>
    <dgm:pt modelId="{5305F186-5CF8-45B9-A22E-3FF82CB2AB64}" type="parTrans" cxnId="{5C3B5F5F-D4B1-4C23-B0AD-4B3A26672BC3}">
      <dgm:prSet/>
      <dgm:spPr/>
      <dgm:t>
        <a:bodyPr/>
        <a:lstStyle/>
        <a:p>
          <a:endParaRPr lang="fi-FI"/>
        </a:p>
      </dgm:t>
    </dgm:pt>
    <dgm:pt modelId="{02E65DBE-8FC7-45DD-8EC4-42529FE2A87F}" type="sibTrans" cxnId="{5C3B5F5F-D4B1-4C23-B0AD-4B3A26672BC3}">
      <dgm:prSet/>
      <dgm:spPr/>
      <dgm:t>
        <a:bodyPr/>
        <a:lstStyle/>
        <a:p>
          <a:endParaRPr lang="fi-FI"/>
        </a:p>
      </dgm:t>
    </dgm:pt>
    <dgm:pt modelId="{EAE33097-C754-4A5C-90CD-95B1022324FF}">
      <dgm:prSet phldrT="[Teksti]" custT="1"/>
      <dgm:spPr/>
      <dgm:t>
        <a:bodyPr/>
        <a:lstStyle/>
        <a:p>
          <a:r>
            <a:rPr lang="fi-FI" sz="1200" dirty="0" smtClean="0"/>
            <a:t>Suomen Mielenterveysseura – Anniina Pesonen</a:t>
          </a:r>
          <a:endParaRPr lang="fi-FI" sz="1200" dirty="0"/>
        </a:p>
      </dgm:t>
    </dgm:pt>
    <dgm:pt modelId="{8EA62962-338B-4A08-9559-3B2A3014F81C}" type="parTrans" cxnId="{C38E1F20-CFC8-4D47-8B61-427F6EF6A69D}">
      <dgm:prSet/>
      <dgm:spPr/>
      <dgm:t>
        <a:bodyPr/>
        <a:lstStyle/>
        <a:p>
          <a:endParaRPr lang="fi-FI"/>
        </a:p>
      </dgm:t>
    </dgm:pt>
    <dgm:pt modelId="{1D4788E3-8DF2-4FFF-9AA0-2E932B17304F}" type="sibTrans" cxnId="{C38E1F20-CFC8-4D47-8B61-427F6EF6A69D}">
      <dgm:prSet/>
      <dgm:spPr/>
      <dgm:t>
        <a:bodyPr/>
        <a:lstStyle/>
        <a:p>
          <a:endParaRPr lang="fi-FI"/>
        </a:p>
      </dgm:t>
    </dgm:pt>
    <dgm:pt modelId="{65829811-E4BB-4C01-84F9-6B8F0211B622}">
      <dgm:prSet phldrT="[Teksti]" custT="1"/>
      <dgm:spPr/>
      <dgm:t>
        <a:bodyPr/>
        <a:lstStyle/>
        <a:p>
          <a:r>
            <a:rPr lang="fi-FI" sz="1200" dirty="0" err="1" smtClean="0"/>
            <a:t>Opteam</a:t>
          </a:r>
          <a:r>
            <a:rPr lang="fi-FI" sz="1200" dirty="0" smtClean="0"/>
            <a:t> . Mari Pikkarainen </a:t>
          </a:r>
          <a:endParaRPr lang="fi-FI" sz="1200" dirty="0"/>
        </a:p>
      </dgm:t>
    </dgm:pt>
    <dgm:pt modelId="{D86F8B8B-8C47-4DA1-8EFA-1C3F37384266}" type="parTrans" cxnId="{EB35F060-2631-4010-AF49-B6FB9CBC39B1}">
      <dgm:prSet/>
      <dgm:spPr/>
      <dgm:t>
        <a:bodyPr/>
        <a:lstStyle/>
        <a:p>
          <a:endParaRPr lang="fi-FI"/>
        </a:p>
      </dgm:t>
    </dgm:pt>
    <dgm:pt modelId="{4FA6B75D-2D9D-4F96-8176-7AAABA0F9FCB}" type="sibTrans" cxnId="{EB35F060-2631-4010-AF49-B6FB9CBC39B1}">
      <dgm:prSet/>
      <dgm:spPr/>
      <dgm:t>
        <a:bodyPr/>
        <a:lstStyle/>
        <a:p>
          <a:endParaRPr lang="fi-FI"/>
        </a:p>
      </dgm:t>
    </dgm:pt>
    <dgm:pt modelId="{7FD9CB14-0BE6-440B-83A7-9F27EDDD7A96}">
      <dgm:prSet phldrT="[Teksti]" custT="1"/>
      <dgm:spPr/>
      <dgm:t>
        <a:bodyPr/>
        <a:lstStyle/>
        <a:p>
          <a:r>
            <a:rPr lang="fi-FI" sz="1200" dirty="0" err="1" smtClean="0"/>
            <a:t>Opteam</a:t>
          </a:r>
          <a:r>
            <a:rPr lang="fi-FI" sz="1200" dirty="0" smtClean="0"/>
            <a:t> – Kaisa Meriläinen</a:t>
          </a:r>
          <a:endParaRPr lang="fi-FI" sz="1200" dirty="0"/>
        </a:p>
      </dgm:t>
    </dgm:pt>
    <dgm:pt modelId="{0FDB55AD-C62A-47FC-AD54-DF8A5A56B639}" type="parTrans" cxnId="{C7A525C8-E042-472F-874D-B197B64FF35C}">
      <dgm:prSet/>
      <dgm:spPr/>
      <dgm:t>
        <a:bodyPr/>
        <a:lstStyle/>
        <a:p>
          <a:endParaRPr lang="fi-FI"/>
        </a:p>
      </dgm:t>
    </dgm:pt>
    <dgm:pt modelId="{2025F1BF-D858-4B0F-B052-A90EFA7ABA25}" type="sibTrans" cxnId="{C7A525C8-E042-472F-874D-B197B64FF35C}">
      <dgm:prSet/>
      <dgm:spPr/>
      <dgm:t>
        <a:bodyPr/>
        <a:lstStyle/>
        <a:p>
          <a:endParaRPr lang="fi-FI"/>
        </a:p>
      </dgm:t>
    </dgm:pt>
    <dgm:pt modelId="{690DB383-1E08-412F-98BA-5155DE92F74E}">
      <dgm:prSet phldrT="[Teksti]" custT="1"/>
      <dgm:spPr/>
      <dgm:t>
        <a:bodyPr/>
        <a:lstStyle/>
        <a:p>
          <a:r>
            <a:rPr lang="fi-FI" sz="1200" dirty="0" err="1" smtClean="0"/>
            <a:t>Opteam</a:t>
          </a:r>
          <a:r>
            <a:rPr lang="fi-FI" sz="1200" dirty="0" smtClean="0"/>
            <a:t> – Sanna Salminen</a:t>
          </a:r>
          <a:endParaRPr lang="fi-FI" sz="1200" dirty="0"/>
        </a:p>
      </dgm:t>
    </dgm:pt>
    <dgm:pt modelId="{1896775D-F93C-489A-A15A-60F620672947}" type="parTrans" cxnId="{2D5DA4B4-E378-4D7A-8BDF-02BC00905C7D}">
      <dgm:prSet/>
      <dgm:spPr/>
      <dgm:t>
        <a:bodyPr/>
        <a:lstStyle/>
        <a:p>
          <a:endParaRPr lang="fi-FI"/>
        </a:p>
      </dgm:t>
    </dgm:pt>
    <dgm:pt modelId="{43E7EC77-3F96-4A8B-B37B-92AC45BB66FF}" type="sibTrans" cxnId="{2D5DA4B4-E378-4D7A-8BDF-02BC00905C7D}">
      <dgm:prSet/>
      <dgm:spPr/>
      <dgm:t>
        <a:bodyPr/>
        <a:lstStyle/>
        <a:p>
          <a:endParaRPr lang="fi-FI"/>
        </a:p>
      </dgm:t>
    </dgm:pt>
    <dgm:pt modelId="{01BAE6FB-70DC-453C-8F81-A88942DB55DA}">
      <dgm:prSet phldrT="[Teksti]" custT="1"/>
      <dgm:spPr/>
      <dgm:t>
        <a:bodyPr/>
        <a:lstStyle/>
        <a:p>
          <a:r>
            <a:rPr lang="fi-FI" sz="1200" dirty="0" smtClean="0"/>
            <a:t>Nuorten edustus – Santtu Toiviainen</a:t>
          </a:r>
          <a:endParaRPr lang="fi-FI" sz="1200" dirty="0"/>
        </a:p>
      </dgm:t>
    </dgm:pt>
    <dgm:pt modelId="{E7F27D36-6DF5-4E0B-BE20-29D85D3FC938}" type="parTrans" cxnId="{63E93175-961C-441F-AE16-E10F3EF8BA69}">
      <dgm:prSet/>
      <dgm:spPr/>
      <dgm:t>
        <a:bodyPr/>
        <a:lstStyle/>
        <a:p>
          <a:endParaRPr lang="fi-FI"/>
        </a:p>
      </dgm:t>
    </dgm:pt>
    <dgm:pt modelId="{82ED1499-8B5C-4B29-AC29-4A1A25D17145}" type="sibTrans" cxnId="{63E93175-961C-441F-AE16-E10F3EF8BA69}">
      <dgm:prSet/>
      <dgm:spPr/>
      <dgm:t>
        <a:bodyPr/>
        <a:lstStyle/>
        <a:p>
          <a:endParaRPr lang="fi-FI"/>
        </a:p>
      </dgm:t>
    </dgm:pt>
    <dgm:pt modelId="{8034AE3A-2D58-4ED5-8D5E-D39C90F8AD61}" type="pres">
      <dgm:prSet presAssocID="{1651871B-9BBC-492F-8668-0CCE95601D67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i-FI"/>
        </a:p>
      </dgm:t>
    </dgm:pt>
    <dgm:pt modelId="{29EE9637-E9AF-4632-898E-7822C5DEA43C}" type="pres">
      <dgm:prSet presAssocID="{E45033F6-A8ED-40E8-96B2-A8D838B1AA7B}" presName="comp" presStyleCnt="0"/>
      <dgm:spPr/>
    </dgm:pt>
    <dgm:pt modelId="{6B090669-A4F5-4EE8-A86D-50E4A8177EAF}" type="pres">
      <dgm:prSet presAssocID="{E45033F6-A8ED-40E8-96B2-A8D838B1AA7B}" presName="box" presStyleLbl="node1" presStyleIdx="0" presStyleCnt="4" custScaleY="107216" custLinFactNeighborY="3460"/>
      <dgm:spPr/>
      <dgm:t>
        <a:bodyPr/>
        <a:lstStyle/>
        <a:p>
          <a:endParaRPr lang="fi-FI"/>
        </a:p>
      </dgm:t>
    </dgm:pt>
    <dgm:pt modelId="{20E6ED32-A0C7-4ED5-A81B-C470F668121C}" type="pres">
      <dgm:prSet presAssocID="{E45033F6-A8ED-40E8-96B2-A8D838B1AA7B}" presName="img" presStyleLbl="fgImgPlace1" presStyleIdx="0" presStyleCnt="4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0000" b="-20000"/>
          </a:stretch>
        </a:blipFill>
      </dgm:spPr>
      <dgm:t>
        <a:bodyPr/>
        <a:lstStyle/>
        <a:p>
          <a:endParaRPr lang="fi-FI"/>
        </a:p>
      </dgm:t>
    </dgm:pt>
    <dgm:pt modelId="{AA53C3ED-6E90-4946-BBBF-E4D8A622AB48}" type="pres">
      <dgm:prSet presAssocID="{E45033F6-A8ED-40E8-96B2-A8D838B1AA7B}" presName="text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42D50572-0237-4B8B-981E-DE5C28E14443}" type="pres">
      <dgm:prSet presAssocID="{CD952FA1-A8EA-462B-AAED-B606F6E4C531}" presName="spacer" presStyleCnt="0"/>
      <dgm:spPr/>
    </dgm:pt>
    <dgm:pt modelId="{79B840DE-AB7A-4EA7-902D-946DFE6A22C6}" type="pres">
      <dgm:prSet presAssocID="{D8119DE8-030A-4017-8372-15F6DF4317F6}" presName="comp" presStyleCnt="0"/>
      <dgm:spPr/>
    </dgm:pt>
    <dgm:pt modelId="{F3066030-30AD-404A-B266-38DEBC1EE5D4}" type="pres">
      <dgm:prSet presAssocID="{D8119DE8-030A-4017-8372-15F6DF4317F6}" presName="box" presStyleLbl="node1" presStyleIdx="1" presStyleCnt="4" custScaleY="112285" custLinFactNeighborY="2867"/>
      <dgm:spPr/>
      <dgm:t>
        <a:bodyPr/>
        <a:lstStyle/>
        <a:p>
          <a:endParaRPr lang="fi-FI"/>
        </a:p>
      </dgm:t>
    </dgm:pt>
    <dgm:pt modelId="{F0F22C64-5223-49CF-B57B-26B1EDB9E13A}" type="pres">
      <dgm:prSet presAssocID="{D8119DE8-030A-4017-8372-15F6DF4317F6}" presName="img" presStyleLbl="fgImgPlace1" presStyleIdx="1" presStyleCnt="4" custScaleY="113959" custLinFactNeighborX="696" custLinFactNeighborY="-1858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</dgm:spPr>
      <dgm:t>
        <a:bodyPr/>
        <a:lstStyle/>
        <a:p>
          <a:endParaRPr lang="fi-FI"/>
        </a:p>
      </dgm:t>
    </dgm:pt>
    <dgm:pt modelId="{68CEC7D2-5D48-4311-9730-D683620410AB}" type="pres">
      <dgm:prSet presAssocID="{D8119DE8-030A-4017-8372-15F6DF4317F6}" presName="text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D7FB8A8D-7701-4924-B54F-357F1F47D6E1}" type="pres">
      <dgm:prSet presAssocID="{E221548B-CC63-46D8-B5C9-C67AF90A96BB}" presName="spacer" presStyleCnt="0"/>
      <dgm:spPr/>
    </dgm:pt>
    <dgm:pt modelId="{C149E7D1-46A7-4581-BDF8-464AFD7F7D3E}" type="pres">
      <dgm:prSet presAssocID="{7A0A3BD2-3AA0-49B3-97E7-D82FEC493873}" presName="comp" presStyleCnt="0"/>
      <dgm:spPr/>
    </dgm:pt>
    <dgm:pt modelId="{F3BD38BA-6774-4D7F-9E6B-96F3047EE447}" type="pres">
      <dgm:prSet presAssocID="{7A0A3BD2-3AA0-49B3-97E7-D82FEC493873}" presName="box" presStyleLbl="node1" presStyleIdx="2" presStyleCnt="4" custScaleY="100302" custLinFactNeighborY="-1550"/>
      <dgm:spPr/>
      <dgm:t>
        <a:bodyPr/>
        <a:lstStyle/>
        <a:p>
          <a:endParaRPr lang="fi-FI"/>
        </a:p>
      </dgm:t>
    </dgm:pt>
    <dgm:pt modelId="{2BD44CD9-647F-4A75-A713-206E2F8715F9}" type="pres">
      <dgm:prSet presAssocID="{7A0A3BD2-3AA0-49B3-97E7-D82FEC493873}" presName="img" presStyleLbl="fgImgPlace1" presStyleIdx="2" presStyleCnt="4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3000" b="-23000"/>
          </a:stretch>
        </a:blipFill>
      </dgm:spPr>
      <dgm:t>
        <a:bodyPr/>
        <a:lstStyle/>
        <a:p>
          <a:endParaRPr lang="fi-FI"/>
        </a:p>
      </dgm:t>
    </dgm:pt>
    <dgm:pt modelId="{4FB7C8C2-6F27-4276-B9BC-5868ED7E3CBB}" type="pres">
      <dgm:prSet presAssocID="{7A0A3BD2-3AA0-49B3-97E7-D82FEC493873}" presName="text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64A75906-371F-43C0-9700-75C10CADF268}" type="pres">
      <dgm:prSet presAssocID="{060D4E50-E910-4CE4-A9B7-3E6CD7BE8967}" presName="spacer" presStyleCnt="0"/>
      <dgm:spPr/>
    </dgm:pt>
    <dgm:pt modelId="{BE9FCE67-3A6C-4C7E-942D-FB0D4FACD8BC}" type="pres">
      <dgm:prSet presAssocID="{0F826FC6-9534-4C8C-BB49-FB695D829291}" presName="comp" presStyleCnt="0"/>
      <dgm:spPr/>
    </dgm:pt>
    <dgm:pt modelId="{4975B278-061B-4273-BCCF-205A8703E9E3}" type="pres">
      <dgm:prSet presAssocID="{0F826FC6-9534-4C8C-BB49-FB695D829291}" presName="box" presStyleLbl="node1" presStyleIdx="3" presStyleCnt="4"/>
      <dgm:spPr/>
      <dgm:t>
        <a:bodyPr/>
        <a:lstStyle/>
        <a:p>
          <a:endParaRPr lang="fi-FI"/>
        </a:p>
      </dgm:t>
    </dgm:pt>
    <dgm:pt modelId="{574F82E2-52CF-438E-8292-705C23E86E4D}" type="pres">
      <dgm:prSet presAssocID="{0F826FC6-9534-4C8C-BB49-FB695D829291}" presName="img" presStyleLbl="fgImgPlace1" presStyleIdx="3" presStyleCnt="4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</dgm:spPr>
      <dgm:t>
        <a:bodyPr/>
        <a:lstStyle/>
        <a:p>
          <a:endParaRPr lang="fi-FI"/>
        </a:p>
      </dgm:t>
    </dgm:pt>
    <dgm:pt modelId="{08A5319B-C8F1-4104-A883-8747C5907FD9}" type="pres">
      <dgm:prSet presAssocID="{0F826FC6-9534-4C8C-BB49-FB695D829291}" presName="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</dgm:ptLst>
  <dgm:cxnLst>
    <dgm:cxn modelId="{82D6AE86-24C0-4422-927A-6E0A8E51858D}" type="presOf" srcId="{E45033F6-A8ED-40E8-96B2-A8D838B1AA7B}" destId="{6B090669-A4F5-4EE8-A86D-50E4A8177EAF}" srcOrd="0" destOrd="0" presId="urn:microsoft.com/office/officeart/2005/8/layout/vList4"/>
    <dgm:cxn modelId="{80F5F8D4-07D8-4BE0-B4A8-037436E16DA6}" type="presOf" srcId="{7A0A3BD2-3AA0-49B3-97E7-D82FEC493873}" destId="{F3BD38BA-6774-4D7F-9E6B-96F3047EE447}" srcOrd="0" destOrd="0" presId="urn:microsoft.com/office/officeart/2005/8/layout/vList4"/>
    <dgm:cxn modelId="{52BF4BDC-37E7-4036-94F1-1EB2AA5641D8}" type="presOf" srcId="{3B12080D-644D-439A-B57E-F7DC97932738}" destId="{4975B278-061B-4273-BCCF-205A8703E9E3}" srcOrd="0" destOrd="6" presId="urn:microsoft.com/office/officeart/2005/8/layout/vList4"/>
    <dgm:cxn modelId="{B00A3641-C4DD-4C0E-B9A2-0849FF5D8FD8}" type="presOf" srcId="{4643B490-1F96-4421-A1FD-96718B11A153}" destId="{68CEC7D2-5D48-4311-9730-D683620410AB}" srcOrd="1" destOrd="5" presId="urn:microsoft.com/office/officeart/2005/8/layout/vList4"/>
    <dgm:cxn modelId="{6D6F97D8-5F30-43AF-BA9A-A50BFC68A209}" type="presOf" srcId="{3A2CF5B6-0ABD-482B-ACBD-EC013FDF9558}" destId="{6B090669-A4F5-4EE8-A86D-50E4A8177EAF}" srcOrd="0" destOrd="4" presId="urn:microsoft.com/office/officeart/2005/8/layout/vList4"/>
    <dgm:cxn modelId="{85284056-0240-4E30-BE8A-90005EFC003B}" type="presOf" srcId="{192F87B4-78B8-475A-AD70-34F4BE7E8ECB}" destId="{F3066030-30AD-404A-B266-38DEBC1EE5D4}" srcOrd="0" destOrd="3" presId="urn:microsoft.com/office/officeart/2005/8/layout/vList4"/>
    <dgm:cxn modelId="{BBAF21EA-1BDA-4EDC-A887-62AD2CB65725}" type="presOf" srcId="{EAE33097-C754-4A5C-90CD-95B1022324FF}" destId="{08A5319B-C8F1-4104-A883-8747C5907FD9}" srcOrd="1" destOrd="4" presId="urn:microsoft.com/office/officeart/2005/8/layout/vList4"/>
    <dgm:cxn modelId="{1A15D468-C7C4-4C3D-B833-FCBB345FBE60}" type="presOf" srcId="{198D3B5A-7DA6-4478-915C-B94A8568A794}" destId="{AA53C3ED-6E90-4946-BBBF-E4D8A622AB48}" srcOrd="1" destOrd="3" presId="urn:microsoft.com/office/officeart/2005/8/layout/vList4"/>
    <dgm:cxn modelId="{29D3054D-8FB7-4D3C-83A8-04793ABD2982}" type="presOf" srcId="{6E45BF93-B18C-430C-9A0D-D8ABDABD04FD}" destId="{4975B278-061B-4273-BCCF-205A8703E9E3}" srcOrd="0" destOrd="7" presId="urn:microsoft.com/office/officeart/2005/8/layout/vList4"/>
    <dgm:cxn modelId="{9DEAB841-B4D3-4EA5-9BB0-DAF762CA33F7}" type="presOf" srcId="{9F43EF25-74EB-40F4-B429-7C476D7BB3EF}" destId="{4FB7C8C2-6F27-4276-B9BC-5868ED7E3CBB}" srcOrd="1" destOrd="6" presId="urn:microsoft.com/office/officeart/2005/8/layout/vList4"/>
    <dgm:cxn modelId="{3CE84DA5-1B7B-4BF7-A3AD-531476880D0D}" srcId="{7A0A3BD2-3AA0-49B3-97E7-D82FEC493873}" destId="{9F43EF25-74EB-40F4-B429-7C476D7BB3EF}" srcOrd="5" destOrd="0" parTransId="{1F132C0F-ADE0-4A80-B81B-48DC6F2C16ED}" sibTransId="{7776BFCF-F143-47B7-A64D-6B7C8D32CD4D}"/>
    <dgm:cxn modelId="{2B58425B-393D-4EB7-8E9F-C030FE8804F5}" type="presOf" srcId="{01BAE6FB-70DC-453C-8F81-A88942DB55DA}" destId="{4975B278-061B-4273-BCCF-205A8703E9E3}" srcOrd="0" destOrd="5" presId="urn:microsoft.com/office/officeart/2005/8/layout/vList4"/>
    <dgm:cxn modelId="{463B95F5-1AA0-421A-8558-B08B786A80FE}" srcId="{7A0A3BD2-3AA0-49B3-97E7-D82FEC493873}" destId="{0220455E-B913-4BDB-93DC-D187089FEA51}" srcOrd="2" destOrd="0" parTransId="{C4B3B8CA-838B-4C55-ADA8-518A8A7F9198}" sibTransId="{1EB60714-1657-46B0-AB3D-166956A7C6E2}"/>
    <dgm:cxn modelId="{709A1862-A814-433E-B357-A4A1BF5E5418}" srcId="{E45033F6-A8ED-40E8-96B2-A8D838B1AA7B}" destId="{3A2CF5B6-0ABD-482B-ACBD-EC013FDF9558}" srcOrd="3" destOrd="0" parTransId="{FFFCC89D-59A6-42CF-880E-BA51C04F724A}" sibTransId="{675F8833-4C64-493A-BC99-4F65E77FDCC7}"/>
    <dgm:cxn modelId="{247C0441-5AA9-4B59-BC86-DA2972639524}" srcId="{7A0A3BD2-3AA0-49B3-97E7-D82FEC493873}" destId="{A07D4A72-0003-49E5-ABE9-9139FD323492}" srcOrd="1" destOrd="0" parTransId="{1DB617A5-A5DF-4734-97AB-A8AA7578CC03}" sibTransId="{7C141045-27A8-4BAE-9C2F-BD59E7670FDD}"/>
    <dgm:cxn modelId="{1209C0E2-1989-4BCB-844F-738C4C709734}" type="presOf" srcId="{198D3B5A-7DA6-4478-915C-B94A8568A794}" destId="{6B090669-A4F5-4EE8-A86D-50E4A8177EAF}" srcOrd="0" destOrd="3" presId="urn:microsoft.com/office/officeart/2005/8/layout/vList4"/>
    <dgm:cxn modelId="{F78B7C9C-584A-4AE7-B236-3D192AE1F802}" type="presOf" srcId="{690DB383-1E08-412F-98BA-5155DE92F74E}" destId="{08A5319B-C8F1-4104-A883-8747C5907FD9}" srcOrd="1" destOrd="3" presId="urn:microsoft.com/office/officeart/2005/8/layout/vList4"/>
    <dgm:cxn modelId="{37B7F1E1-3D94-4C6B-A562-77929B4FCEA4}" srcId="{0F826FC6-9534-4C8C-BB49-FB695D829291}" destId="{93F8615F-284B-4AA6-B279-30D0ADBD1C86}" srcOrd="0" destOrd="0" parTransId="{47FB9554-3037-4CDA-B6AD-8EE3BE6C5F2B}" sibTransId="{4CB7EE03-42D4-4F36-94D7-F5DBE39F7461}"/>
    <dgm:cxn modelId="{8D1DE8E3-3370-4CE2-B34B-D975D128B568}" type="presOf" srcId="{0F826FC6-9534-4C8C-BB49-FB695D829291}" destId="{4975B278-061B-4273-BCCF-205A8703E9E3}" srcOrd="0" destOrd="0" presId="urn:microsoft.com/office/officeart/2005/8/layout/vList4"/>
    <dgm:cxn modelId="{63E93175-961C-441F-AE16-E10F3EF8BA69}" srcId="{0F826FC6-9534-4C8C-BB49-FB695D829291}" destId="{01BAE6FB-70DC-453C-8F81-A88942DB55DA}" srcOrd="4" destOrd="0" parTransId="{E7F27D36-6DF5-4E0B-BE20-29D85D3FC938}" sibTransId="{82ED1499-8B5C-4B29-AC29-4A1A25D17145}"/>
    <dgm:cxn modelId="{3B716103-B6FD-40BC-B2D6-D15EFE92B1BE}" type="presOf" srcId="{7FD9CB14-0BE6-440B-83A7-9F27EDDD7A96}" destId="{F3BD38BA-6774-4D7F-9E6B-96F3047EE447}" srcOrd="0" destOrd="4" presId="urn:microsoft.com/office/officeart/2005/8/layout/vList4"/>
    <dgm:cxn modelId="{5A20EB9F-1A2A-4425-AA5F-AD52422EAB3E}" type="presOf" srcId="{B36CEE54-BF23-4314-BAEE-200699159439}" destId="{F3066030-30AD-404A-B266-38DEBC1EE5D4}" srcOrd="0" destOrd="2" presId="urn:microsoft.com/office/officeart/2005/8/layout/vList4"/>
    <dgm:cxn modelId="{7040DED6-0171-40DF-8EAE-8DAB8540258C}" type="presOf" srcId="{87D344B2-CB91-442E-ABEE-19C2B1868C7E}" destId="{F3BD38BA-6774-4D7F-9E6B-96F3047EE447}" srcOrd="0" destOrd="1" presId="urn:microsoft.com/office/officeart/2005/8/layout/vList4"/>
    <dgm:cxn modelId="{98DAE492-F1AF-4530-A7DC-AB58F7CD79AF}" type="presOf" srcId="{F03C1E90-8D29-4679-A645-31AC324C9080}" destId="{68CEC7D2-5D48-4311-9730-D683620410AB}" srcOrd="1" destOrd="1" presId="urn:microsoft.com/office/officeart/2005/8/layout/vList4"/>
    <dgm:cxn modelId="{CB8E7EFE-56CA-4844-8186-7AE88D243BCF}" type="presOf" srcId="{0F83C5BB-96BA-4B33-BE4F-8C4693089307}" destId="{4975B278-061B-4273-BCCF-205A8703E9E3}" srcOrd="0" destOrd="2" presId="urn:microsoft.com/office/officeart/2005/8/layout/vList4"/>
    <dgm:cxn modelId="{4BDFC62A-15C9-41F5-BB0B-9ADF5499C86F}" type="presOf" srcId="{E45033F6-A8ED-40E8-96B2-A8D838B1AA7B}" destId="{AA53C3ED-6E90-4946-BBBF-E4D8A622AB48}" srcOrd="1" destOrd="0" presId="urn:microsoft.com/office/officeart/2005/8/layout/vList4"/>
    <dgm:cxn modelId="{44F7F6BE-E9DD-4908-88A5-10BA6E7F1D47}" type="presOf" srcId="{0220455E-B913-4BDB-93DC-D187089FEA51}" destId="{F3BD38BA-6774-4D7F-9E6B-96F3047EE447}" srcOrd="0" destOrd="3" presId="urn:microsoft.com/office/officeart/2005/8/layout/vList4"/>
    <dgm:cxn modelId="{47117D59-804A-4FD2-AC3B-69E839137441}" srcId="{E45033F6-A8ED-40E8-96B2-A8D838B1AA7B}" destId="{A1DC16FB-4748-44E7-A19F-6854BBBD9A92}" srcOrd="1" destOrd="0" parTransId="{0B3AA896-9DAC-4866-A6C6-94D8356F4444}" sibTransId="{53065F7B-7ABB-45F1-8362-138FA2A659E6}"/>
    <dgm:cxn modelId="{D71A2CDB-C2FE-46F8-9C44-BC9710C4B22D}" srcId="{E45033F6-A8ED-40E8-96B2-A8D838B1AA7B}" destId="{DFCE84FC-0FD1-4D07-AE72-9AE669B02206}" srcOrd="0" destOrd="0" parTransId="{00BCD85A-1FD5-474A-8288-7323E1D52D7C}" sibTransId="{881ABA3E-6342-4282-B531-2E4CC7D60351}"/>
    <dgm:cxn modelId="{4138B312-4851-4945-95EC-C9695C9E5F0D}" type="presOf" srcId="{A1DC16FB-4748-44E7-A19F-6854BBBD9A92}" destId="{AA53C3ED-6E90-4946-BBBF-E4D8A622AB48}" srcOrd="1" destOrd="2" presId="urn:microsoft.com/office/officeart/2005/8/layout/vList4"/>
    <dgm:cxn modelId="{DC21F979-9C25-4287-A048-166677F8EAC9}" type="presOf" srcId="{A1DC16FB-4748-44E7-A19F-6854BBBD9A92}" destId="{6B090669-A4F5-4EE8-A86D-50E4A8177EAF}" srcOrd="0" destOrd="2" presId="urn:microsoft.com/office/officeart/2005/8/layout/vList4"/>
    <dgm:cxn modelId="{C3545A04-E124-42E4-9AD4-3814FA796B53}" srcId="{1651871B-9BBC-492F-8668-0CCE95601D67}" destId="{D8119DE8-030A-4017-8372-15F6DF4317F6}" srcOrd="1" destOrd="0" parTransId="{22C3448C-6614-4B18-83BB-1CD8BA8A879B}" sibTransId="{E221548B-CC63-46D8-B5C9-C67AF90A96BB}"/>
    <dgm:cxn modelId="{D1644CD7-CB24-4189-B910-A7D97931FC69}" srcId="{E45033F6-A8ED-40E8-96B2-A8D838B1AA7B}" destId="{198D3B5A-7DA6-4478-915C-B94A8568A794}" srcOrd="2" destOrd="0" parTransId="{315D30BF-A08A-4EE2-8756-6BAC7D992893}" sibTransId="{AB5888C2-2356-4870-BFDA-AFA75DDD3B12}"/>
    <dgm:cxn modelId="{7343655F-66CE-490F-AA7C-0CF6053AB74B}" type="presOf" srcId="{F03C1E90-8D29-4679-A645-31AC324C9080}" destId="{F3066030-30AD-404A-B266-38DEBC1EE5D4}" srcOrd="0" destOrd="1" presId="urn:microsoft.com/office/officeart/2005/8/layout/vList4"/>
    <dgm:cxn modelId="{C7A525C8-E042-472F-874D-B197B64FF35C}" srcId="{7A0A3BD2-3AA0-49B3-97E7-D82FEC493873}" destId="{7FD9CB14-0BE6-440B-83A7-9F27EDDD7A96}" srcOrd="3" destOrd="0" parTransId="{0FDB55AD-C62A-47FC-AD54-DF8A5A56B639}" sibTransId="{2025F1BF-D858-4B0F-B052-A90EFA7ABA25}"/>
    <dgm:cxn modelId="{39D8336A-08E1-47D6-B71D-9C7FB823839D}" type="presOf" srcId="{9F43EF25-74EB-40F4-B429-7C476D7BB3EF}" destId="{F3BD38BA-6774-4D7F-9E6B-96F3047EE447}" srcOrd="0" destOrd="6" presId="urn:microsoft.com/office/officeart/2005/8/layout/vList4"/>
    <dgm:cxn modelId="{B25B0217-37F6-49A4-BD86-E514855A3248}" type="presOf" srcId="{D8119DE8-030A-4017-8372-15F6DF4317F6}" destId="{F3066030-30AD-404A-B266-38DEBC1EE5D4}" srcOrd="0" destOrd="0" presId="urn:microsoft.com/office/officeart/2005/8/layout/vList4"/>
    <dgm:cxn modelId="{1BBE55AE-8C39-4357-8145-246D963EDA1C}" srcId="{1651871B-9BBC-492F-8668-0CCE95601D67}" destId="{E45033F6-A8ED-40E8-96B2-A8D838B1AA7B}" srcOrd="0" destOrd="0" parTransId="{D4A73D89-9929-492F-8504-72A55C7BD7E2}" sibTransId="{CD952FA1-A8EA-462B-AAED-B606F6E4C531}"/>
    <dgm:cxn modelId="{98F45E30-A5D0-4771-BDB7-D9A348330904}" type="presOf" srcId="{DFCE84FC-0FD1-4D07-AE72-9AE669B02206}" destId="{6B090669-A4F5-4EE8-A86D-50E4A8177EAF}" srcOrd="0" destOrd="1" presId="urn:microsoft.com/office/officeart/2005/8/layout/vList4"/>
    <dgm:cxn modelId="{D28A3F22-DACA-49AB-8CF9-CFFF1D5C68C2}" type="presOf" srcId="{93F8615F-284B-4AA6-B279-30D0ADBD1C86}" destId="{4975B278-061B-4273-BCCF-205A8703E9E3}" srcOrd="0" destOrd="1" presId="urn:microsoft.com/office/officeart/2005/8/layout/vList4"/>
    <dgm:cxn modelId="{EA2D128D-B57B-4F27-8402-8F9F5D1396C3}" type="presOf" srcId="{B2063185-19AB-4E11-ACA6-69A352E87442}" destId="{F3066030-30AD-404A-B266-38DEBC1EE5D4}" srcOrd="0" destOrd="6" presId="urn:microsoft.com/office/officeart/2005/8/layout/vList4"/>
    <dgm:cxn modelId="{EB35F060-2631-4010-AF49-B6FB9CBC39B1}" srcId="{D8119DE8-030A-4017-8372-15F6DF4317F6}" destId="{65829811-E4BB-4C01-84F9-6B8F0211B622}" srcOrd="3" destOrd="0" parTransId="{D86F8B8B-8C47-4DA1-8EFA-1C3F37384266}" sibTransId="{4FA6B75D-2D9D-4F96-8176-7AAABA0F9FCB}"/>
    <dgm:cxn modelId="{924D176D-BF5F-4AA1-B190-8E439EE19B53}" type="presOf" srcId="{01BAE6FB-70DC-453C-8F81-A88942DB55DA}" destId="{08A5319B-C8F1-4104-A883-8747C5907FD9}" srcOrd="1" destOrd="5" presId="urn:microsoft.com/office/officeart/2005/8/layout/vList4"/>
    <dgm:cxn modelId="{BC24B1EF-3A83-4E40-BE5F-3C27172E3AEE}" type="presOf" srcId="{4643B490-1F96-4421-A1FD-96718B11A153}" destId="{F3066030-30AD-404A-B266-38DEBC1EE5D4}" srcOrd="0" destOrd="5" presId="urn:microsoft.com/office/officeart/2005/8/layout/vList4"/>
    <dgm:cxn modelId="{D6D199CB-28BC-4111-BF3D-74277F585F9C}" type="presOf" srcId="{87D344B2-CB91-442E-ABEE-19C2B1868C7E}" destId="{4FB7C8C2-6F27-4276-B9BC-5868ED7E3CBB}" srcOrd="1" destOrd="1" presId="urn:microsoft.com/office/officeart/2005/8/layout/vList4"/>
    <dgm:cxn modelId="{184E3FD9-1F46-4F97-AE5B-319D18CC4A7E}" srcId="{D8119DE8-030A-4017-8372-15F6DF4317F6}" destId="{B36CEE54-BF23-4314-BAEE-200699159439}" srcOrd="1" destOrd="0" parTransId="{1D67522F-7848-42D6-BA95-2F2A336141D6}" sibTransId="{3C502DCE-59E7-4834-AD29-01CE6AE7D92F}"/>
    <dgm:cxn modelId="{45880F7E-B0C5-4A21-A7E4-1432A59AD398}" type="presOf" srcId="{A07D4A72-0003-49E5-ABE9-9139FD323492}" destId="{F3BD38BA-6774-4D7F-9E6B-96F3047EE447}" srcOrd="0" destOrd="2" presId="urn:microsoft.com/office/officeart/2005/8/layout/vList4"/>
    <dgm:cxn modelId="{7272A9D0-467B-4F57-B7C0-47358E2E5F7E}" srcId="{D8119DE8-030A-4017-8372-15F6DF4317F6}" destId="{B2063185-19AB-4E11-ACA6-69A352E87442}" srcOrd="5" destOrd="0" parTransId="{44163DC4-2859-44AF-8133-C7DA4D06D2CD}" sibTransId="{A7A93FA6-92C5-46DB-BAD2-4C34E97C786A}"/>
    <dgm:cxn modelId="{57917C45-AA63-4BE4-B114-8B7411566D3D}" type="presOf" srcId="{3A2CF5B6-0ABD-482B-ACBD-EC013FDF9558}" destId="{AA53C3ED-6E90-4946-BBBF-E4D8A622AB48}" srcOrd="1" destOrd="4" presId="urn:microsoft.com/office/officeart/2005/8/layout/vList4"/>
    <dgm:cxn modelId="{8827B6F2-2BE2-4C0A-A38A-FF330FA54482}" type="presOf" srcId="{B36CEE54-BF23-4314-BAEE-200699159439}" destId="{68CEC7D2-5D48-4311-9730-D683620410AB}" srcOrd="1" destOrd="2" presId="urn:microsoft.com/office/officeart/2005/8/layout/vList4"/>
    <dgm:cxn modelId="{E53E94EA-120E-413C-A988-28139F7AB2B4}" type="presOf" srcId="{59DBD2F4-A5A2-4DF1-B316-A5AF3522A015}" destId="{F3BD38BA-6774-4D7F-9E6B-96F3047EE447}" srcOrd="0" destOrd="5" presId="urn:microsoft.com/office/officeart/2005/8/layout/vList4"/>
    <dgm:cxn modelId="{03113374-CF9B-45DD-807C-9C5FB99D7601}" srcId="{7A0A3BD2-3AA0-49B3-97E7-D82FEC493873}" destId="{87D344B2-CB91-442E-ABEE-19C2B1868C7E}" srcOrd="0" destOrd="0" parTransId="{1E7A3014-3F8F-43DD-9A7A-B2F30EEE4A0B}" sibTransId="{A58D3142-8F91-4F9B-A34E-3800C6C9CAD4}"/>
    <dgm:cxn modelId="{C14309E8-9DDB-4B58-BEDF-DC6E7966B085}" srcId="{7A0A3BD2-3AA0-49B3-97E7-D82FEC493873}" destId="{59DBD2F4-A5A2-4DF1-B316-A5AF3522A015}" srcOrd="4" destOrd="0" parTransId="{8042E1C4-C515-4A98-AB12-7EF23B32FC94}" sibTransId="{6A6CC8B6-79C5-4F73-B081-21CB0E415FE6}"/>
    <dgm:cxn modelId="{D1173260-F053-4CF7-84A0-73B0D1038E28}" srcId="{D8119DE8-030A-4017-8372-15F6DF4317F6}" destId="{F03C1E90-8D29-4679-A645-31AC324C9080}" srcOrd="0" destOrd="0" parTransId="{1EB01EC7-91FD-4B3F-B3B4-9AF3F75F7B6A}" sibTransId="{B1FDB277-EA13-4084-852F-06C1F5571510}"/>
    <dgm:cxn modelId="{B90E138E-DFA9-4F0C-B507-8082E7D871BB}" type="presOf" srcId="{DFCE84FC-0FD1-4D07-AE72-9AE669B02206}" destId="{AA53C3ED-6E90-4946-BBBF-E4D8A622AB48}" srcOrd="1" destOrd="1" presId="urn:microsoft.com/office/officeart/2005/8/layout/vList4"/>
    <dgm:cxn modelId="{C38E1F20-CFC8-4D47-8B61-427F6EF6A69D}" srcId="{0F826FC6-9534-4C8C-BB49-FB695D829291}" destId="{EAE33097-C754-4A5C-90CD-95B1022324FF}" srcOrd="3" destOrd="0" parTransId="{8EA62962-338B-4A08-9559-3B2A3014F81C}" sibTransId="{1D4788E3-8DF2-4FFF-9AA0-2E932B17304F}"/>
    <dgm:cxn modelId="{E0735B66-5C79-4799-A00F-AD703621E045}" srcId="{D8119DE8-030A-4017-8372-15F6DF4317F6}" destId="{192F87B4-78B8-475A-AD70-34F4BE7E8ECB}" srcOrd="2" destOrd="0" parTransId="{6CA3D7D1-9F55-4014-B815-750469A916F9}" sibTransId="{78B12A75-66BE-4844-BFBB-B3C085E4482E}"/>
    <dgm:cxn modelId="{333EDCED-D03C-4DE7-A6AB-3D8EE8B6B51A}" type="presOf" srcId="{192F87B4-78B8-475A-AD70-34F4BE7E8ECB}" destId="{68CEC7D2-5D48-4311-9730-D683620410AB}" srcOrd="1" destOrd="3" presId="urn:microsoft.com/office/officeart/2005/8/layout/vList4"/>
    <dgm:cxn modelId="{A14FC4E5-D5C1-4035-855D-4986F1F5E540}" srcId="{1651871B-9BBC-492F-8668-0CCE95601D67}" destId="{0F826FC6-9534-4C8C-BB49-FB695D829291}" srcOrd="3" destOrd="0" parTransId="{50E6DB44-7B63-4ECA-949A-1493D7EBD588}" sibTransId="{D9C0C14F-0929-49A2-969F-2000AEF26BBD}"/>
    <dgm:cxn modelId="{5434EA6D-27C3-46AA-ADD1-11676EE8930B}" type="presOf" srcId="{A07D4A72-0003-49E5-ABE9-9139FD323492}" destId="{4FB7C8C2-6F27-4276-B9BC-5868ED7E3CBB}" srcOrd="1" destOrd="2" presId="urn:microsoft.com/office/officeart/2005/8/layout/vList4"/>
    <dgm:cxn modelId="{5C3B5F5F-D4B1-4C23-B0AD-4B3A26672BC3}" srcId="{0F826FC6-9534-4C8C-BB49-FB695D829291}" destId="{3B12080D-644D-439A-B57E-F7DC97932738}" srcOrd="5" destOrd="0" parTransId="{5305F186-5CF8-45B9-A22E-3FF82CB2AB64}" sibTransId="{02E65DBE-8FC7-45DD-8EC4-42529FE2A87F}"/>
    <dgm:cxn modelId="{DD6CA5A6-D9F7-48D8-BB75-018D82CBAA24}" type="presOf" srcId="{65829811-E4BB-4C01-84F9-6B8F0211B622}" destId="{68CEC7D2-5D48-4311-9730-D683620410AB}" srcOrd="1" destOrd="4" presId="urn:microsoft.com/office/officeart/2005/8/layout/vList4"/>
    <dgm:cxn modelId="{67722B06-C7C6-47AD-8585-5FE9FB967A91}" type="presOf" srcId="{0220455E-B913-4BDB-93DC-D187089FEA51}" destId="{4FB7C8C2-6F27-4276-B9BC-5868ED7E3CBB}" srcOrd="1" destOrd="3" presId="urn:microsoft.com/office/officeart/2005/8/layout/vList4"/>
    <dgm:cxn modelId="{28467AFB-3F79-43E6-A853-B385A0698F20}" type="presOf" srcId="{65829811-E4BB-4C01-84F9-6B8F0211B622}" destId="{F3066030-30AD-404A-B266-38DEBC1EE5D4}" srcOrd="0" destOrd="4" presId="urn:microsoft.com/office/officeart/2005/8/layout/vList4"/>
    <dgm:cxn modelId="{851AED25-76D7-4C4C-83B2-23D331659E56}" type="presOf" srcId="{B2063185-19AB-4E11-ACA6-69A352E87442}" destId="{68CEC7D2-5D48-4311-9730-D683620410AB}" srcOrd="1" destOrd="6" presId="urn:microsoft.com/office/officeart/2005/8/layout/vList4"/>
    <dgm:cxn modelId="{E11237C6-6C0D-45CF-BABF-24A648C61DA3}" type="presOf" srcId="{690DB383-1E08-412F-98BA-5155DE92F74E}" destId="{4975B278-061B-4273-BCCF-205A8703E9E3}" srcOrd="0" destOrd="3" presId="urn:microsoft.com/office/officeart/2005/8/layout/vList4"/>
    <dgm:cxn modelId="{2D5DA4B4-E378-4D7A-8BDF-02BC00905C7D}" srcId="{0F826FC6-9534-4C8C-BB49-FB695D829291}" destId="{690DB383-1E08-412F-98BA-5155DE92F74E}" srcOrd="2" destOrd="0" parTransId="{1896775D-F93C-489A-A15A-60F620672947}" sibTransId="{43E7EC77-3F96-4A8B-B37B-92AC45BB66FF}"/>
    <dgm:cxn modelId="{7CAD922D-7AF0-4628-AB2E-7EAAEB24F9A3}" srcId="{1651871B-9BBC-492F-8668-0CCE95601D67}" destId="{7A0A3BD2-3AA0-49B3-97E7-D82FEC493873}" srcOrd="2" destOrd="0" parTransId="{A4110E0D-EED9-4066-893C-49DB21F21F6B}" sibTransId="{060D4E50-E910-4CE4-A9B7-3E6CD7BE8967}"/>
    <dgm:cxn modelId="{9FA577A2-E34F-4D5C-9C3B-D732389FE13A}" type="presOf" srcId="{7FD9CB14-0BE6-440B-83A7-9F27EDDD7A96}" destId="{4FB7C8C2-6F27-4276-B9BC-5868ED7E3CBB}" srcOrd="1" destOrd="4" presId="urn:microsoft.com/office/officeart/2005/8/layout/vList4"/>
    <dgm:cxn modelId="{84FE5CD3-E7AF-48D6-AA14-4D5BFA5F7C84}" type="presOf" srcId="{0F826FC6-9534-4C8C-BB49-FB695D829291}" destId="{08A5319B-C8F1-4104-A883-8747C5907FD9}" srcOrd="1" destOrd="0" presId="urn:microsoft.com/office/officeart/2005/8/layout/vList4"/>
    <dgm:cxn modelId="{8BFD6D62-EDE6-46E1-BB91-F6CE1E0C29BA}" type="presOf" srcId="{3B12080D-644D-439A-B57E-F7DC97932738}" destId="{08A5319B-C8F1-4104-A883-8747C5907FD9}" srcOrd="1" destOrd="6" presId="urn:microsoft.com/office/officeart/2005/8/layout/vList4"/>
    <dgm:cxn modelId="{4DC5585F-3020-4737-BAB5-D9113C4D632F}" type="presOf" srcId="{7A0A3BD2-3AA0-49B3-97E7-D82FEC493873}" destId="{4FB7C8C2-6F27-4276-B9BC-5868ED7E3CBB}" srcOrd="1" destOrd="0" presId="urn:microsoft.com/office/officeart/2005/8/layout/vList4"/>
    <dgm:cxn modelId="{B29F0B71-7FB7-433A-9CE0-2D9635562A1E}" type="presOf" srcId="{D8119DE8-030A-4017-8372-15F6DF4317F6}" destId="{68CEC7D2-5D48-4311-9730-D683620410AB}" srcOrd="1" destOrd="0" presId="urn:microsoft.com/office/officeart/2005/8/layout/vList4"/>
    <dgm:cxn modelId="{B55F9265-023E-45BB-B372-825AAD78F7F9}" type="presOf" srcId="{0F83C5BB-96BA-4B33-BE4F-8C4693089307}" destId="{08A5319B-C8F1-4104-A883-8747C5907FD9}" srcOrd="1" destOrd="2" presId="urn:microsoft.com/office/officeart/2005/8/layout/vList4"/>
    <dgm:cxn modelId="{8A26EB98-8241-45E0-85C7-617A16EC4C62}" srcId="{D8119DE8-030A-4017-8372-15F6DF4317F6}" destId="{4643B490-1F96-4421-A1FD-96718B11A153}" srcOrd="4" destOrd="0" parTransId="{FB0E24DE-5C86-4A99-94B8-B27079967349}" sibTransId="{02913DF4-2813-47FC-9AA3-9BAD66884F25}"/>
    <dgm:cxn modelId="{ED03C761-09A2-4FB3-BA42-696495A572C4}" type="presOf" srcId="{93F8615F-284B-4AA6-B279-30D0ADBD1C86}" destId="{08A5319B-C8F1-4104-A883-8747C5907FD9}" srcOrd="1" destOrd="1" presId="urn:microsoft.com/office/officeart/2005/8/layout/vList4"/>
    <dgm:cxn modelId="{D45F48FC-E361-4812-9A7C-6574061D4ED2}" type="presOf" srcId="{EAE33097-C754-4A5C-90CD-95B1022324FF}" destId="{4975B278-061B-4273-BCCF-205A8703E9E3}" srcOrd="0" destOrd="4" presId="urn:microsoft.com/office/officeart/2005/8/layout/vList4"/>
    <dgm:cxn modelId="{E54E8620-F436-4546-AAFC-0BCC674F2FED}" type="presOf" srcId="{6E45BF93-B18C-430C-9A0D-D8ABDABD04FD}" destId="{08A5319B-C8F1-4104-A883-8747C5907FD9}" srcOrd="1" destOrd="7" presId="urn:microsoft.com/office/officeart/2005/8/layout/vList4"/>
    <dgm:cxn modelId="{BE3F7D7D-58C0-491B-8CD6-6684C10B7A4C}" type="presOf" srcId="{1651871B-9BBC-492F-8668-0CCE95601D67}" destId="{8034AE3A-2D58-4ED5-8D5E-D39C90F8AD61}" srcOrd="0" destOrd="0" presId="urn:microsoft.com/office/officeart/2005/8/layout/vList4"/>
    <dgm:cxn modelId="{46222FEE-79A0-4086-B737-1D546D541390}" type="presOf" srcId="{59DBD2F4-A5A2-4DF1-B316-A5AF3522A015}" destId="{4FB7C8C2-6F27-4276-B9BC-5868ED7E3CBB}" srcOrd="1" destOrd="5" presId="urn:microsoft.com/office/officeart/2005/8/layout/vList4"/>
    <dgm:cxn modelId="{CC2626B7-9890-4FF9-8F02-4726FB41B444}" srcId="{0F826FC6-9534-4C8C-BB49-FB695D829291}" destId="{6E45BF93-B18C-430C-9A0D-D8ABDABD04FD}" srcOrd="6" destOrd="0" parTransId="{587B3EF8-6BD1-4776-A2AB-7FAD09867835}" sibTransId="{891417F9-01A6-4199-A4BF-F9AC22D65FF3}"/>
    <dgm:cxn modelId="{1E7DC7C0-D5DB-4277-9991-32C377007825}" srcId="{0F826FC6-9534-4C8C-BB49-FB695D829291}" destId="{0F83C5BB-96BA-4B33-BE4F-8C4693089307}" srcOrd="1" destOrd="0" parTransId="{26F15C08-D5FC-4E3D-B75C-B960402AAEE8}" sibTransId="{A7F65E55-95EE-42E4-B971-6F70F64D5375}"/>
    <dgm:cxn modelId="{A41A6730-EE1D-4CFD-A047-B6947B5D2550}" type="presParOf" srcId="{8034AE3A-2D58-4ED5-8D5E-D39C90F8AD61}" destId="{29EE9637-E9AF-4632-898E-7822C5DEA43C}" srcOrd="0" destOrd="0" presId="urn:microsoft.com/office/officeart/2005/8/layout/vList4"/>
    <dgm:cxn modelId="{2B2C1BB9-1620-433D-B1EA-FFDD85420E13}" type="presParOf" srcId="{29EE9637-E9AF-4632-898E-7822C5DEA43C}" destId="{6B090669-A4F5-4EE8-A86D-50E4A8177EAF}" srcOrd="0" destOrd="0" presId="urn:microsoft.com/office/officeart/2005/8/layout/vList4"/>
    <dgm:cxn modelId="{53F49E78-0EC5-4067-8583-A40BD6EA2326}" type="presParOf" srcId="{29EE9637-E9AF-4632-898E-7822C5DEA43C}" destId="{20E6ED32-A0C7-4ED5-A81B-C470F668121C}" srcOrd="1" destOrd="0" presId="urn:microsoft.com/office/officeart/2005/8/layout/vList4"/>
    <dgm:cxn modelId="{363294DA-67C1-46AD-983F-5E3410BB39F5}" type="presParOf" srcId="{29EE9637-E9AF-4632-898E-7822C5DEA43C}" destId="{AA53C3ED-6E90-4946-BBBF-E4D8A622AB48}" srcOrd="2" destOrd="0" presId="urn:microsoft.com/office/officeart/2005/8/layout/vList4"/>
    <dgm:cxn modelId="{F2DE5D35-1F19-4AC5-A6E0-6485188CFAB9}" type="presParOf" srcId="{8034AE3A-2D58-4ED5-8D5E-D39C90F8AD61}" destId="{42D50572-0237-4B8B-981E-DE5C28E14443}" srcOrd="1" destOrd="0" presId="urn:microsoft.com/office/officeart/2005/8/layout/vList4"/>
    <dgm:cxn modelId="{63F87854-C962-40AD-821B-04DBAC0C6996}" type="presParOf" srcId="{8034AE3A-2D58-4ED5-8D5E-D39C90F8AD61}" destId="{79B840DE-AB7A-4EA7-902D-946DFE6A22C6}" srcOrd="2" destOrd="0" presId="urn:microsoft.com/office/officeart/2005/8/layout/vList4"/>
    <dgm:cxn modelId="{91E1491C-D3CA-4DD4-AF3E-BB85FE7F5688}" type="presParOf" srcId="{79B840DE-AB7A-4EA7-902D-946DFE6A22C6}" destId="{F3066030-30AD-404A-B266-38DEBC1EE5D4}" srcOrd="0" destOrd="0" presId="urn:microsoft.com/office/officeart/2005/8/layout/vList4"/>
    <dgm:cxn modelId="{D1A48AC5-96F3-43F3-BEED-A0E5FDC31144}" type="presParOf" srcId="{79B840DE-AB7A-4EA7-902D-946DFE6A22C6}" destId="{F0F22C64-5223-49CF-B57B-26B1EDB9E13A}" srcOrd="1" destOrd="0" presId="urn:microsoft.com/office/officeart/2005/8/layout/vList4"/>
    <dgm:cxn modelId="{E20DCAC0-FBDD-49B6-BBD5-A407E24F6057}" type="presParOf" srcId="{79B840DE-AB7A-4EA7-902D-946DFE6A22C6}" destId="{68CEC7D2-5D48-4311-9730-D683620410AB}" srcOrd="2" destOrd="0" presId="urn:microsoft.com/office/officeart/2005/8/layout/vList4"/>
    <dgm:cxn modelId="{D080CB36-A0BB-4578-906C-FBC62492830B}" type="presParOf" srcId="{8034AE3A-2D58-4ED5-8D5E-D39C90F8AD61}" destId="{D7FB8A8D-7701-4924-B54F-357F1F47D6E1}" srcOrd="3" destOrd="0" presId="urn:microsoft.com/office/officeart/2005/8/layout/vList4"/>
    <dgm:cxn modelId="{444A9BB9-6125-41BC-94A6-F07A4328737B}" type="presParOf" srcId="{8034AE3A-2D58-4ED5-8D5E-D39C90F8AD61}" destId="{C149E7D1-46A7-4581-BDF8-464AFD7F7D3E}" srcOrd="4" destOrd="0" presId="urn:microsoft.com/office/officeart/2005/8/layout/vList4"/>
    <dgm:cxn modelId="{99E44430-588F-41FC-9B9F-AAE491A0315A}" type="presParOf" srcId="{C149E7D1-46A7-4581-BDF8-464AFD7F7D3E}" destId="{F3BD38BA-6774-4D7F-9E6B-96F3047EE447}" srcOrd="0" destOrd="0" presId="urn:microsoft.com/office/officeart/2005/8/layout/vList4"/>
    <dgm:cxn modelId="{5B49911C-8F65-47F5-AFDF-4DA5F2850EDA}" type="presParOf" srcId="{C149E7D1-46A7-4581-BDF8-464AFD7F7D3E}" destId="{2BD44CD9-647F-4A75-A713-206E2F8715F9}" srcOrd="1" destOrd="0" presId="urn:microsoft.com/office/officeart/2005/8/layout/vList4"/>
    <dgm:cxn modelId="{69F0155C-9A7A-437B-9183-E5455FCDC816}" type="presParOf" srcId="{C149E7D1-46A7-4581-BDF8-464AFD7F7D3E}" destId="{4FB7C8C2-6F27-4276-B9BC-5868ED7E3CBB}" srcOrd="2" destOrd="0" presId="urn:microsoft.com/office/officeart/2005/8/layout/vList4"/>
    <dgm:cxn modelId="{A3B858CD-8ECC-47C8-99B9-41D2D05D1D03}" type="presParOf" srcId="{8034AE3A-2D58-4ED5-8D5E-D39C90F8AD61}" destId="{64A75906-371F-43C0-9700-75C10CADF268}" srcOrd="5" destOrd="0" presId="urn:microsoft.com/office/officeart/2005/8/layout/vList4"/>
    <dgm:cxn modelId="{4530B997-137F-441E-9923-2168F1D808AA}" type="presParOf" srcId="{8034AE3A-2D58-4ED5-8D5E-D39C90F8AD61}" destId="{BE9FCE67-3A6C-4C7E-942D-FB0D4FACD8BC}" srcOrd="6" destOrd="0" presId="urn:microsoft.com/office/officeart/2005/8/layout/vList4"/>
    <dgm:cxn modelId="{32D59805-1049-4B98-BA94-9663AE921013}" type="presParOf" srcId="{BE9FCE67-3A6C-4C7E-942D-FB0D4FACD8BC}" destId="{4975B278-061B-4273-BCCF-205A8703E9E3}" srcOrd="0" destOrd="0" presId="urn:microsoft.com/office/officeart/2005/8/layout/vList4"/>
    <dgm:cxn modelId="{247CFF9D-61B3-41B6-B5CD-7DA3597B9AA3}" type="presParOf" srcId="{BE9FCE67-3A6C-4C7E-942D-FB0D4FACD8BC}" destId="{574F82E2-52CF-438E-8292-705C23E86E4D}" srcOrd="1" destOrd="0" presId="urn:microsoft.com/office/officeart/2005/8/layout/vList4"/>
    <dgm:cxn modelId="{CF0E91AB-3F2A-4A1A-B9A9-FC3A97005277}" type="presParOf" srcId="{BE9FCE67-3A6C-4C7E-942D-FB0D4FACD8BC}" destId="{08A5319B-C8F1-4104-A883-8747C5907FD9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3CECCE-74A7-462E-9C39-34DBEE981C2F}">
      <dsp:nvSpPr>
        <dsp:cNvPr id="0" name=""/>
        <dsp:cNvSpPr/>
      </dsp:nvSpPr>
      <dsp:spPr>
        <a:xfrm>
          <a:off x="3520816" y="355719"/>
          <a:ext cx="4596990" cy="4596990"/>
        </a:xfrm>
        <a:prstGeom prst="pie">
          <a:avLst>
            <a:gd name="adj1" fmla="val 16200000"/>
            <a:gd name="adj2" fmla="val 1800000"/>
          </a:avLst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err="1" smtClean="0"/>
            <a:t>Hyvä</a:t>
          </a:r>
          <a:r>
            <a:rPr lang="en-US" sz="1800" b="1" kern="1200" dirty="0" smtClean="0"/>
            <a:t>/ </a:t>
          </a:r>
          <a:r>
            <a:rPr lang="en-US" sz="1800" b="1" kern="1200" dirty="0" err="1" smtClean="0"/>
            <a:t>merkityksellinen</a:t>
          </a:r>
          <a:r>
            <a:rPr lang="en-US" sz="1800" b="1" kern="1200" dirty="0" smtClean="0"/>
            <a:t> </a:t>
          </a:r>
          <a:r>
            <a:rPr lang="en-US" sz="1800" b="1" kern="1200" dirty="0" err="1" smtClean="0"/>
            <a:t>ensikokemus</a:t>
          </a:r>
          <a:endParaRPr lang="en-US" sz="1800" b="1" kern="1200" dirty="0" smtClean="0"/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err="1" smtClean="0"/>
            <a:t>työelämästä</a:t>
          </a:r>
          <a:endParaRPr lang="en-US" sz="1800" b="1" kern="1200" dirty="0"/>
        </a:p>
      </dsp:txBody>
      <dsp:txXfrm>
        <a:off x="5943540" y="1329843"/>
        <a:ext cx="1641782" cy="1368152"/>
      </dsp:txXfrm>
    </dsp:sp>
    <dsp:sp modelId="{E50B1939-28D0-47E0-9471-4C8E44657AB2}">
      <dsp:nvSpPr>
        <dsp:cNvPr id="0" name=""/>
        <dsp:cNvSpPr/>
      </dsp:nvSpPr>
      <dsp:spPr>
        <a:xfrm>
          <a:off x="3426140" y="519897"/>
          <a:ext cx="4596990" cy="4596990"/>
        </a:xfrm>
        <a:prstGeom prst="pie">
          <a:avLst>
            <a:gd name="adj1" fmla="val 1800000"/>
            <a:gd name="adj2" fmla="val 9000000"/>
          </a:avLst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err="1" smtClean="0"/>
            <a:t>Nuorten</a:t>
          </a:r>
          <a:r>
            <a:rPr lang="en-US" sz="1800" b="1" kern="1200" dirty="0" smtClean="0"/>
            <a:t> </a:t>
          </a:r>
          <a:r>
            <a:rPr lang="en-US" sz="1800" b="1" kern="1200" dirty="0" err="1" smtClean="0"/>
            <a:t>työhyvinvointi</a:t>
          </a:r>
          <a:r>
            <a:rPr lang="en-US" sz="1800" b="1" kern="1200" dirty="0" smtClean="0"/>
            <a:t> ja </a:t>
          </a:r>
          <a:r>
            <a:rPr lang="en-US" sz="1800" b="1" kern="1200" dirty="0" err="1" smtClean="0"/>
            <a:t>työkykyisyys</a:t>
          </a:r>
          <a:endParaRPr lang="en-US" sz="1800" b="1" kern="1200" dirty="0"/>
        </a:p>
      </dsp:txBody>
      <dsp:txXfrm>
        <a:off x="4520662" y="3502469"/>
        <a:ext cx="2462673" cy="1203973"/>
      </dsp:txXfrm>
    </dsp:sp>
    <dsp:sp modelId="{0D6E63E7-B7BD-417A-8313-591FA3FCE7D9}">
      <dsp:nvSpPr>
        <dsp:cNvPr id="0" name=""/>
        <dsp:cNvSpPr/>
      </dsp:nvSpPr>
      <dsp:spPr>
        <a:xfrm>
          <a:off x="3331464" y="355719"/>
          <a:ext cx="4596990" cy="4596990"/>
        </a:xfrm>
        <a:prstGeom prst="pie">
          <a:avLst>
            <a:gd name="adj1" fmla="val 9000000"/>
            <a:gd name="adj2" fmla="val 16200000"/>
          </a:avLst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err="1" smtClean="0"/>
            <a:t>Työelämään</a:t>
          </a:r>
          <a:r>
            <a:rPr lang="en-US" sz="1800" b="1" kern="1200" dirty="0" smtClean="0"/>
            <a:t> </a:t>
          </a:r>
          <a:r>
            <a:rPr lang="en-US" sz="1800" b="1" kern="1200" dirty="0" err="1" smtClean="0"/>
            <a:t>kiinnittyminen</a:t>
          </a:r>
          <a:r>
            <a:rPr lang="en-US" sz="1800" b="1" kern="1200" dirty="0" smtClean="0"/>
            <a:t> ja </a:t>
          </a:r>
          <a:r>
            <a:rPr lang="en-US" sz="1800" b="1" kern="1200" dirty="0" err="1" smtClean="0"/>
            <a:t>hyvät</a:t>
          </a:r>
          <a:r>
            <a:rPr lang="en-US" sz="1800" b="1" kern="1200" dirty="0" smtClean="0"/>
            <a:t> </a:t>
          </a:r>
          <a:r>
            <a:rPr lang="en-US" sz="1800" b="1" kern="1200" dirty="0" err="1" smtClean="0"/>
            <a:t>työelämätaidot</a:t>
          </a:r>
          <a:endParaRPr lang="en-US" sz="1800" b="1" kern="1200" dirty="0" smtClean="0"/>
        </a:p>
      </dsp:txBody>
      <dsp:txXfrm>
        <a:off x="3863949" y="1329843"/>
        <a:ext cx="1641782" cy="1368152"/>
      </dsp:txXfrm>
    </dsp:sp>
    <dsp:sp modelId="{AC35720B-5E90-421B-8B00-88ECF037EC25}">
      <dsp:nvSpPr>
        <dsp:cNvPr id="0" name=""/>
        <dsp:cNvSpPr/>
      </dsp:nvSpPr>
      <dsp:spPr>
        <a:xfrm>
          <a:off x="3236620" y="71143"/>
          <a:ext cx="5166141" cy="5166141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D4FD05C-C6EF-40DE-8A1F-68ADACBFB107}">
      <dsp:nvSpPr>
        <dsp:cNvPr id="0" name=""/>
        <dsp:cNvSpPr/>
      </dsp:nvSpPr>
      <dsp:spPr>
        <a:xfrm>
          <a:off x="3141565" y="235031"/>
          <a:ext cx="5166141" cy="5166141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68DFC0B-51ED-4BD5-B307-94812671F19C}">
      <dsp:nvSpPr>
        <dsp:cNvPr id="0" name=""/>
        <dsp:cNvSpPr/>
      </dsp:nvSpPr>
      <dsp:spPr>
        <a:xfrm>
          <a:off x="3046509" y="71143"/>
          <a:ext cx="5166141" cy="5166141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090669-A4F5-4EE8-A86D-50E4A8177EAF}">
      <dsp:nvSpPr>
        <dsp:cNvPr id="0" name=""/>
        <dsp:cNvSpPr/>
      </dsp:nvSpPr>
      <dsp:spPr>
        <a:xfrm>
          <a:off x="0" y="44625"/>
          <a:ext cx="10801398" cy="138281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i-FI" sz="1400" b="1" kern="1200" dirty="0" smtClean="0"/>
            <a:t>Nuorten työelämäodotusten selvitys</a:t>
          </a:r>
          <a:endParaRPr lang="fi-FI" sz="1400" b="1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i-FI" sz="1200" kern="1200" dirty="0" smtClean="0">
              <a:solidFill>
                <a:srgbClr val="FFC000"/>
              </a:solidFill>
            </a:rPr>
            <a:t>TTL  - Auli </a:t>
          </a:r>
          <a:r>
            <a:rPr lang="fi-FI" sz="1200" kern="1200" dirty="0" err="1" smtClean="0">
              <a:solidFill>
                <a:srgbClr val="FFC000"/>
              </a:solidFill>
            </a:rPr>
            <a:t>Airila</a:t>
          </a:r>
          <a:r>
            <a:rPr lang="fi-FI" sz="1200" kern="1200" dirty="0" smtClean="0">
              <a:solidFill>
                <a:srgbClr val="FFC000"/>
              </a:solidFill>
            </a:rPr>
            <a:t> PP </a:t>
          </a:r>
          <a:r>
            <a:rPr lang="fi-FI" sz="1200" kern="1200" dirty="0" smtClean="0"/>
            <a:t>ja TTL – Mikko Nykänen</a:t>
          </a:r>
          <a:endParaRPr lang="fi-FI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i-FI" sz="1200" kern="1200" dirty="0" smtClean="0"/>
            <a:t>Elo  - Marjo Wallin</a:t>
          </a:r>
          <a:endParaRPr lang="fi-FI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i-FI" sz="1200" kern="1200" dirty="0" smtClean="0"/>
            <a:t>SOK – Sanna-Mari Myllynen</a:t>
          </a:r>
          <a:endParaRPr lang="fi-FI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i-FI" sz="1200" kern="1200" dirty="0" smtClean="0"/>
            <a:t>Nuorten edustus - Jonna Eerola</a:t>
          </a:r>
          <a:endParaRPr lang="fi-FI" sz="1200" kern="1200" dirty="0"/>
        </a:p>
      </dsp:txBody>
      <dsp:txXfrm>
        <a:off x="2289254" y="44625"/>
        <a:ext cx="8512144" cy="1382811"/>
      </dsp:txXfrm>
    </dsp:sp>
    <dsp:sp modelId="{20E6ED32-A0C7-4ED5-A81B-C470F668121C}">
      <dsp:nvSpPr>
        <dsp:cNvPr id="0" name=""/>
        <dsp:cNvSpPr/>
      </dsp:nvSpPr>
      <dsp:spPr>
        <a:xfrm>
          <a:off x="128974" y="175508"/>
          <a:ext cx="2160279" cy="1031794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0000" b="-20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066030-30AD-404A-B266-38DEBC1EE5D4}">
      <dsp:nvSpPr>
        <dsp:cNvPr id="0" name=""/>
        <dsp:cNvSpPr/>
      </dsp:nvSpPr>
      <dsp:spPr>
        <a:xfrm>
          <a:off x="0" y="1548762"/>
          <a:ext cx="10801398" cy="144818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i-FI" sz="1400" b="1" kern="1200" dirty="0" smtClean="0"/>
            <a:t>Työkykypassi -työkalu</a:t>
          </a:r>
          <a:endParaRPr lang="fi-FI" sz="1400" b="1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i-FI" sz="1200" kern="1200" dirty="0" smtClean="0">
              <a:solidFill>
                <a:srgbClr val="FFC000"/>
              </a:solidFill>
            </a:rPr>
            <a:t>TTL – Mikko Nykänen PP</a:t>
          </a:r>
          <a:endParaRPr lang="fi-FI" sz="1200" kern="1200" dirty="0">
            <a:solidFill>
              <a:srgbClr val="FFC000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i-FI" sz="1200" kern="1200" dirty="0" err="1" smtClean="0"/>
            <a:t>Saky</a:t>
          </a:r>
          <a:r>
            <a:rPr lang="fi-FI" sz="1200" kern="1200" dirty="0" smtClean="0"/>
            <a:t> ry – Ville Virtanen</a:t>
          </a:r>
          <a:endParaRPr lang="fi-FI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i-FI" sz="1200" kern="1200" dirty="0" smtClean="0"/>
            <a:t>AOK </a:t>
          </a:r>
          <a:r>
            <a:rPr lang="fi-FI" sz="1200" kern="1200" dirty="0" err="1" smtClean="0"/>
            <a:t>Hämeenmaa</a:t>
          </a:r>
          <a:r>
            <a:rPr lang="fi-FI" sz="1200" kern="1200" dirty="0" smtClean="0"/>
            <a:t> - Maarit </a:t>
          </a:r>
          <a:r>
            <a:rPr lang="fi-FI" sz="1200" kern="1200" dirty="0" err="1" smtClean="0"/>
            <a:t>Pelli</a:t>
          </a:r>
          <a:r>
            <a:rPr lang="fi-FI" sz="1200" kern="1200" dirty="0" smtClean="0"/>
            <a:t> ja VBO Paula Pajunen</a:t>
          </a:r>
          <a:endParaRPr lang="fi-FI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i-FI" sz="1200" kern="1200" dirty="0" err="1" smtClean="0"/>
            <a:t>Opteam</a:t>
          </a:r>
          <a:r>
            <a:rPr lang="fi-FI" sz="1200" kern="1200" dirty="0" smtClean="0"/>
            <a:t> . Mari Pikkarainen </a:t>
          </a:r>
          <a:endParaRPr lang="fi-FI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i-FI" sz="1200" kern="1200" dirty="0" smtClean="0"/>
            <a:t>SOK – Sanna-Mari Myllynen</a:t>
          </a:r>
          <a:endParaRPr lang="fi-FI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i-FI" sz="1200" kern="1200" dirty="0" smtClean="0"/>
            <a:t>Nuorten edustus - </a:t>
          </a:r>
          <a:r>
            <a:rPr lang="fi-FI" sz="1200" kern="1200" dirty="0" err="1" smtClean="0"/>
            <a:t>Samir</a:t>
          </a:r>
          <a:r>
            <a:rPr lang="fi-FI" sz="1200" kern="1200" dirty="0" smtClean="0"/>
            <a:t> </a:t>
          </a:r>
          <a:r>
            <a:rPr lang="fi-FI" sz="1200" kern="1200" dirty="0" err="1" smtClean="0"/>
            <a:t>Heroum</a:t>
          </a:r>
          <a:endParaRPr lang="fi-FI" sz="1200" kern="1200" dirty="0"/>
        </a:p>
      </dsp:txBody>
      <dsp:txXfrm>
        <a:off x="2289254" y="1548762"/>
        <a:ext cx="8512144" cy="1448188"/>
      </dsp:txXfrm>
    </dsp:sp>
    <dsp:sp modelId="{F0F22C64-5223-49CF-B57B-26B1EDB9E13A}">
      <dsp:nvSpPr>
        <dsp:cNvPr id="0" name=""/>
        <dsp:cNvSpPr/>
      </dsp:nvSpPr>
      <dsp:spPr>
        <a:xfrm>
          <a:off x="144009" y="1628797"/>
          <a:ext cx="2160279" cy="1175823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BD38BA-6774-4D7F-9E6B-96F3047EE447}">
      <dsp:nvSpPr>
        <dsp:cNvPr id="0" name=""/>
        <dsp:cNvSpPr/>
      </dsp:nvSpPr>
      <dsp:spPr>
        <a:xfrm>
          <a:off x="0" y="3068958"/>
          <a:ext cx="10801398" cy="12936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i-FI" sz="1400" b="1" kern="1200" dirty="0" smtClean="0"/>
            <a:t>Työpaikka/elämäluotsi - Työote</a:t>
          </a:r>
          <a:endParaRPr lang="fi-FI" sz="1400" b="1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i-FI" sz="1200" kern="1200" dirty="0" err="1" smtClean="0">
              <a:solidFill>
                <a:srgbClr val="FFC000"/>
              </a:solidFill>
            </a:rPr>
            <a:t>Saky</a:t>
          </a:r>
          <a:r>
            <a:rPr lang="fi-FI" sz="1200" kern="1200" dirty="0" smtClean="0">
              <a:solidFill>
                <a:srgbClr val="FFC000"/>
              </a:solidFill>
            </a:rPr>
            <a:t> ry – Ville Virtanen PP</a:t>
          </a:r>
          <a:endParaRPr lang="fi-FI" sz="1200" kern="1200" dirty="0">
            <a:solidFill>
              <a:srgbClr val="FFC000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i-FI" sz="1200" kern="1200" dirty="0" smtClean="0"/>
            <a:t>TTL – Mikko Nykänen</a:t>
          </a:r>
          <a:endParaRPr lang="fi-FI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i-FI" sz="1200" kern="1200" dirty="0" smtClean="0"/>
            <a:t>PKO – Seija Hämäläinen</a:t>
          </a:r>
          <a:endParaRPr lang="fi-FI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i-FI" sz="1200" kern="1200" dirty="0" err="1" smtClean="0"/>
            <a:t>Opteam</a:t>
          </a:r>
          <a:r>
            <a:rPr lang="fi-FI" sz="1200" kern="1200" dirty="0" smtClean="0"/>
            <a:t> – Kaisa Meriläinen</a:t>
          </a:r>
          <a:endParaRPr lang="fi-FI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i-FI" sz="1200" kern="1200" dirty="0" smtClean="0"/>
            <a:t>Nuorten edustus – Anna-Kaisa Piippo</a:t>
          </a:r>
          <a:r>
            <a:rPr lang="fi-FI" sz="1400" kern="1200" dirty="0" smtClean="0"/>
            <a:t>	</a:t>
          </a:r>
          <a:endParaRPr lang="fi-FI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i-FI" sz="1400" kern="1200" dirty="0"/>
        </a:p>
      </dsp:txBody>
      <dsp:txXfrm>
        <a:off x="2289254" y="3068958"/>
        <a:ext cx="8512144" cy="1293638"/>
      </dsp:txXfrm>
    </dsp:sp>
    <dsp:sp modelId="{2BD44CD9-647F-4A75-A713-206E2F8715F9}">
      <dsp:nvSpPr>
        <dsp:cNvPr id="0" name=""/>
        <dsp:cNvSpPr/>
      </dsp:nvSpPr>
      <dsp:spPr>
        <a:xfrm>
          <a:off x="128974" y="3219870"/>
          <a:ext cx="2160279" cy="1031794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3000" b="-2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975B278-061B-4273-BCCF-205A8703E9E3}">
      <dsp:nvSpPr>
        <dsp:cNvPr id="0" name=""/>
        <dsp:cNvSpPr/>
      </dsp:nvSpPr>
      <dsp:spPr>
        <a:xfrm>
          <a:off x="0" y="4511562"/>
          <a:ext cx="10801398" cy="128974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i-FI" sz="1400" b="1" kern="1200" dirty="0" smtClean="0"/>
            <a:t>Nuoren mielenterveyden tukityökalut</a:t>
          </a:r>
          <a:endParaRPr lang="fi-FI" sz="1400" b="1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i-FI" sz="1200" kern="1200" dirty="0" smtClean="0">
              <a:solidFill>
                <a:srgbClr val="FFC000"/>
              </a:solidFill>
            </a:rPr>
            <a:t>SOK – Sanna-Mari Myllynen</a:t>
          </a:r>
          <a:endParaRPr lang="fi-FI" sz="1200" kern="1200" dirty="0">
            <a:solidFill>
              <a:srgbClr val="FFC000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i-FI" sz="1200" kern="1200" dirty="0" smtClean="0"/>
            <a:t>Terveystalo – Tuija Turunen ja Antti Aro</a:t>
          </a:r>
          <a:endParaRPr lang="fi-FI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i-FI" sz="1200" kern="1200" dirty="0" err="1" smtClean="0"/>
            <a:t>Opteam</a:t>
          </a:r>
          <a:r>
            <a:rPr lang="fi-FI" sz="1200" kern="1200" dirty="0" smtClean="0"/>
            <a:t> – Sanna Salminen</a:t>
          </a:r>
          <a:endParaRPr lang="fi-FI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i-FI" sz="1200" kern="1200" dirty="0" smtClean="0"/>
            <a:t>Suomen Mielenterveysseura – Anniina Pesonen</a:t>
          </a:r>
          <a:endParaRPr lang="fi-FI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i-FI" sz="1200" kern="1200" dirty="0" smtClean="0"/>
            <a:t>Nuorten edustus – Santtu Toiviainen</a:t>
          </a:r>
          <a:endParaRPr lang="fi-FI" sz="12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i-FI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i-FI" sz="1400" kern="1200" dirty="0"/>
        </a:p>
      </dsp:txBody>
      <dsp:txXfrm>
        <a:off x="2289254" y="4511562"/>
        <a:ext cx="8512144" cy="1289743"/>
      </dsp:txXfrm>
    </dsp:sp>
    <dsp:sp modelId="{574F82E2-52CF-438E-8292-705C23E86E4D}">
      <dsp:nvSpPr>
        <dsp:cNvPr id="0" name=""/>
        <dsp:cNvSpPr/>
      </dsp:nvSpPr>
      <dsp:spPr>
        <a:xfrm>
          <a:off x="128974" y="4640536"/>
          <a:ext cx="2160279" cy="1031794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2FC167-DAD6-465E-92E6-B9E79C3B8BCE}" type="datetimeFigureOut">
              <a:rPr lang="fi-FI" sz="800" smtClean="0"/>
              <a:t>28.2.2018</a:t>
            </a:fld>
            <a:endParaRPr lang="fi-FI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E64AC5-9B06-4D7E-9669-ECC570D585F3}" type="slidenum">
              <a:rPr lang="fi-FI" sz="800" smtClean="0"/>
              <a:t>‹#›</a:t>
            </a:fld>
            <a:endParaRPr lang="fi-FI" sz="800"/>
          </a:p>
        </p:txBody>
      </p:sp>
    </p:spTree>
    <p:extLst>
      <p:ext uri="{BB962C8B-B14F-4D97-AF65-F5344CB8AC3E}">
        <p14:creationId xmlns:p14="http://schemas.microsoft.com/office/powerpoint/2010/main" val="19669900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/>
            </a:lvl1pPr>
          </a:lstStyle>
          <a:p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/>
            </a:lvl1pPr>
          </a:lstStyle>
          <a:p>
            <a:fld id="{590A613E-2D53-4ABF-9C9B-CCB36AFA1BD8}" type="datetimeFigureOut">
              <a:rPr lang="fi-FI" smtClean="0"/>
              <a:pPr/>
              <a:t>28.2.2018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8625" y="935038"/>
            <a:ext cx="5940425" cy="3341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/>
            </a:lvl1pPr>
          </a:lstStyle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/>
            </a:lvl1pPr>
          </a:lstStyle>
          <a:p>
            <a:fld id="{804E9ACC-CDA4-45EE-B763-94697AB31C8B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995477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>
          <a:xfrm>
            <a:off x="427038" y="933450"/>
            <a:ext cx="5943600" cy="3343275"/>
          </a:xfrm>
        </p:spPr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 smtClean="0"/>
              <a:t>Kuvitus </a:t>
            </a:r>
            <a:r>
              <a:rPr lang="fi-FI" dirty="0" err="1" smtClean="0"/>
              <a:t>Or-kokous</a:t>
            </a:r>
            <a:r>
              <a:rPr lang="fi-FI" dirty="0" smtClean="0"/>
              <a:t> 31.8.</a:t>
            </a: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E9ACC-CDA4-45EE-B763-94697AB31C8B}" type="slidenum">
              <a:rPr lang="fi-FI" smtClean="0"/>
              <a:pPr/>
              <a:t>9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590700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sz="1000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E9ACC-CDA4-45EE-B763-94697AB31C8B}" type="slidenum">
              <a:rPr lang="fi-FI" smtClean="0">
                <a:solidFill>
                  <a:prstClr val="black"/>
                </a:solidFill>
                <a:latin typeface="Calibri"/>
              </a:rPr>
              <a:pPr/>
              <a:t>12</a:t>
            </a:fld>
            <a:endParaRPr lang="fi-FI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085689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 smtClean="0"/>
              <a:t>Nuori Mieli Työssä -ohjelmalla</a:t>
            </a:r>
            <a:r>
              <a:rPr lang="fi-FI" baseline="0" dirty="0" smtClean="0"/>
              <a:t> S-ryhmä osallistuu Suomi 100 vuoden ”100 hyvää tekoa Suomessa ohjelmaan”, josta on esimerkki yläpuolella.</a:t>
            </a: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E9ACC-CDA4-45EE-B763-94697AB31C8B}" type="slidenum">
              <a:rPr lang="fi-FI" smtClean="0"/>
              <a:pPr/>
              <a:t>17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413843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8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9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9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9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9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0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0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0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0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1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1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1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1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2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2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2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2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3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3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3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4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4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4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6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6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6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6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7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7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7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8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w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9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9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9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0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0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0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0.xml"/></Relationships>
</file>

<file path=ppt/slideLayouts/_rels/slideLayout5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7.bin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.bin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1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1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1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1.xml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1.bin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3.bin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2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2.xml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2.xml"/></Relationships>
</file>

<file path=ppt/slideLayouts/_rels/slideLayout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2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ADC15-7F8E-4002-A407-7BC59786A810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8069181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B257B2-28B4-49CB-BB1A-024C1956511F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1769407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52F995-C792-4F39-9D2B-51E3BE49265F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1355716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AD841-2F5F-484A-8A89-60DC15B4A5A0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505434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D4D4-51D7-48A2-A505-41223E6AC280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0260332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D51F8A-0DC1-472B-8879-9A25B2D8C5F0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7463891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2B4F75-B2C4-4E74-B980-1D73D68A62E1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6023594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F70189B6-1550-4F0D-AB78-291425740B9B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38"/>
            <p:cNvSpPr>
              <a:spLocks noEditPoints="1"/>
            </p:cNvSpPr>
            <p:nvPr userDrawn="1"/>
          </p:nvSpPr>
          <p:spPr bwMode="auto">
            <a:xfrm>
              <a:off x="8873542" y="6476771"/>
              <a:ext cx="1942286" cy="211200"/>
            </a:xfrm>
            <a:custGeom>
              <a:avLst/>
              <a:gdLst>
                <a:gd name="T0" fmla="*/ 1940 w 2061"/>
                <a:gd name="T1" fmla="*/ 221 h 224"/>
                <a:gd name="T2" fmla="*/ 1890 w 2061"/>
                <a:gd name="T3" fmla="*/ 103 h 224"/>
                <a:gd name="T4" fmla="*/ 1886 w 2061"/>
                <a:gd name="T5" fmla="*/ 36 h 224"/>
                <a:gd name="T6" fmla="*/ 1924 w 2061"/>
                <a:gd name="T7" fmla="*/ 107 h 224"/>
                <a:gd name="T8" fmla="*/ 1888 w 2061"/>
                <a:gd name="T9" fmla="*/ 138 h 224"/>
                <a:gd name="T10" fmla="*/ 1894 w 2061"/>
                <a:gd name="T11" fmla="*/ 4 h 224"/>
                <a:gd name="T12" fmla="*/ 1927 w 2061"/>
                <a:gd name="T13" fmla="*/ 38 h 224"/>
                <a:gd name="T14" fmla="*/ 1762 w 2061"/>
                <a:gd name="T15" fmla="*/ 103 h 224"/>
                <a:gd name="T16" fmla="*/ 1759 w 2061"/>
                <a:gd name="T17" fmla="*/ 36 h 224"/>
                <a:gd name="T18" fmla="*/ 1798 w 2061"/>
                <a:gd name="T19" fmla="*/ 107 h 224"/>
                <a:gd name="T20" fmla="*/ 1762 w 2061"/>
                <a:gd name="T21" fmla="*/ 138 h 224"/>
                <a:gd name="T22" fmla="*/ 1767 w 2061"/>
                <a:gd name="T23" fmla="*/ 4 h 224"/>
                <a:gd name="T24" fmla="*/ 1799 w 2061"/>
                <a:gd name="T25" fmla="*/ 38 h 224"/>
                <a:gd name="T26" fmla="*/ 1604 w 2061"/>
                <a:gd name="T27" fmla="*/ 188 h 224"/>
                <a:gd name="T28" fmla="*/ 1634 w 2061"/>
                <a:gd name="T29" fmla="*/ 180 h 224"/>
                <a:gd name="T30" fmla="*/ 1662 w 2061"/>
                <a:gd name="T31" fmla="*/ 197 h 224"/>
                <a:gd name="T32" fmla="*/ 1627 w 2061"/>
                <a:gd name="T33" fmla="*/ 223 h 224"/>
                <a:gd name="T34" fmla="*/ 1578 w 2061"/>
                <a:gd name="T35" fmla="*/ 209 h 224"/>
                <a:gd name="T36" fmla="*/ 1599 w 2061"/>
                <a:gd name="T37" fmla="*/ 2 h 224"/>
                <a:gd name="T38" fmla="*/ 1421 w 2061"/>
                <a:gd name="T39" fmla="*/ 221 h 224"/>
                <a:gd name="T40" fmla="*/ 1328 w 2061"/>
                <a:gd name="T41" fmla="*/ 97 h 224"/>
                <a:gd name="T42" fmla="*/ 1204 w 2061"/>
                <a:gd name="T43" fmla="*/ 125 h 224"/>
                <a:gd name="T44" fmla="*/ 1077 w 2061"/>
                <a:gd name="T45" fmla="*/ 134 h 224"/>
                <a:gd name="T46" fmla="*/ 1146 w 2061"/>
                <a:gd name="T47" fmla="*/ 221 h 224"/>
                <a:gd name="T48" fmla="*/ 932 w 2061"/>
                <a:gd name="T49" fmla="*/ 221 h 224"/>
                <a:gd name="T50" fmla="*/ 705 w 2061"/>
                <a:gd name="T51" fmla="*/ 0 h 224"/>
                <a:gd name="T52" fmla="*/ 748 w 2061"/>
                <a:gd name="T53" fmla="*/ 22 h 224"/>
                <a:gd name="T54" fmla="*/ 723 w 2061"/>
                <a:gd name="T55" fmla="*/ 46 h 224"/>
                <a:gd name="T56" fmla="*/ 698 w 2061"/>
                <a:gd name="T57" fmla="*/ 32 h 224"/>
                <a:gd name="T58" fmla="*/ 693 w 2061"/>
                <a:gd name="T59" fmla="*/ 70 h 224"/>
                <a:gd name="T60" fmla="*/ 754 w 2061"/>
                <a:gd name="T61" fmla="*/ 148 h 224"/>
                <a:gd name="T62" fmla="*/ 746 w 2061"/>
                <a:gd name="T63" fmla="*/ 205 h 224"/>
                <a:gd name="T64" fmla="*/ 705 w 2061"/>
                <a:gd name="T65" fmla="*/ 224 h 224"/>
                <a:gd name="T66" fmla="*/ 661 w 2061"/>
                <a:gd name="T67" fmla="*/ 202 h 224"/>
                <a:gd name="T68" fmla="*/ 686 w 2061"/>
                <a:gd name="T69" fmla="*/ 176 h 224"/>
                <a:gd name="T70" fmla="*/ 711 w 2061"/>
                <a:gd name="T71" fmla="*/ 191 h 224"/>
                <a:gd name="T72" fmla="*/ 718 w 2061"/>
                <a:gd name="T73" fmla="*/ 152 h 224"/>
                <a:gd name="T74" fmla="*/ 658 w 2061"/>
                <a:gd name="T75" fmla="*/ 76 h 224"/>
                <a:gd name="T76" fmla="*/ 664 w 2061"/>
                <a:gd name="T77" fmla="*/ 18 h 224"/>
                <a:gd name="T78" fmla="*/ 705 w 2061"/>
                <a:gd name="T79" fmla="*/ 0 h 224"/>
                <a:gd name="T80" fmla="*/ 494 w 2061"/>
                <a:gd name="T81" fmla="*/ 185 h 224"/>
                <a:gd name="T82" fmla="*/ 524 w 2061"/>
                <a:gd name="T83" fmla="*/ 185 h 224"/>
                <a:gd name="T84" fmla="*/ 520 w 2061"/>
                <a:gd name="T85" fmla="*/ 33 h 224"/>
                <a:gd name="T86" fmla="*/ 491 w 2061"/>
                <a:gd name="T87" fmla="*/ 46 h 224"/>
                <a:gd name="T88" fmla="*/ 464 w 2061"/>
                <a:gd name="T89" fmla="*/ 22 h 224"/>
                <a:gd name="T90" fmla="*/ 509 w 2061"/>
                <a:gd name="T91" fmla="*/ 0 h 224"/>
                <a:gd name="T92" fmla="*/ 554 w 2061"/>
                <a:gd name="T93" fmla="*/ 22 h 224"/>
                <a:gd name="T94" fmla="*/ 559 w 2061"/>
                <a:gd name="T95" fmla="*/ 187 h 224"/>
                <a:gd name="T96" fmla="*/ 532 w 2061"/>
                <a:gd name="T97" fmla="*/ 220 h 224"/>
                <a:gd name="T98" fmla="*/ 478 w 2061"/>
                <a:gd name="T99" fmla="*/ 215 h 224"/>
                <a:gd name="T100" fmla="*/ 457 w 2061"/>
                <a:gd name="T101" fmla="*/ 168 h 224"/>
                <a:gd name="T102" fmla="*/ 439 w 2061"/>
                <a:gd name="T103" fmla="*/ 2 h 224"/>
                <a:gd name="T104" fmla="*/ 157 w 2061"/>
                <a:gd name="T105" fmla="*/ 33 h 224"/>
                <a:gd name="T106" fmla="*/ 191 w 2061"/>
                <a:gd name="T107" fmla="*/ 83 h 224"/>
                <a:gd name="T108" fmla="*/ 178 w 2061"/>
                <a:gd name="T109" fmla="*/ 33 h 224"/>
                <a:gd name="T110" fmla="*/ 189 w 2061"/>
                <a:gd name="T111" fmla="*/ 141 h 224"/>
                <a:gd name="T112" fmla="*/ 123 w 2061"/>
                <a:gd name="T113" fmla="*/ 2 h 224"/>
                <a:gd name="T114" fmla="*/ 218 w 2061"/>
                <a:gd name="T115" fmla="*/ 18 h 224"/>
                <a:gd name="T116" fmla="*/ 225 w 2061"/>
                <a:gd name="T117" fmla="*/ 85 h 224"/>
                <a:gd name="T118" fmla="*/ 210 w 2061"/>
                <a:gd name="T119" fmla="*/ 117 h 224"/>
                <a:gd name="T120" fmla="*/ 227 w 2061"/>
                <a:gd name="T121" fmla="*/ 194 h 224"/>
                <a:gd name="T122" fmla="*/ 35 w 2061"/>
                <a:gd name="T123" fmla="*/ 12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1" h="224">
                  <a:moveTo>
                    <a:pt x="1982" y="152"/>
                  </a:moveTo>
                  <a:lnTo>
                    <a:pt x="2015" y="152"/>
                  </a:lnTo>
                  <a:lnTo>
                    <a:pt x="1998" y="41"/>
                  </a:lnTo>
                  <a:lnTo>
                    <a:pt x="1982" y="152"/>
                  </a:lnTo>
                  <a:close/>
                  <a:moveTo>
                    <a:pt x="2061" y="221"/>
                  </a:moveTo>
                  <a:lnTo>
                    <a:pt x="2026" y="221"/>
                  </a:lnTo>
                  <a:lnTo>
                    <a:pt x="2020" y="181"/>
                  </a:lnTo>
                  <a:lnTo>
                    <a:pt x="1977" y="181"/>
                  </a:lnTo>
                  <a:lnTo>
                    <a:pt x="1972" y="221"/>
                  </a:lnTo>
                  <a:lnTo>
                    <a:pt x="1940" y="221"/>
                  </a:lnTo>
                  <a:lnTo>
                    <a:pt x="1975" y="2"/>
                  </a:lnTo>
                  <a:lnTo>
                    <a:pt x="2026" y="2"/>
                  </a:lnTo>
                  <a:lnTo>
                    <a:pt x="2061" y="221"/>
                  </a:lnTo>
                  <a:close/>
                  <a:moveTo>
                    <a:pt x="1860" y="33"/>
                  </a:moveTo>
                  <a:lnTo>
                    <a:pt x="1860" y="107"/>
                  </a:lnTo>
                  <a:lnTo>
                    <a:pt x="1877" y="107"/>
                  </a:lnTo>
                  <a:lnTo>
                    <a:pt x="1880" y="107"/>
                  </a:lnTo>
                  <a:lnTo>
                    <a:pt x="1884" y="106"/>
                  </a:lnTo>
                  <a:lnTo>
                    <a:pt x="1886" y="104"/>
                  </a:lnTo>
                  <a:lnTo>
                    <a:pt x="1890" y="103"/>
                  </a:lnTo>
                  <a:lnTo>
                    <a:pt x="1891" y="100"/>
                  </a:lnTo>
                  <a:lnTo>
                    <a:pt x="1893" y="96"/>
                  </a:lnTo>
                  <a:lnTo>
                    <a:pt x="1893" y="92"/>
                  </a:lnTo>
                  <a:lnTo>
                    <a:pt x="1894" y="86"/>
                  </a:lnTo>
                  <a:lnTo>
                    <a:pt x="1894" y="53"/>
                  </a:lnTo>
                  <a:lnTo>
                    <a:pt x="1893" y="48"/>
                  </a:lnTo>
                  <a:lnTo>
                    <a:pt x="1893" y="44"/>
                  </a:lnTo>
                  <a:lnTo>
                    <a:pt x="1891" y="40"/>
                  </a:lnTo>
                  <a:lnTo>
                    <a:pt x="1890" y="38"/>
                  </a:lnTo>
                  <a:lnTo>
                    <a:pt x="1886" y="36"/>
                  </a:lnTo>
                  <a:lnTo>
                    <a:pt x="1884" y="34"/>
                  </a:lnTo>
                  <a:lnTo>
                    <a:pt x="1880" y="33"/>
                  </a:lnTo>
                  <a:lnTo>
                    <a:pt x="1877" y="33"/>
                  </a:lnTo>
                  <a:lnTo>
                    <a:pt x="1860" y="33"/>
                  </a:lnTo>
                  <a:close/>
                  <a:moveTo>
                    <a:pt x="1928" y="56"/>
                  </a:moveTo>
                  <a:lnTo>
                    <a:pt x="1928" y="84"/>
                  </a:lnTo>
                  <a:lnTo>
                    <a:pt x="1928" y="91"/>
                  </a:lnTo>
                  <a:lnTo>
                    <a:pt x="1928" y="97"/>
                  </a:lnTo>
                  <a:lnTo>
                    <a:pt x="1927" y="102"/>
                  </a:lnTo>
                  <a:lnTo>
                    <a:pt x="1924" y="107"/>
                  </a:lnTo>
                  <a:lnTo>
                    <a:pt x="1923" y="113"/>
                  </a:lnTo>
                  <a:lnTo>
                    <a:pt x="1920" y="117"/>
                  </a:lnTo>
                  <a:lnTo>
                    <a:pt x="1918" y="121"/>
                  </a:lnTo>
                  <a:lnTo>
                    <a:pt x="1915" y="124"/>
                  </a:lnTo>
                  <a:lnTo>
                    <a:pt x="1912" y="128"/>
                  </a:lnTo>
                  <a:lnTo>
                    <a:pt x="1908" y="131"/>
                  </a:lnTo>
                  <a:lnTo>
                    <a:pt x="1903" y="133"/>
                  </a:lnTo>
                  <a:lnTo>
                    <a:pt x="1899" y="135"/>
                  </a:lnTo>
                  <a:lnTo>
                    <a:pt x="1894" y="136"/>
                  </a:lnTo>
                  <a:lnTo>
                    <a:pt x="1888" y="138"/>
                  </a:lnTo>
                  <a:lnTo>
                    <a:pt x="1883" y="138"/>
                  </a:lnTo>
                  <a:lnTo>
                    <a:pt x="1877" y="138"/>
                  </a:lnTo>
                  <a:lnTo>
                    <a:pt x="1860" y="138"/>
                  </a:lnTo>
                  <a:lnTo>
                    <a:pt x="1860" y="221"/>
                  </a:lnTo>
                  <a:lnTo>
                    <a:pt x="1826" y="221"/>
                  </a:lnTo>
                  <a:lnTo>
                    <a:pt x="1826" y="2"/>
                  </a:lnTo>
                  <a:lnTo>
                    <a:pt x="1877" y="2"/>
                  </a:lnTo>
                  <a:lnTo>
                    <a:pt x="1883" y="2"/>
                  </a:lnTo>
                  <a:lnTo>
                    <a:pt x="1888" y="3"/>
                  </a:lnTo>
                  <a:lnTo>
                    <a:pt x="1894" y="4"/>
                  </a:lnTo>
                  <a:lnTo>
                    <a:pt x="1899" y="5"/>
                  </a:lnTo>
                  <a:lnTo>
                    <a:pt x="1903" y="7"/>
                  </a:lnTo>
                  <a:lnTo>
                    <a:pt x="1908" y="9"/>
                  </a:lnTo>
                  <a:lnTo>
                    <a:pt x="1912" y="12"/>
                  </a:lnTo>
                  <a:lnTo>
                    <a:pt x="1915" y="15"/>
                  </a:lnTo>
                  <a:lnTo>
                    <a:pt x="1918" y="20"/>
                  </a:lnTo>
                  <a:lnTo>
                    <a:pt x="1920" y="23"/>
                  </a:lnTo>
                  <a:lnTo>
                    <a:pt x="1923" y="28"/>
                  </a:lnTo>
                  <a:lnTo>
                    <a:pt x="1924" y="32"/>
                  </a:lnTo>
                  <a:lnTo>
                    <a:pt x="1927" y="38"/>
                  </a:lnTo>
                  <a:lnTo>
                    <a:pt x="1928" y="43"/>
                  </a:lnTo>
                  <a:lnTo>
                    <a:pt x="1928" y="49"/>
                  </a:lnTo>
                  <a:lnTo>
                    <a:pt x="1928" y="56"/>
                  </a:lnTo>
                  <a:close/>
                  <a:moveTo>
                    <a:pt x="1733" y="33"/>
                  </a:moveTo>
                  <a:lnTo>
                    <a:pt x="1733" y="107"/>
                  </a:lnTo>
                  <a:lnTo>
                    <a:pt x="1749" y="107"/>
                  </a:lnTo>
                  <a:lnTo>
                    <a:pt x="1753" y="107"/>
                  </a:lnTo>
                  <a:lnTo>
                    <a:pt x="1756" y="106"/>
                  </a:lnTo>
                  <a:lnTo>
                    <a:pt x="1759" y="104"/>
                  </a:lnTo>
                  <a:lnTo>
                    <a:pt x="1762" y="103"/>
                  </a:lnTo>
                  <a:lnTo>
                    <a:pt x="1764" y="100"/>
                  </a:lnTo>
                  <a:lnTo>
                    <a:pt x="1765" y="96"/>
                  </a:lnTo>
                  <a:lnTo>
                    <a:pt x="1766" y="92"/>
                  </a:lnTo>
                  <a:lnTo>
                    <a:pt x="1766" y="86"/>
                  </a:lnTo>
                  <a:lnTo>
                    <a:pt x="1766" y="53"/>
                  </a:lnTo>
                  <a:lnTo>
                    <a:pt x="1766" y="48"/>
                  </a:lnTo>
                  <a:lnTo>
                    <a:pt x="1765" y="44"/>
                  </a:lnTo>
                  <a:lnTo>
                    <a:pt x="1764" y="40"/>
                  </a:lnTo>
                  <a:lnTo>
                    <a:pt x="1762" y="38"/>
                  </a:lnTo>
                  <a:lnTo>
                    <a:pt x="1759" y="36"/>
                  </a:lnTo>
                  <a:lnTo>
                    <a:pt x="1756" y="34"/>
                  </a:lnTo>
                  <a:lnTo>
                    <a:pt x="1753" y="33"/>
                  </a:lnTo>
                  <a:lnTo>
                    <a:pt x="1749" y="33"/>
                  </a:lnTo>
                  <a:lnTo>
                    <a:pt x="1733" y="33"/>
                  </a:lnTo>
                  <a:close/>
                  <a:moveTo>
                    <a:pt x="1801" y="56"/>
                  </a:moveTo>
                  <a:lnTo>
                    <a:pt x="1801" y="84"/>
                  </a:lnTo>
                  <a:lnTo>
                    <a:pt x="1801" y="91"/>
                  </a:lnTo>
                  <a:lnTo>
                    <a:pt x="1800" y="97"/>
                  </a:lnTo>
                  <a:lnTo>
                    <a:pt x="1799" y="102"/>
                  </a:lnTo>
                  <a:lnTo>
                    <a:pt x="1798" y="107"/>
                  </a:lnTo>
                  <a:lnTo>
                    <a:pt x="1795" y="113"/>
                  </a:lnTo>
                  <a:lnTo>
                    <a:pt x="1793" y="117"/>
                  </a:lnTo>
                  <a:lnTo>
                    <a:pt x="1790" y="121"/>
                  </a:lnTo>
                  <a:lnTo>
                    <a:pt x="1788" y="124"/>
                  </a:lnTo>
                  <a:lnTo>
                    <a:pt x="1784" y="128"/>
                  </a:lnTo>
                  <a:lnTo>
                    <a:pt x="1781" y="131"/>
                  </a:lnTo>
                  <a:lnTo>
                    <a:pt x="1776" y="133"/>
                  </a:lnTo>
                  <a:lnTo>
                    <a:pt x="1771" y="135"/>
                  </a:lnTo>
                  <a:lnTo>
                    <a:pt x="1767" y="136"/>
                  </a:lnTo>
                  <a:lnTo>
                    <a:pt x="1762" y="138"/>
                  </a:lnTo>
                  <a:lnTo>
                    <a:pt x="1755" y="138"/>
                  </a:lnTo>
                  <a:lnTo>
                    <a:pt x="1749" y="138"/>
                  </a:lnTo>
                  <a:lnTo>
                    <a:pt x="1733" y="138"/>
                  </a:lnTo>
                  <a:lnTo>
                    <a:pt x="1733" y="221"/>
                  </a:lnTo>
                  <a:lnTo>
                    <a:pt x="1698" y="221"/>
                  </a:lnTo>
                  <a:lnTo>
                    <a:pt x="1698" y="2"/>
                  </a:lnTo>
                  <a:lnTo>
                    <a:pt x="1749" y="2"/>
                  </a:lnTo>
                  <a:lnTo>
                    <a:pt x="1755" y="2"/>
                  </a:lnTo>
                  <a:lnTo>
                    <a:pt x="1762" y="3"/>
                  </a:lnTo>
                  <a:lnTo>
                    <a:pt x="1767" y="4"/>
                  </a:lnTo>
                  <a:lnTo>
                    <a:pt x="1771" y="5"/>
                  </a:lnTo>
                  <a:lnTo>
                    <a:pt x="1776" y="7"/>
                  </a:lnTo>
                  <a:lnTo>
                    <a:pt x="1781" y="9"/>
                  </a:lnTo>
                  <a:lnTo>
                    <a:pt x="1784" y="12"/>
                  </a:lnTo>
                  <a:lnTo>
                    <a:pt x="1788" y="15"/>
                  </a:lnTo>
                  <a:lnTo>
                    <a:pt x="1790" y="20"/>
                  </a:lnTo>
                  <a:lnTo>
                    <a:pt x="1793" y="23"/>
                  </a:lnTo>
                  <a:lnTo>
                    <a:pt x="1795" y="28"/>
                  </a:lnTo>
                  <a:lnTo>
                    <a:pt x="1798" y="32"/>
                  </a:lnTo>
                  <a:lnTo>
                    <a:pt x="1799" y="38"/>
                  </a:lnTo>
                  <a:lnTo>
                    <a:pt x="1800" y="43"/>
                  </a:lnTo>
                  <a:lnTo>
                    <a:pt x="1801" y="49"/>
                  </a:lnTo>
                  <a:lnTo>
                    <a:pt x="1801" y="56"/>
                  </a:lnTo>
                  <a:close/>
                  <a:moveTo>
                    <a:pt x="1599" y="2"/>
                  </a:moveTo>
                  <a:lnTo>
                    <a:pt x="1599" y="171"/>
                  </a:lnTo>
                  <a:lnTo>
                    <a:pt x="1599" y="176"/>
                  </a:lnTo>
                  <a:lnTo>
                    <a:pt x="1600" y="180"/>
                  </a:lnTo>
                  <a:lnTo>
                    <a:pt x="1601" y="183"/>
                  </a:lnTo>
                  <a:lnTo>
                    <a:pt x="1602" y="185"/>
                  </a:lnTo>
                  <a:lnTo>
                    <a:pt x="1604" y="188"/>
                  </a:lnTo>
                  <a:lnTo>
                    <a:pt x="1606" y="190"/>
                  </a:lnTo>
                  <a:lnTo>
                    <a:pt x="1609" y="191"/>
                  </a:lnTo>
                  <a:lnTo>
                    <a:pt x="1612" y="192"/>
                  </a:lnTo>
                  <a:lnTo>
                    <a:pt x="1617" y="192"/>
                  </a:lnTo>
                  <a:lnTo>
                    <a:pt x="1621" y="192"/>
                  </a:lnTo>
                  <a:lnTo>
                    <a:pt x="1624" y="191"/>
                  </a:lnTo>
                  <a:lnTo>
                    <a:pt x="1627" y="190"/>
                  </a:lnTo>
                  <a:lnTo>
                    <a:pt x="1629" y="188"/>
                  </a:lnTo>
                  <a:lnTo>
                    <a:pt x="1631" y="185"/>
                  </a:lnTo>
                  <a:lnTo>
                    <a:pt x="1634" y="180"/>
                  </a:lnTo>
                  <a:lnTo>
                    <a:pt x="1634" y="176"/>
                  </a:lnTo>
                  <a:lnTo>
                    <a:pt x="1635" y="171"/>
                  </a:lnTo>
                  <a:lnTo>
                    <a:pt x="1635" y="2"/>
                  </a:lnTo>
                  <a:lnTo>
                    <a:pt x="1667" y="2"/>
                  </a:lnTo>
                  <a:lnTo>
                    <a:pt x="1667" y="169"/>
                  </a:lnTo>
                  <a:lnTo>
                    <a:pt x="1666" y="175"/>
                  </a:lnTo>
                  <a:lnTo>
                    <a:pt x="1666" y="181"/>
                  </a:lnTo>
                  <a:lnTo>
                    <a:pt x="1665" y="187"/>
                  </a:lnTo>
                  <a:lnTo>
                    <a:pt x="1663" y="192"/>
                  </a:lnTo>
                  <a:lnTo>
                    <a:pt x="1662" y="197"/>
                  </a:lnTo>
                  <a:lnTo>
                    <a:pt x="1660" y="202"/>
                  </a:lnTo>
                  <a:lnTo>
                    <a:pt x="1657" y="206"/>
                  </a:lnTo>
                  <a:lnTo>
                    <a:pt x="1654" y="209"/>
                  </a:lnTo>
                  <a:lnTo>
                    <a:pt x="1651" y="212"/>
                  </a:lnTo>
                  <a:lnTo>
                    <a:pt x="1646" y="215"/>
                  </a:lnTo>
                  <a:lnTo>
                    <a:pt x="1644" y="216"/>
                  </a:lnTo>
                  <a:lnTo>
                    <a:pt x="1642" y="218"/>
                  </a:lnTo>
                  <a:lnTo>
                    <a:pt x="1638" y="220"/>
                  </a:lnTo>
                  <a:lnTo>
                    <a:pt x="1633" y="222"/>
                  </a:lnTo>
                  <a:lnTo>
                    <a:pt x="1627" y="223"/>
                  </a:lnTo>
                  <a:lnTo>
                    <a:pt x="1622" y="224"/>
                  </a:lnTo>
                  <a:lnTo>
                    <a:pt x="1616" y="224"/>
                  </a:lnTo>
                  <a:lnTo>
                    <a:pt x="1609" y="224"/>
                  </a:lnTo>
                  <a:lnTo>
                    <a:pt x="1604" y="223"/>
                  </a:lnTo>
                  <a:lnTo>
                    <a:pt x="1599" y="222"/>
                  </a:lnTo>
                  <a:lnTo>
                    <a:pt x="1593" y="220"/>
                  </a:lnTo>
                  <a:lnTo>
                    <a:pt x="1589" y="218"/>
                  </a:lnTo>
                  <a:lnTo>
                    <a:pt x="1585" y="215"/>
                  </a:lnTo>
                  <a:lnTo>
                    <a:pt x="1581" y="212"/>
                  </a:lnTo>
                  <a:lnTo>
                    <a:pt x="1578" y="209"/>
                  </a:lnTo>
                  <a:lnTo>
                    <a:pt x="1574" y="206"/>
                  </a:lnTo>
                  <a:lnTo>
                    <a:pt x="1571" y="202"/>
                  </a:lnTo>
                  <a:lnTo>
                    <a:pt x="1569" y="197"/>
                  </a:lnTo>
                  <a:lnTo>
                    <a:pt x="1567" y="192"/>
                  </a:lnTo>
                  <a:lnTo>
                    <a:pt x="1566" y="187"/>
                  </a:lnTo>
                  <a:lnTo>
                    <a:pt x="1565" y="181"/>
                  </a:lnTo>
                  <a:lnTo>
                    <a:pt x="1565" y="175"/>
                  </a:lnTo>
                  <a:lnTo>
                    <a:pt x="1564" y="169"/>
                  </a:lnTo>
                  <a:lnTo>
                    <a:pt x="1564" y="2"/>
                  </a:lnTo>
                  <a:lnTo>
                    <a:pt x="1599" y="2"/>
                  </a:lnTo>
                  <a:close/>
                  <a:moveTo>
                    <a:pt x="1463" y="152"/>
                  </a:moveTo>
                  <a:lnTo>
                    <a:pt x="1496" y="152"/>
                  </a:lnTo>
                  <a:lnTo>
                    <a:pt x="1480" y="41"/>
                  </a:lnTo>
                  <a:lnTo>
                    <a:pt x="1463" y="152"/>
                  </a:lnTo>
                  <a:close/>
                  <a:moveTo>
                    <a:pt x="1542" y="221"/>
                  </a:moveTo>
                  <a:lnTo>
                    <a:pt x="1508" y="221"/>
                  </a:lnTo>
                  <a:lnTo>
                    <a:pt x="1501" y="181"/>
                  </a:lnTo>
                  <a:lnTo>
                    <a:pt x="1459" y="181"/>
                  </a:lnTo>
                  <a:lnTo>
                    <a:pt x="1453" y="221"/>
                  </a:lnTo>
                  <a:lnTo>
                    <a:pt x="1421" y="221"/>
                  </a:lnTo>
                  <a:lnTo>
                    <a:pt x="1457" y="2"/>
                  </a:lnTo>
                  <a:lnTo>
                    <a:pt x="1507" y="2"/>
                  </a:lnTo>
                  <a:lnTo>
                    <a:pt x="1542" y="221"/>
                  </a:lnTo>
                  <a:close/>
                  <a:moveTo>
                    <a:pt x="1339" y="134"/>
                  </a:moveTo>
                  <a:lnTo>
                    <a:pt x="1328" y="154"/>
                  </a:lnTo>
                  <a:lnTo>
                    <a:pt x="1328" y="221"/>
                  </a:lnTo>
                  <a:lnTo>
                    <a:pt x="1293" y="221"/>
                  </a:lnTo>
                  <a:lnTo>
                    <a:pt x="1293" y="2"/>
                  </a:lnTo>
                  <a:lnTo>
                    <a:pt x="1328" y="2"/>
                  </a:lnTo>
                  <a:lnTo>
                    <a:pt x="1328" y="97"/>
                  </a:lnTo>
                  <a:lnTo>
                    <a:pt x="1372" y="2"/>
                  </a:lnTo>
                  <a:lnTo>
                    <a:pt x="1407" y="2"/>
                  </a:lnTo>
                  <a:lnTo>
                    <a:pt x="1359" y="99"/>
                  </a:lnTo>
                  <a:lnTo>
                    <a:pt x="1407" y="221"/>
                  </a:lnTo>
                  <a:lnTo>
                    <a:pt x="1371" y="221"/>
                  </a:lnTo>
                  <a:lnTo>
                    <a:pt x="1339" y="134"/>
                  </a:lnTo>
                  <a:close/>
                  <a:moveTo>
                    <a:pt x="1204" y="94"/>
                  </a:moveTo>
                  <a:lnTo>
                    <a:pt x="1252" y="94"/>
                  </a:lnTo>
                  <a:lnTo>
                    <a:pt x="1252" y="125"/>
                  </a:lnTo>
                  <a:lnTo>
                    <a:pt x="1204" y="125"/>
                  </a:lnTo>
                  <a:lnTo>
                    <a:pt x="1204" y="190"/>
                  </a:lnTo>
                  <a:lnTo>
                    <a:pt x="1263" y="190"/>
                  </a:lnTo>
                  <a:lnTo>
                    <a:pt x="1263" y="221"/>
                  </a:lnTo>
                  <a:lnTo>
                    <a:pt x="1170" y="221"/>
                  </a:lnTo>
                  <a:lnTo>
                    <a:pt x="1170" y="2"/>
                  </a:lnTo>
                  <a:lnTo>
                    <a:pt x="1263" y="2"/>
                  </a:lnTo>
                  <a:lnTo>
                    <a:pt x="1263" y="33"/>
                  </a:lnTo>
                  <a:lnTo>
                    <a:pt x="1204" y="33"/>
                  </a:lnTo>
                  <a:lnTo>
                    <a:pt x="1204" y="94"/>
                  </a:lnTo>
                  <a:close/>
                  <a:moveTo>
                    <a:pt x="1077" y="134"/>
                  </a:moveTo>
                  <a:lnTo>
                    <a:pt x="1067" y="154"/>
                  </a:lnTo>
                  <a:lnTo>
                    <a:pt x="1067" y="221"/>
                  </a:lnTo>
                  <a:lnTo>
                    <a:pt x="1033" y="221"/>
                  </a:lnTo>
                  <a:lnTo>
                    <a:pt x="1033" y="2"/>
                  </a:lnTo>
                  <a:lnTo>
                    <a:pt x="1067" y="2"/>
                  </a:lnTo>
                  <a:lnTo>
                    <a:pt x="1067" y="97"/>
                  </a:lnTo>
                  <a:lnTo>
                    <a:pt x="1112" y="2"/>
                  </a:lnTo>
                  <a:lnTo>
                    <a:pt x="1146" y="2"/>
                  </a:lnTo>
                  <a:lnTo>
                    <a:pt x="1098" y="99"/>
                  </a:lnTo>
                  <a:lnTo>
                    <a:pt x="1146" y="221"/>
                  </a:lnTo>
                  <a:lnTo>
                    <a:pt x="1111" y="221"/>
                  </a:lnTo>
                  <a:lnTo>
                    <a:pt x="1077" y="134"/>
                  </a:lnTo>
                  <a:close/>
                  <a:moveTo>
                    <a:pt x="965" y="2"/>
                  </a:moveTo>
                  <a:lnTo>
                    <a:pt x="999" y="2"/>
                  </a:lnTo>
                  <a:lnTo>
                    <a:pt x="999" y="221"/>
                  </a:lnTo>
                  <a:lnTo>
                    <a:pt x="965" y="221"/>
                  </a:lnTo>
                  <a:lnTo>
                    <a:pt x="965" y="2"/>
                  </a:lnTo>
                  <a:close/>
                  <a:moveTo>
                    <a:pt x="898" y="2"/>
                  </a:moveTo>
                  <a:lnTo>
                    <a:pt x="932" y="2"/>
                  </a:lnTo>
                  <a:lnTo>
                    <a:pt x="932" y="221"/>
                  </a:lnTo>
                  <a:lnTo>
                    <a:pt x="898" y="221"/>
                  </a:lnTo>
                  <a:lnTo>
                    <a:pt x="898" y="2"/>
                  </a:lnTo>
                  <a:close/>
                  <a:moveTo>
                    <a:pt x="783" y="2"/>
                  </a:moveTo>
                  <a:lnTo>
                    <a:pt x="818" y="2"/>
                  </a:lnTo>
                  <a:lnTo>
                    <a:pt x="818" y="190"/>
                  </a:lnTo>
                  <a:lnTo>
                    <a:pt x="875" y="190"/>
                  </a:lnTo>
                  <a:lnTo>
                    <a:pt x="875" y="221"/>
                  </a:lnTo>
                  <a:lnTo>
                    <a:pt x="783" y="221"/>
                  </a:lnTo>
                  <a:lnTo>
                    <a:pt x="783" y="2"/>
                  </a:lnTo>
                  <a:close/>
                  <a:moveTo>
                    <a:pt x="705" y="0"/>
                  </a:moveTo>
                  <a:lnTo>
                    <a:pt x="711" y="0"/>
                  </a:lnTo>
                  <a:lnTo>
                    <a:pt x="717" y="0"/>
                  </a:lnTo>
                  <a:lnTo>
                    <a:pt x="722" y="1"/>
                  </a:lnTo>
                  <a:lnTo>
                    <a:pt x="727" y="3"/>
                  </a:lnTo>
                  <a:lnTo>
                    <a:pt x="732" y="5"/>
                  </a:lnTo>
                  <a:lnTo>
                    <a:pt x="736" y="7"/>
                  </a:lnTo>
                  <a:lnTo>
                    <a:pt x="740" y="10"/>
                  </a:lnTo>
                  <a:lnTo>
                    <a:pt x="743" y="13"/>
                  </a:lnTo>
                  <a:lnTo>
                    <a:pt x="746" y="18"/>
                  </a:lnTo>
                  <a:lnTo>
                    <a:pt x="748" y="22"/>
                  </a:lnTo>
                  <a:lnTo>
                    <a:pt x="751" y="26"/>
                  </a:lnTo>
                  <a:lnTo>
                    <a:pt x="753" y="31"/>
                  </a:lnTo>
                  <a:lnTo>
                    <a:pt x="754" y="37"/>
                  </a:lnTo>
                  <a:lnTo>
                    <a:pt x="755" y="42"/>
                  </a:lnTo>
                  <a:lnTo>
                    <a:pt x="756" y="48"/>
                  </a:lnTo>
                  <a:lnTo>
                    <a:pt x="756" y="55"/>
                  </a:lnTo>
                  <a:lnTo>
                    <a:pt x="756" y="61"/>
                  </a:lnTo>
                  <a:lnTo>
                    <a:pt x="723" y="61"/>
                  </a:lnTo>
                  <a:lnTo>
                    <a:pt x="723" y="52"/>
                  </a:lnTo>
                  <a:lnTo>
                    <a:pt x="723" y="46"/>
                  </a:lnTo>
                  <a:lnTo>
                    <a:pt x="722" y="42"/>
                  </a:lnTo>
                  <a:lnTo>
                    <a:pt x="721" y="39"/>
                  </a:lnTo>
                  <a:lnTo>
                    <a:pt x="719" y="36"/>
                  </a:lnTo>
                  <a:lnTo>
                    <a:pt x="717" y="33"/>
                  </a:lnTo>
                  <a:lnTo>
                    <a:pt x="714" y="31"/>
                  </a:lnTo>
                  <a:lnTo>
                    <a:pt x="710" y="30"/>
                  </a:lnTo>
                  <a:lnTo>
                    <a:pt x="706" y="30"/>
                  </a:lnTo>
                  <a:lnTo>
                    <a:pt x="702" y="30"/>
                  </a:lnTo>
                  <a:lnTo>
                    <a:pt x="699" y="31"/>
                  </a:lnTo>
                  <a:lnTo>
                    <a:pt x="698" y="32"/>
                  </a:lnTo>
                  <a:lnTo>
                    <a:pt x="696" y="33"/>
                  </a:lnTo>
                  <a:lnTo>
                    <a:pt x="693" y="36"/>
                  </a:lnTo>
                  <a:lnTo>
                    <a:pt x="691" y="39"/>
                  </a:lnTo>
                  <a:lnTo>
                    <a:pt x="690" y="42"/>
                  </a:lnTo>
                  <a:lnTo>
                    <a:pt x="689" y="46"/>
                  </a:lnTo>
                  <a:lnTo>
                    <a:pt x="689" y="52"/>
                  </a:lnTo>
                  <a:lnTo>
                    <a:pt x="689" y="56"/>
                  </a:lnTo>
                  <a:lnTo>
                    <a:pt x="689" y="60"/>
                  </a:lnTo>
                  <a:lnTo>
                    <a:pt x="691" y="67"/>
                  </a:lnTo>
                  <a:lnTo>
                    <a:pt x="693" y="70"/>
                  </a:lnTo>
                  <a:lnTo>
                    <a:pt x="696" y="74"/>
                  </a:lnTo>
                  <a:lnTo>
                    <a:pt x="700" y="80"/>
                  </a:lnTo>
                  <a:lnTo>
                    <a:pt x="704" y="86"/>
                  </a:lnTo>
                  <a:lnTo>
                    <a:pt x="710" y="92"/>
                  </a:lnTo>
                  <a:lnTo>
                    <a:pt x="722" y="103"/>
                  </a:lnTo>
                  <a:lnTo>
                    <a:pt x="735" y="116"/>
                  </a:lnTo>
                  <a:lnTo>
                    <a:pt x="741" y="122"/>
                  </a:lnTo>
                  <a:lnTo>
                    <a:pt x="745" y="130"/>
                  </a:lnTo>
                  <a:lnTo>
                    <a:pt x="750" y="138"/>
                  </a:lnTo>
                  <a:lnTo>
                    <a:pt x="754" y="148"/>
                  </a:lnTo>
                  <a:lnTo>
                    <a:pt x="756" y="157"/>
                  </a:lnTo>
                  <a:lnTo>
                    <a:pt x="756" y="162"/>
                  </a:lnTo>
                  <a:lnTo>
                    <a:pt x="756" y="168"/>
                  </a:lnTo>
                  <a:lnTo>
                    <a:pt x="756" y="175"/>
                  </a:lnTo>
                  <a:lnTo>
                    <a:pt x="756" y="180"/>
                  </a:lnTo>
                  <a:lnTo>
                    <a:pt x="755" y="187"/>
                  </a:lnTo>
                  <a:lnTo>
                    <a:pt x="753" y="192"/>
                  </a:lnTo>
                  <a:lnTo>
                    <a:pt x="752" y="196"/>
                  </a:lnTo>
                  <a:lnTo>
                    <a:pt x="748" y="202"/>
                  </a:lnTo>
                  <a:lnTo>
                    <a:pt x="746" y="205"/>
                  </a:lnTo>
                  <a:lnTo>
                    <a:pt x="743" y="209"/>
                  </a:lnTo>
                  <a:lnTo>
                    <a:pt x="740" y="212"/>
                  </a:lnTo>
                  <a:lnTo>
                    <a:pt x="736" y="215"/>
                  </a:lnTo>
                  <a:lnTo>
                    <a:pt x="734" y="216"/>
                  </a:lnTo>
                  <a:lnTo>
                    <a:pt x="732" y="217"/>
                  </a:lnTo>
                  <a:lnTo>
                    <a:pt x="727" y="220"/>
                  </a:lnTo>
                  <a:lnTo>
                    <a:pt x="722" y="222"/>
                  </a:lnTo>
                  <a:lnTo>
                    <a:pt x="717" y="223"/>
                  </a:lnTo>
                  <a:lnTo>
                    <a:pt x="711" y="223"/>
                  </a:lnTo>
                  <a:lnTo>
                    <a:pt x="705" y="224"/>
                  </a:lnTo>
                  <a:lnTo>
                    <a:pt x="699" y="223"/>
                  </a:lnTo>
                  <a:lnTo>
                    <a:pt x="692" y="223"/>
                  </a:lnTo>
                  <a:lnTo>
                    <a:pt x="687" y="222"/>
                  </a:lnTo>
                  <a:lnTo>
                    <a:pt x="683" y="220"/>
                  </a:lnTo>
                  <a:lnTo>
                    <a:pt x="678" y="217"/>
                  </a:lnTo>
                  <a:lnTo>
                    <a:pt x="673" y="215"/>
                  </a:lnTo>
                  <a:lnTo>
                    <a:pt x="670" y="212"/>
                  </a:lnTo>
                  <a:lnTo>
                    <a:pt x="666" y="209"/>
                  </a:lnTo>
                  <a:lnTo>
                    <a:pt x="664" y="205"/>
                  </a:lnTo>
                  <a:lnTo>
                    <a:pt x="661" y="202"/>
                  </a:lnTo>
                  <a:lnTo>
                    <a:pt x="659" y="196"/>
                  </a:lnTo>
                  <a:lnTo>
                    <a:pt x="656" y="192"/>
                  </a:lnTo>
                  <a:lnTo>
                    <a:pt x="655" y="187"/>
                  </a:lnTo>
                  <a:lnTo>
                    <a:pt x="654" y="180"/>
                  </a:lnTo>
                  <a:lnTo>
                    <a:pt x="653" y="175"/>
                  </a:lnTo>
                  <a:lnTo>
                    <a:pt x="653" y="168"/>
                  </a:lnTo>
                  <a:lnTo>
                    <a:pt x="653" y="155"/>
                  </a:lnTo>
                  <a:lnTo>
                    <a:pt x="686" y="155"/>
                  </a:lnTo>
                  <a:lnTo>
                    <a:pt x="686" y="171"/>
                  </a:lnTo>
                  <a:lnTo>
                    <a:pt x="686" y="176"/>
                  </a:lnTo>
                  <a:lnTo>
                    <a:pt x="687" y="180"/>
                  </a:lnTo>
                  <a:lnTo>
                    <a:pt x="688" y="183"/>
                  </a:lnTo>
                  <a:lnTo>
                    <a:pt x="689" y="184"/>
                  </a:lnTo>
                  <a:lnTo>
                    <a:pt x="691" y="187"/>
                  </a:lnTo>
                  <a:lnTo>
                    <a:pt x="693" y="189"/>
                  </a:lnTo>
                  <a:lnTo>
                    <a:pt x="697" y="191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08" y="191"/>
                  </a:lnTo>
                  <a:lnTo>
                    <a:pt x="711" y="191"/>
                  </a:lnTo>
                  <a:lnTo>
                    <a:pt x="715" y="189"/>
                  </a:lnTo>
                  <a:lnTo>
                    <a:pt x="717" y="187"/>
                  </a:lnTo>
                  <a:lnTo>
                    <a:pt x="719" y="184"/>
                  </a:lnTo>
                  <a:lnTo>
                    <a:pt x="721" y="180"/>
                  </a:lnTo>
                  <a:lnTo>
                    <a:pt x="721" y="176"/>
                  </a:lnTo>
                  <a:lnTo>
                    <a:pt x="722" y="171"/>
                  </a:lnTo>
                  <a:lnTo>
                    <a:pt x="722" y="167"/>
                  </a:lnTo>
                  <a:lnTo>
                    <a:pt x="721" y="162"/>
                  </a:lnTo>
                  <a:lnTo>
                    <a:pt x="719" y="155"/>
                  </a:lnTo>
                  <a:lnTo>
                    <a:pt x="718" y="152"/>
                  </a:lnTo>
                  <a:lnTo>
                    <a:pt x="716" y="149"/>
                  </a:lnTo>
                  <a:lnTo>
                    <a:pt x="711" y="142"/>
                  </a:lnTo>
                  <a:lnTo>
                    <a:pt x="706" y="136"/>
                  </a:lnTo>
                  <a:lnTo>
                    <a:pt x="701" y="131"/>
                  </a:lnTo>
                  <a:lnTo>
                    <a:pt x="688" y="119"/>
                  </a:lnTo>
                  <a:lnTo>
                    <a:pt x="675" y="106"/>
                  </a:lnTo>
                  <a:lnTo>
                    <a:pt x="670" y="100"/>
                  </a:lnTo>
                  <a:lnTo>
                    <a:pt x="665" y="93"/>
                  </a:lnTo>
                  <a:lnTo>
                    <a:pt x="661" y="84"/>
                  </a:lnTo>
                  <a:lnTo>
                    <a:pt x="658" y="76"/>
                  </a:lnTo>
                  <a:lnTo>
                    <a:pt x="655" y="65"/>
                  </a:lnTo>
                  <a:lnTo>
                    <a:pt x="654" y="60"/>
                  </a:lnTo>
                  <a:lnTo>
                    <a:pt x="654" y="55"/>
                  </a:lnTo>
                  <a:lnTo>
                    <a:pt x="654" y="48"/>
                  </a:lnTo>
                  <a:lnTo>
                    <a:pt x="655" y="42"/>
                  </a:lnTo>
                  <a:lnTo>
                    <a:pt x="656" y="37"/>
                  </a:lnTo>
                  <a:lnTo>
                    <a:pt x="658" y="31"/>
                  </a:lnTo>
                  <a:lnTo>
                    <a:pt x="660" y="26"/>
                  </a:lnTo>
                  <a:lnTo>
                    <a:pt x="662" y="22"/>
                  </a:lnTo>
                  <a:lnTo>
                    <a:pt x="664" y="18"/>
                  </a:lnTo>
                  <a:lnTo>
                    <a:pt x="667" y="13"/>
                  </a:lnTo>
                  <a:lnTo>
                    <a:pt x="670" y="10"/>
                  </a:lnTo>
                  <a:lnTo>
                    <a:pt x="674" y="7"/>
                  </a:lnTo>
                  <a:lnTo>
                    <a:pt x="677" y="6"/>
                  </a:lnTo>
                  <a:lnTo>
                    <a:pt x="679" y="5"/>
                  </a:lnTo>
                  <a:lnTo>
                    <a:pt x="683" y="3"/>
                  </a:lnTo>
                  <a:lnTo>
                    <a:pt x="688" y="1"/>
                  </a:lnTo>
                  <a:lnTo>
                    <a:pt x="693" y="0"/>
                  </a:lnTo>
                  <a:lnTo>
                    <a:pt x="699" y="0"/>
                  </a:lnTo>
                  <a:lnTo>
                    <a:pt x="705" y="0"/>
                  </a:lnTo>
                  <a:close/>
                  <a:moveTo>
                    <a:pt x="592" y="2"/>
                  </a:moveTo>
                  <a:lnTo>
                    <a:pt x="626" y="2"/>
                  </a:lnTo>
                  <a:lnTo>
                    <a:pt x="626" y="221"/>
                  </a:lnTo>
                  <a:lnTo>
                    <a:pt x="592" y="221"/>
                  </a:lnTo>
                  <a:lnTo>
                    <a:pt x="592" y="2"/>
                  </a:lnTo>
                  <a:close/>
                  <a:moveTo>
                    <a:pt x="491" y="171"/>
                  </a:moveTo>
                  <a:lnTo>
                    <a:pt x="491" y="176"/>
                  </a:lnTo>
                  <a:lnTo>
                    <a:pt x="493" y="180"/>
                  </a:lnTo>
                  <a:lnTo>
                    <a:pt x="494" y="183"/>
                  </a:lnTo>
                  <a:lnTo>
                    <a:pt x="494" y="185"/>
                  </a:lnTo>
                  <a:lnTo>
                    <a:pt x="496" y="187"/>
                  </a:lnTo>
                  <a:lnTo>
                    <a:pt x="499" y="189"/>
                  </a:lnTo>
                  <a:lnTo>
                    <a:pt x="502" y="191"/>
                  </a:lnTo>
                  <a:lnTo>
                    <a:pt x="505" y="192"/>
                  </a:lnTo>
                  <a:lnTo>
                    <a:pt x="509" y="192"/>
                  </a:lnTo>
                  <a:lnTo>
                    <a:pt x="513" y="192"/>
                  </a:lnTo>
                  <a:lnTo>
                    <a:pt x="517" y="191"/>
                  </a:lnTo>
                  <a:lnTo>
                    <a:pt x="520" y="189"/>
                  </a:lnTo>
                  <a:lnTo>
                    <a:pt x="522" y="187"/>
                  </a:lnTo>
                  <a:lnTo>
                    <a:pt x="524" y="185"/>
                  </a:lnTo>
                  <a:lnTo>
                    <a:pt x="525" y="180"/>
                  </a:lnTo>
                  <a:lnTo>
                    <a:pt x="526" y="176"/>
                  </a:lnTo>
                  <a:lnTo>
                    <a:pt x="527" y="171"/>
                  </a:lnTo>
                  <a:lnTo>
                    <a:pt x="527" y="52"/>
                  </a:lnTo>
                  <a:lnTo>
                    <a:pt x="526" y="46"/>
                  </a:lnTo>
                  <a:lnTo>
                    <a:pt x="525" y="42"/>
                  </a:lnTo>
                  <a:lnTo>
                    <a:pt x="525" y="40"/>
                  </a:lnTo>
                  <a:lnTo>
                    <a:pt x="524" y="39"/>
                  </a:lnTo>
                  <a:lnTo>
                    <a:pt x="522" y="36"/>
                  </a:lnTo>
                  <a:lnTo>
                    <a:pt x="520" y="33"/>
                  </a:lnTo>
                  <a:lnTo>
                    <a:pt x="517" y="31"/>
                  </a:lnTo>
                  <a:lnTo>
                    <a:pt x="513" y="30"/>
                  </a:lnTo>
                  <a:lnTo>
                    <a:pt x="509" y="30"/>
                  </a:lnTo>
                  <a:lnTo>
                    <a:pt x="505" y="30"/>
                  </a:lnTo>
                  <a:lnTo>
                    <a:pt x="502" y="31"/>
                  </a:lnTo>
                  <a:lnTo>
                    <a:pt x="499" y="33"/>
                  </a:lnTo>
                  <a:lnTo>
                    <a:pt x="496" y="36"/>
                  </a:lnTo>
                  <a:lnTo>
                    <a:pt x="494" y="39"/>
                  </a:lnTo>
                  <a:lnTo>
                    <a:pt x="493" y="42"/>
                  </a:lnTo>
                  <a:lnTo>
                    <a:pt x="491" y="46"/>
                  </a:lnTo>
                  <a:lnTo>
                    <a:pt x="491" y="52"/>
                  </a:lnTo>
                  <a:lnTo>
                    <a:pt x="491" y="171"/>
                  </a:lnTo>
                  <a:close/>
                  <a:moveTo>
                    <a:pt x="457" y="55"/>
                  </a:moveTo>
                  <a:lnTo>
                    <a:pt x="457" y="48"/>
                  </a:lnTo>
                  <a:lnTo>
                    <a:pt x="458" y="42"/>
                  </a:lnTo>
                  <a:lnTo>
                    <a:pt x="459" y="37"/>
                  </a:lnTo>
                  <a:lnTo>
                    <a:pt x="460" y="33"/>
                  </a:lnTo>
                  <a:lnTo>
                    <a:pt x="460" y="31"/>
                  </a:lnTo>
                  <a:lnTo>
                    <a:pt x="462" y="26"/>
                  </a:lnTo>
                  <a:lnTo>
                    <a:pt x="464" y="22"/>
                  </a:lnTo>
                  <a:lnTo>
                    <a:pt x="467" y="18"/>
                  </a:lnTo>
                  <a:lnTo>
                    <a:pt x="470" y="13"/>
                  </a:lnTo>
                  <a:lnTo>
                    <a:pt x="473" y="10"/>
                  </a:lnTo>
                  <a:lnTo>
                    <a:pt x="478" y="7"/>
                  </a:lnTo>
                  <a:lnTo>
                    <a:pt x="482" y="5"/>
                  </a:lnTo>
                  <a:lnTo>
                    <a:pt x="486" y="3"/>
                  </a:lnTo>
                  <a:lnTo>
                    <a:pt x="491" y="1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0"/>
                  </a:lnTo>
                  <a:lnTo>
                    <a:pt x="515" y="0"/>
                  </a:lnTo>
                  <a:lnTo>
                    <a:pt x="521" y="0"/>
                  </a:lnTo>
                  <a:lnTo>
                    <a:pt x="526" y="1"/>
                  </a:lnTo>
                  <a:lnTo>
                    <a:pt x="532" y="3"/>
                  </a:lnTo>
                  <a:lnTo>
                    <a:pt x="536" y="5"/>
                  </a:lnTo>
                  <a:lnTo>
                    <a:pt x="540" y="7"/>
                  </a:lnTo>
                  <a:lnTo>
                    <a:pt x="544" y="10"/>
                  </a:lnTo>
                  <a:lnTo>
                    <a:pt x="548" y="13"/>
                  </a:lnTo>
                  <a:lnTo>
                    <a:pt x="551" y="18"/>
                  </a:lnTo>
                  <a:lnTo>
                    <a:pt x="554" y="22"/>
                  </a:lnTo>
                  <a:lnTo>
                    <a:pt x="556" y="26"/>
                  </a:lnTo>
                  <a:lnTo>
                    <a:pt x="558" y="31"/>
                  </a:lnTo>
                  <a:lnTo>
                    <a:pt x="559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1" y="168"/>
                  </a:lnTo>
                  <a:lnTo>
                    <a:pt x="561" y="175"/>
                  </a:lnTo>
                  <a:lnTo>
                    <a:pt x="560" y="180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8" y="192"/>
                  </a:lnTo>
                  <a:lnTo>
                    <a:pt x="556" y="196"/>
                  </a:lnTo>
                  <a:lnTo>
                    <a:pt x="554" y="202"/>
                  </a:lnTo>
                  <a:lnTo>
                    <a:pt x="551" y="205"/>
                  </a:lnTo>
                  <a:lnTo>
                    <a:pt x="548" y="209"/>
                  </a:lnTo>
                  <a:lnTo>
                    <a:pt x="544" y="212"/>
                  </a:lnTo>
                  <a:lnTo>
                    <a:pt x="540" y="215"/>
                  </a:lnTo>
                  <a:lnTo>
                    <a:pt x="536" y="217"/>
                  </a:lnTo>
                  <a:lnTo>
                    <a:pt x="532" y="220"/>
                  </a:lnTo>
                  <a:lnTo>
                    <a:pt x="526" y="222"/>
                  </a:lnTo>
                  <a:lnTo>
                    <a:pt x="521" y="223"/>
                  </a:lnTo>
                  <a:lnTo>
                    <a:pt x="515" y="223"/>
                  </a:lnTo>
                  <a:lnTo>
                    <a:pt x="509" y="224"/>
                  </a:lnTo>
                  <a:lnTo>
                    <a:pt x="503" y="223"/>
                  </a:lnTo>
                  <a:lnTo>
                    <a:pt x="497" y="223"/>
                  </a:lnTo>
                  <a:lnTo>
                    <a:pt x="491" y="222"/>
                  </a:lnTo>
                  <a:lnTo>
                    <a:pt x="486" y="220"/>
                  </a:lnTo>
                  <a:lnTo>
                    <a:pt x="482" y="217"/>
                  </a:lnTo>
                  <a:lnTo>
                    <a:pt x="478" y="215"/>
                  </a:lnTo>
                  <a:lnTo>
                    <a:pt x="473" y="212"/>
                  </a:lnTo>
                  <a:lnTo>
                    <a:pt x="470" y="209"/>
                  </a:lnTo>
                  <a:lnTo>
                    <a:pt x="467" y="205"/>
                  </a:lnTo>
                  <a:lnTo>
                    <a:pt x="464" y="202"/>
                  </a:lnTo>
                  <a:lnTo>
                    <a:pt x="462" y="196"/>
                  </a:lnTo>
                  <a:lnTo>
                    <a:pt x="460" y="192"/>
                  </a:lnTo>
                  <a:lnTo>
                    <a:pt x="459" y="187"/>
                  </a:lnTo>
                  <a:lnTo>
                    <a:pt x="458" y="180"/>
                  </a:lnTo>
                  <a:lnTo>
                    <a:pt x="457" y="175"/>
                  </a:lnTo>
                  <a:lnTo>
                    <a:pt x="457" y="168"/>
                  </a:lnTo>
                  <a:lnTo>
                    <a:pt x="457" y="55"/>
                  </a:lnTo>
                  <a:close/>
                  <a:moveTo>
                    <a:pt x="370" y="134"/>
                  </a:moveTo>
                  <a:lnTo>
                    <a:pt x="359" y="154"/>
                  </a:lnTo>
                  <a:lnTo>
                    <a:pt x="359" y="221"/>
                  </a:lnTo>
                  <a:lnTo>
                    <a:pt x="324" y="221"/>
                  </a:lnTo>
                  <a:lnTo>
                    <a:pt x="324" y="2"/>
                  </a:lnTo>
                  <a:lnTo>
                    <a:pt x="359" y="2"/>
                  </a:lnTo>
                  <a:lnTo>
                    <a:pt x="359" y="97"/>
                  </a:lnTo>
                  <a:lnTo>
                    <a:pt x="404" y="2"/>
                  </a:lnTo>
                  <a:lnTo>
                    <a:pt x="439" y="2"/>
                  </a:lnTo>
                  <a:lnTo>
                    <a:pt x="390" y="99"/>
                  </a:lnTo>
                  <a:lnTo>
                    <a:pt x="439" y="221"/>
                  </a:lnTo>
                  <a:lnTo>
                    <a:pt x="403" y="221"/>
                  </a:lnTo>
                  <a:lnTo>
                    <a:pt x="370" y="134"/>
                  </a:lnTo>
                  <a:close/>
                  <a:moveTo>
                    <a:pt x="257" y="2"/>
                  </a:moveTo>
                  <a:lnTo>
                    <a:pt x="292" y="2"/>
                  </a:lnTo>
                  <a:lnTo>
                    <a:pt x="292" y="221"/>
                  </a:lnTo>
                  <a:lnTo>
                    <a:pt x="257" y="221"/>
                  </a:lnTo>
                  <a:lnTo>
                    <a:pt x="257" y="2"/>
                  </a:lnTo>
                  <a:close/>
                  <a:moveTo>
                    <a:pt x="157" y="33"/>
                  </a:moveTo>
                  <a:lnTo>
                    <a:pt x="15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9" y="99"/>
                  </a:lnTo>
                  <a:lnTo>
                    <a:pt x="184" y="98"/>
                  </a:lnTo>
                  <a:lnTo>
                    <a:pt x="185" y="97"/>
                  </a:lnTo>
                  <a:lnTo>
                    <a:pt x="186" y="95"/>
                  </a:lnTo>
                  <a:lnTo>
                    <a:pt x="189" y="93"/>
                  </a:lnTo>
                  <a:lnTo>
                    <a:pt x="190" y="88"/>
                  </a:lnTo>
                  <a:lnTo>
                    <a:pt x="191" y="83"/>
                  </a:lnTo>
                  <a:lnTo>
                    <a:pt x="192" y="77"/>
                  </a:lnTo>
                  <a:lnTo>
                    <a:pt x="192" y="56"/>
                  </a:lnTo>
                  <a:lnTo>
                    <a:pt x="191" y="50"/>
                  </a:lnTo>
                  <a:lnTo>
                    <a:pt x="191" y="45"/>
                  </a:lnTo>
                  <a:lnTo>
                    <a:pt x="189" y="42"/>
                  </a:lnTo>
                  <a:lnTo>
                    <a:pt x="188" y="39"/>
                  </a:lnTo>
                  <a:lnTo>
                    <a:pt x="185" y="36"/>
                  </a:lnTo>
                  <a:lnTo>
                    <a:pt x="184" y="34"/>
                  </a:lnTo>
                  <a:lnTo>
                    <a:pt x="183" y="34"/>
                  </a:lnTo>
                  <a:lnTo>
                    <a:pt x="178" y="33"/>
                  </a:lnTo>
                  <a:lnTo>
                    <a:pt x="174" y="33"/>
                  </a:lnTo>
                  <a:lnTo>
                    <a:pt x="157" y="33"/>
                  </a:lnTo>
                  <a:close/>
                  <a:moveTo>
                    <a:pt x="195" y="221"/>
                  </a:moveTo>
                  <a:lnTo>
                    <a:pt x="193" y="212"/>
                  </a:lnTo>
                  <a:lnTo>
                    <a:pt x="192" y="205"/>
                  </a:lnTo>
                  <a:lnTo>
                    <a:pt x="192" y="194"/>
                  </a:lnTo>
                  <a:lnTo>
                    <a:pt x="192" y="159"/>
                  </a:lnTo>
                  <a:lnTo>
                    <a:pt x="192" y="153"/>
                  </a:lnTo>
                  <a:lnTo>
                    <a:pt x="191" y="147"/>
                  </a:lnTo>
                  <a:lnTo>
                    <a:pt x="189" y="141"/>
                  </a:lnTo>
                  <a:lnTo>
                    <a:pt x="187" y="138"/>
                  </a:lnTo>
                  <a:lnTo>
                    <a:pt x="185" y="136"/>
                  </a:lnTo>
                  <a:lnTo>
                    <a:pt x="184" y="135"/>
                  </a:lnTo>
                  <a:lnTo>
                    <a:pt x="179" y="133"/>
                  </a:lnTo>
                  <a:lnTo>
                    <a:pt x="175" y="132"/>
                  </a:lnTo>
                  <a:lnTo>
                    <a:pt x="170" y="132"/>
                  </a:lnTo>
                  <a:lnTo>
                    <a:pt x="157" y="132"/>
                  </a:lnTo>
                  <a:lnTo>
                    <a:pt x="157" y="221"/>
                  </a:lnTo>
                  <a:lnTo>
                    <a:pt x="123" y="221"/>
                  </a:lnTo>
                  <a:lnTo>
                    <a:pt x="123" y="2"/>
                  </a:lnTo>
                  <a:lnTo>
                    <a:pt x="175" y="2"/>
                  </a:lnTo>
                  <a:lnTo>
                    <a:pt x="182" y="2"/>
                  </a:lnTo>
                  <a:lnTo>
                    <a:pt x="188" y="3"/>
                  </a:lnTo>
                  <a:lnTo>
                    <a:pt x="193" y="4"/>
                  </a:lnTo>
                  <a:lnTo>
                    <a:pt x="199" y="5"/>
                  </a:lnTo>
                  <a:lnTo>
                    <a:pt x="203" y="7"/>
                  </a:lnTo>
                  <a:lnTo>
                    <a:pt x="207" y="9"/>
                  </a:lnTo>
                  <a:lnTo>
                    <a:pt x="211" y="11"/>
                  </a:lnTo>
                  <a:lnTo>
                    <a:pt x="214" y="14"/>
                  </a:lnTo>
                  <a:lnTo>
                    <a:pt x="218" y="18"/>
                  </a:lnTo>
                  <a:lnTo>
                    <a:pt x="220" y="21"/>
                  </a:lnTo>
                  <a:lnTo>
                    <a:pt x="222" y="25"/>
                  </a:lnTo>
                  <a:lnTo>
                    <a:pt x="223" y="30"/>
                  </a:lnTo>
                  <a:lnTo>
                    <a:pt x="225" y="34"/>
                  </a:lnTo>
                  <a:lnTo>
                    <a:pt x="226" y="40"/>
                  </a:lnTo>
                  <a:lnTo>
                    <a:pt x="226" y="46"/>
                  </a:lnTo>
                  <a:lnTo>
                    <a:pt x="226" y="52"/>
                  </a:lnTo>
                  <a:lnTo>
                    <a:pt x="226" y="69"/>
                  </a:lnTo>
                  <a:lnTo>
                    <a:pt x="226" y="78"/>
                  </a:lnTo>
                  <a:lnTo>
                    <a:pt x="225" y="85"/>
                  </a:lnTo>
                  <a:lnTo>
                    <a:pt x="223" y="92"/>
                  </a:lnTo>
                  <a:lnTo>
                    <a:pt x="221" y="97"/>
                  </a:lnTo>
                  <a:lnTo>
                    <a:pt x="220" y="100"/>
                  </a:lnTo>
                  <a:lnTo>
                    <a:pt x="218" y="102"/>
                  </a:lnTo>
                  <a:lnTo>
                    <a:pt x="215" y="104"/>
                  </a:lnTo>
                  <a:lnTo>
                    <a:pt x="213" y="107"/>
                  </a:lnTo>
                  <a:lnTo>
                    <a:pt x="209" y="111"/>
                  </a:lnTo>
                  <a:lnTo>
                    <a:pt x="204" y="114"/>
                  </a:lnTo>
                  <a:lnTo>
                    <a:pt x="207" y="115"/>
                  </a:lnTo>
                  <a:lnTo>
                    <a:pt x="210" y="117"/>
                  </a:lnTo>
                  <a:lnTo>
                    <a:pt x="212" y="119"/>
                  </a:lnTo>
                  <a:lnTo>
                    <a:pt x="214" y="121"/>
                  </a:lnTo>
                  <a:lnTo>
                    <a:pt x="219" y="125"/>
                  </a:lnTo>
                  <a:lnTo>
                    <a:pt x="222" y="131"/>
                  </a:lnTo>
                  <a:lnTo>
                    <a:pt x="224" y="137"/>
                  </a:lnTo>
                  <a:lnTo>
                    <a:pt x="225" y="144"/>
                  </a:lnTo>
                  <a:lnTo>
                    <a:pt x="226" y="149"/>
                  </a:lnTo>
                  <a:lnTo>
                    <a:pt x="226" y="152"/>
                  </a:lnTo>
                  <a:lnTo>
                    <a:pt x="227" y="160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9"/>
                  </a:lnTo>
                  <a:lnTo>
                    <a:pt x="228" y="215"/>
                  </a:lnTo>
                  <a:lnTo>
                    <a:pt x="229" y="217"/>
                  </a:lnTo>
                  <a:lnTo>
                    <a:pt x="230" y="221"/>
                  </a:lnTo>
                  <a:lnTo>
                    <a:pt x="195" y="221"/>
                  </a:lnTo>
                  <a:close/>
                  <a:moveTo>
                    <a:pt x="35" y="94"/>
                  </a:moveTo>
                  <a:lnTo>
                    <a:pt x="82" y="94"/>
                  </a:lnTo>
                  <a:lnTo>
                    <a:pt x="82" y="125"/>
                  </a:lnTo>
                  <a:lnTo>
                    <a:pt x="35" y="125"/>
                  </a:lnTo>
                  <a:lnTo>
                    <a:pt x="35" y="190"/>
                  </a:lnTo>
                  <a:lnTo>
                    <a:pt x="94" y="190"/>
                  </a:lnTo>
                  <a:lnTo>
                    <a:pt x="94" y="221"/>
                  </a:lnTo>
                  <a:lnTo>
                    <a:pt x="0" y="221"/>
                  </a:lnTo>
                  <a:lnTo>
                    <a:pt x="0" y="2"/>
                  </a:lnTo>
                  <a:lnTo>
                    <a:pt x="94" y="2"/>
                  </a:lnTo>
                  <a:lnTo>
                    <a:pt x="94" y="33"/>
                  </a:lnTo>
                  <a:lnTo>
                    <a:pt x="35" y="33"/>
                  </a:lnTo>
                  <a:lnTo>
                    <a:pt x="35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4062809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1EE49E-8AF6-49B6-B78D-68BDD6FFCBD6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38"/>
            <p:cNvSpPr>
              <a:spLocks noEditPoints="1"/>
            </p:cNvSpPr>
            <p:nvPr userDrawn="1"/>
          </p:nvSpPr>
          <p:spPr bwMode="auto">
            <a:xfrm>
              <a:off x="8873542" y="6476771"/>
              <a:ext cx="1942286" cy="211200"/>
            </a:xfrm>
            <a:custGeom>
              <a:avLst/>
              <a:gdLst>
                <a:gd name="T0" fmla="*/ 1940 w 2061"/>
                <a:gd name="T1" fmla="*/ 221 h 224"/>
                <a:gd name="T2" fmla="*/ 1890 w 2061"/>
                <a:gd name="T3" fmla="*/ 103 h 224"/>
                <a:gd name="T4" fmla="*/ 1886 w 2061"/>
                <a:gd name="T5" fmla="*/ 36 h 224"/>
                <a:gd name="T6" fmla="*/ 1924 w 2061"/>
                <a:gd name="T7" fmla="*/ 107 h 224"/>
                <a:gd name="T8" fmla="*/ 1888 w 2061"/>
                <a:gd name="T9" fmla="*/ 138 h 224"/>
                <a:gd name="T10" fmla="*/ 1894 w 2061"/>
                <a:gd name="T11" fmla="*/ 4 h 224"/>
                <a:gd name="T12" fmla="*/ 1927 w 2061"/>
                <a:gd name="T13" fmla="*/ 38 h 224"/>
                <a:gd name="T14" fmla="*/ 1762 w 2061"/>
                <a:gd name="T15" fmla="*/ 103 h 224"/>
                <a:gd name="T16" fmla="*/ 1759 w 2061"/>
                <a:gd name="T17" fmla="*/ 36 h 224"/>
                <a:gd name="T18" fmla="*/ 1798 w 2061"/>
                <a:gd name="T19" fmla="*/ 107 h 224"/>
                <a:gd name="T20" fmla="*/ 1762 w 2061"/>
                <a:gd name="T21" fmla="*/ 138 h 224"/>
                <a:gd name="T22" fmla="*/ 1767 w 2061"/>
                <a:gd name="T23" fmla="*/ 4 h 224"/>
                <a:gd name="T24" fmla="*/ 1799 w 2061"/>
                <a:gd name="T25" fmla="*/ 38 h 224"/>
                <a:gd name="T26" fmla="*/ 1604 w 2061"/>
                <a:gd name="T27" fmla="*/ 188 h 224"/>
                <a:gd name="T28" fmla="*/ 1634 w 2061"/>
                <a:gd name="T29" fmla="*/ 180 h 224"/>
                <a:gd name="T30" fmla="*/ 1662 w 2061"/>
                <a:gd name="T31" fmla="*/ 197 h 224"/>
                <a:gd name="T32" fmla="*/ 1627 w 2061"/>
                <a:gd name="T33" fmla="*/ 223 h 224"/>
                <a:gd name="T34" fmla="*/ 1578 w 2061"/>
                <a:gd name="T35" fmla="*/ 209 h 224"/>
                <a:gd name="T36" fmla="*/ 1599 w 2061"/>
                <a:gd name="T37" fmla="*/ 2 h 224"/>
                <a:gd name="T38" fmla="*/ 1421 w 2061"/>
                <a:gd name="T39" fmla="*/ 221 h 224"/>
                <a:gd name="T40" fmla="*/ 1328 w 2061"/>
                <a:gd name="T41" fmla="*/ 97 h 224"/>
                <a:gd name="T42" fmla="*/ 1204 w 2061"/>
                <a:gd name="T43" fmla="*/ 125 h 224"/>
                <a:gd name="T44" fmla="*/ 1077 w 2061"/>
                <a:gd name="T45" fmla="*/ 134 h 224"/>
                <a:gd name="T46" fmla="*/ 1146 w 2061"/>
                <a:gd name="T47" fmla="*/ 221 h 224"/>
                <a:gd name="T48" fmla="*/ 932 w 2061"/>
                <a:gd name="T49" fmla="*/ 221 h 224"/>
                <a:gd name="T50" fmla="*/ 705 w 2061"/>
                <a:gd name="T51" fmla="*/ 0 h 224"/>
                <a:gd name="T52" fmla="*/ 748 w 2061"/>
                <a:gd name="T53" fmla="*/ 22 h 224"/>
                <a:gd name="T54" fmla="*/ 723 w 2061"/>
                <a:gd name="T55" fmla="*/ 46 h 224"/>
                <a:gd name="T56" fmla="*/ 698 w 2061"/>
                <a:gd name="T57" fmla="*/ 32 h 224"/>
                <a:gd name="T58" fmla="*/ 693 w 2061"/>
                <a:gd name="T59" fmla="*/ 70 h 224"/>
                <a:gd name="T60" fmla="*/ 754 w 2061"/>
                <a:gd name="T61" fmla="*/ 148 h 224"/>
                <a:gd name="T62" fmla="*/ 746 w 2061"/>
                <a:gd name="T63" fmla="*/ 205 h 224"/>
                <a:gd name="T64" fmla="*/ 705 w 2061"/>
                <a:gd name="T65" fmla="*/ 224 h 224"/>
                <a:gd name="T66" fmla="*/ 661 w 2061"/>
                <a:gd name="T67" fmla="*/ 202 h 224"/>
                <a:gd name="T68" fmla="*/ 686 w 2061"/>
                <a:gd name="T69" fmla="*/ 176 h 224"/>
                <a:gd name="T70" fmla="*/ 711 w 2061"/>
                <a:gd name="T71" fmla="*/ 191 h 224"/>
                <a:gd name="T72" fmla="*/ 718 w 2061"/>
                <a:gd name="T73" fmla="*/ 152 h 224"/>
                <a:gd name="T74" fmla="*/ 658 w 2061"/>
                <a:gd name="T75" fmla="*/ 76 h 224"/>
                <a:gd name="T76" fmla="*/ 664 w 2061"/>
                <a:gd name="T77" fmla="*/ 18 h 224"/>
                <a:gd name="T78" fmla="*/ 705 w 2061"/>
                <a:gd name="T79" fmla="*/ 0 h 224"/>
                <a:gd name="T80" fmla="*/ 494 w 2061"/>
                <a:gd name="T81" fmla="*/ 185 h 224"/>
                <a:gd name="T82" fmla="*/ 524 w 2061"/>
                <a:gd name="T83" fmla="*/ 185 h 224"/>
                <a:gd name="T84" fmla="*/ 520 w 2061"/>
                <a:gd name="T85" fmla="*/ 33 h 224"/>
                <a:gd name="T86" fmla="*/ 491 w 2061"/>
                <a:gd name="T87" fmla="*/ 46 h 224"/>
                <a:gd name="T88" fmla="*/ 464 w 2061"/>
                <a:gd name="T89" fmla="*/ 22 h 224"/>
                <a:gd name="T90" fmla="*/ 509 w 2061"/>
                <a:gd name="T91" fmla="*/ 0 h 224"/>
                <a:gd name="T92" fmla="*/ 554 w 2061"/>
                <a:gd name="T93" fmla="*/ 22 h 224"/>
                <a:gd name="T94" fmla="*/ 559 w 2061"/>
                <a:gd name="T95" fmla="*/ 187 h 224"/>
                <a:gd name="T96" fmla="*/ 532 w 2061"/>
                <a:gd name="T97" fmla="*/ 220 h 224"/>
                <a:gd name="T98" fmla="*/ 478 w 2061"/>
                <a:gd name="T99" fmla="*/ 215 h 224"/>
                <a:gd name="T100" fmla="*/ 457 w 2061"/>
                <a:gd name="T101" fmla="*/ 168 h 224"/>
                <a:gd name="T102" fmla="*/ 439 w 2061"/>
                <a:gd name="T103" fmla="*/ 2 h 224"/>
                <a:gd name="T104" fmla="*/ 157 w 2061"/>
                <a:gd name="T105" fmla="*/ 33 h 224"/>
                <a:gd name="T106" fmla="*/ 191 w 2061"/>
                <a:gd name="T107" fmla="*/ 83 h 224"/>
                <a:gd name="T108" fmla="*/ 178 w 2061"/>
                <a:gd name="T109" fmla="*/ 33 h 224"/>
                <a:gd name="T110" fmla="*/ 189 w 2061"/>
                <a:gd name="T111" fmla="*/ 141 h 224"/>
                <a:gd name="T112" fmla="*/ 123 w 2061"/>
                <a:gd name="T113" fmla="*/ 2 h 224"/>
                <a:gd name="T114" fmla="*/ 218 w 2061"/>
                <a:gd name="T115" fmla="*/ 18 h 224"/>
                <a:gd name="T116" fmla="*/ 225 w 2061"/>
                <a:gd name="T117" fmla="*/ 85 h 224"/>
                <a:gd name="T118" fmla="*/ 210 w 2061"/>
                <a:gd name="T119" fmla="*/ 117 h 224"/>
                <a:gd name="T120" fmla="*/ 227 w 2061"/>
                <a:gd name="T121" fmla="*/ 194 h 224"/>
                <a:gd name="T122" fmla="*/ 35 w 2061"/>
                <a:gd name="T123" fmla="*/ 12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1" h="224">
                  <a:moveTo>
                    <a:pt x="1982" y="152"/>
                  </a:moveTo>
                  <a:lnTo>
                    <a:pt x="2015" y="152"/>
                  </a:lnTo>
                  <a:lnTo>
                    <a:pt x="1998" y="41"/>
                  </a:lnTo>
                  <a:lnTo>
                    <a:pt x="1982" y="152"/>
                  </a:lnTo>
                  <a:close/>
                  <a:moveTo>
                    <a:pt x="2061" y="221"/>
                  </a:moveTo>
                  <a:lnTo>
                    <a:pt x="2026" y="221"/>
                  </a:lnTo>
                  <a:lnTo>
                    <a:pt x="2020" y="181"/>
                  </a:lnTo>
                  <a:lnTo>
                    <a:pt x="1977" y="181"/>
                  </a:lnTo>
                  <a:lnTo>
                    <a:pt x="1972" y="221"/>
                  </a:lnTo>
                  <a:lnTo>
                    <a:pt x="1940" y="221"/>
                  </a:lnTo>
                  <a:lnTo>
                    <a:pt x="1975" y="2"/>
                  </a:lnTo>
                  <a:lnTo>
                    <a:pt x="2026" y="2"/>
                  </a:lnTo>
                  <a:lnTo>
                    <a:pt x="2061" y="221"/>
                  </a:lnTo>
                  <a:close/>
                  <a:moveTo>
                    <a:pt x="1860" y="33"/>
                  </a:moveTo>
                  <a:lnTo>
                    <a:pt x="1860" y="107"/>
                  </a:lnTo>
                  <a:lnTo>
                    <a:pt x="1877" y="107"/>
                  </a:lnTo>
                  <a:lnTo>
                    <a:pt x="1880" y="107"/>
                  </a:lnTo>
                  <a:lnTo>
                    <a:pt x="1884" y="106"/>
                  </a:lnTo>
                  <a:lnTo>
                    <a:pt x="1886" y="104"/>
                  </a:lnTo>
                  <a:lnTo>
                    <a:pt x="1890" y="103"/>
                  </a:lnTo>
                  <a:lnTo>
                    <a:pt x="1891" y="100"/>
                  </a:lnTo>
                  <a:lnTo>
                    <a:pt x="1893" y="96"/>
                  </a:lnTo>
                  <a:lnTo>
                    <a:pt x="1893" y="92"/>
                  </a:lnTo>
                  <a:lnTo>
                    <a:pt x="1894" y="86"/>
                  </a:lnTo>
                  <a:lnTo>
                    <a:pt x="1894" y="53"/>
                  </a:lnTo>
                  <a:lnTo>
                    <a:pt x="1893" y="48"/>
                  </a:lnTo>
                  <a:lnTo>
                    <a:pt x="1893" y="44"/>
                  </a:lnTo>
                  <a:lnTo>
                    <a:pt x="1891" y="40"/>
                  </a:lnTo>
                  <a:lnTo>
                    <a:pt x="1890" y="38"/>
                  </a:lnTo>
                  <a:lnTo>
                    <a:pt x="1886" y="36"/>
                  </a:lnTo>
                  <a:lnTo>
                    <a:pt x="1884" y="34"/>
                  </a:lnTo>
                  <a:lnTo>
                    <a:pt x="1880" y="33"/>
                  </a:lnTo>
                  <a:lnTo>
                    <a:pt x="1877" y="33"/>
                  </a:lnTo>
                  <a:lnTo>
                    <a:pt x="1860" y="33"/>
                  </a:lnTo>
                  <a:close/>
                  <a:moveTo>
                    <a:pt x="1928" y="56"/>
                  </a:moveTo>
                  <a:lnTo>
                    <a:pt x="1928" y="84"/>
                  </a:lnTo>
                  <a:lnTo>
                    <a:pt x="1928" y="91"/>
                  </a:lnTo>
                  <a:lnTo>
                    <a:pt x="1928" y="97"/>
                  </a:lnTo>
                  <a:lnTo>
                    <a:pt x="1927" y="102"/>
                  </a:lnTo>
                  <a:lnTo>
                    <a:pt x="1924" y="107"/>
                  </a:lnTo>
                  <a:lnTo>
                    <a:pt x="1923" y="113"/>
                  </a:lnTo>
                  <a:lnTo>
                    <a:pt x="1920" y="117"/>
                  </a:lnTo>
                  <a:lnTo>
                    <a:pt x="1918" y="121"/>
                  </a:lnTo>
                  <a:lnTo>
                    <a:pt x="1915" y="124"/>
                  </a:lnTo>
                  <a:lnTo>
                    <a:pt x="1912" y="128"/>
                  </a:lnTo>
                  <a:lnTo>
                    <a:pt x="1908" y="131"/>
                  </a:lnTo>
                  <a:lnTo>
                    <a:pt x="1903" y="133"/>
                  </a:lnTo>
                  <a:lnTo>
                    <a:pt x="1899" y="135"/>
                  </a:lnTo>
                  <a:lnTo>
                    <a:pt x="1894" y="136"/>
                  </a:lnTo>
                  <a:lnTo>
                    <a:pt x="1888" y="138"/>
                  </a:lnTo>
                  <a:lnTo>
                    <a:pt x="1883" y="138"/>
                  </a:lnTo>
                  <a:lnTo>
                    <a:pt x="1877" y="138"/>
                  </a:lnTo>
                  <a:lnTo>
                    <a:pt x="1860" y="138"/>
                  </a:lnTo>
                  <a:lnTo>
                    <a:pt x="1860" y="221"/>
                  </a:lnTo>
                  <a:lnTo>
                    <a:pt x="1826" y="221"/>
                  </a:lnTo>
                  <a:lnTo>
                    <a:pt x="1826" y="2"/>
                  </a:lnTo>
                  <a:lnTo>
                    <a:pt x="1877" y="2"/>
                  </a:lnTo>
                  <a:lnTo>
                    <a:pt x="1883" y="2"/>
                  </a:lnTo>
                  <a:lnTo>
                    <a:pt x="1888" y="3"/>
                  </a:lnTo>
                  <a:lnTo>
                    <a:pt x="1894" y="4"/>
                  </a:lnTo>
                  <a:lnTo>
                    <a:pt x="1899" y="5"/>
                  </a:lnTo>
                  <a:lnTo>
                    <a:pt x="1903" y="7"/>
                  </a:lnTo>
                  <a:lnTo>
                    <a:pt x="1908" y="9"/>
                  </a:lnTo>
                  <a:lnTo>
                    <a:pt x="1912" y="12"/>
                  </a:lnTo>
                  <a:lnTo>
                    <a:pt x="1915" y="15"/>
                  </a:lnTo>
                  <a:lnTo>
                    <a:pt x="1918" y="20"/>
                  </a:lnTo>
                  <a:lnTo>
                    <a:pt x="1920" y="23"/>
                  </a:lnTo>
                  <a:lnTo>
                    <a:pt x="1923" y="28"/>
                  </a:lnTo>
                  <a:lnTo>
                    <a:pt x="1924" y="32"/>
                  </a:lnTo>
                  <a:lnTo>
                    <a:pt x="1927" y="38"/>
                  </a:lnTo>
                  <a:lnTo>
                    <a:pt x="1928" y="43"/>
                  </a:lnTo>
                  <a:lnTo>
                    <a:pt x="1928" y="49"/>
                  </a:lnTo>
                  <a:lnTo>
                    <a:pt x="1928" y="56"/>
                  </a:lnTo>
                  <a:close/>
                  <a:moveTo>
                    <a:pt x="1733" y="33"/>
                  </a:moveTo>
                  <a:lnTo>
                    <a:pt x="1733" y="107"/>
                  </a:lnTo>
                  <a:lnTo>
                    <a:pt x="1749" y="107"/>
                  </a:lnTo>
                  <a:lnTo>
                    <a:pt x="1753" y="107"/>
                  </a:lnTo>
                  <a:lnTo>
                    <a:pt x="1756" y="106"/>
                  </a:lnTo>
                  <a:lnTo>
                    <a:pt x="1759" y="104"/>
                  </a:lnTo>
                  <a:lnTo>
                    <a:pt x="1762" y="103"/>
                  </a:lnTo>
                  <a:lnTo>
                    <a:pt x="1764" y="100"/>
                  </a:lnTo>
                  <a:lnTo>
                    <a:pt x="1765" y="96"/>
                  </a:lnTo>
                  <a:lnTo>
                    <a:pt x="1766" y="92"/>
                  </a:lnTo>
                  <a:lnTo>
                    <a:pt x="1766" y="86"/>
                  </a:lnTo>
                  <a:lnTo>
                    <a:pt x="1766" y="53"/>
                  </a:lnTo>
                  <a:lnTo>
                    <a:pt x="1766" y="48"/>
                  </a:lnTo>
                  <a:lnTo>
                    <a:pt x="1765" y="44"/>
                  </a:lnTo>
                  <a:lnTo>
                    <a:pt x="1764" y="40"/>
                  </a:lnTo>
                  <a:lnTo>
                    <a:pt x="1762" y="38"/>
                  </a:lnTo>
                  <a:lnTo>
                    <a:pt x="1759" y="36"/>
                  </a:lnTo>
                  <a:lnTo>
                    <a:pt x="1756" y="34"/>
                  </a:lnTo>
                  <a:lnTo>
                    <a:pt x="1753" y="33"/>
                  </a:lnTo>
                  <a:lnTo>
                    <a:pt x="1749" y="33"/>
                  </a:lnTo>
                  <a:lnTo>
                    <a:pt x="1733" y="33"/>
                  </a:lnTo>
                  <a:close/>
                  <a:moveTo>
                    <a:pt x="1801" y="56"/>
                  </a:moveTo>
                  <a:lnTo>
                    <a:pt x="1801" y="84"/>
                  </a:lnTo>
                  <a:lnTo>
                    <a:pt x="1801" y="91"/>
                  </a:lnTo>
                  <a:lnTo>
                    <a:pt x="1800" y="97"/>
                  </a:lnTo>
                  <a:lnTo>
                    <a:pt x="1799" y="102"/>
                  </a:lnTo>
                  <a:lnTo>
                    <a:pt x="1798" y="107"/>
                  </a:lnTo>
                  <a:lnTo>
                    <a:pt x="1795" y="113"/>
                  </a:lnTo>
                  <a:lnTo>
                    <a:pt x="1793" y="117"/>
                  </a:lnTo>
                  <a:lnTo>
                    <a:pt x="1790" y="121"/>
                  </a:lnTo>
                  <a:lnTo>
                    <a:pt x="1788" y="124"/>
                  </a:lnTo>
                  <a:lnTo>
                    <a:pt x="1784" y="128"/>
                  </a:lnTo>
                  <a:lnTo>
                    <a:pt x="1781" y="131"/>
                  </a:lnTo>
                  <a:lnTo>
                    <a:pt x="1776" y="133"/>
                  </a:lnTo>
                  <a:lnTo>
                    <a:pt x="1771" y="135"/>
                  </a:lnTo>
                  <a:lnTo>
                    <a:pt x="1767" y="136"/>
                  </a:lnTo>
                  <a:lnTo>
                    <a:pt x="1762" y="138"/>
                  </a:lnTo>
                  <a:lnTo>
                    <a:pt x="1755" y="138"/>
                  </a:lnTo>
                  <a:lnTo>
                    <a:pt x="1749" y="138"/>
                  </a:lnTo>
                  <a:lnTo>
                    <a:pt x="1733" y="138"/>
                  </a:lnTo>
                  <a:lnTo>
                    <a:pt x="1733" y="221"/>
                  </a:lnTo>
                  <a:lnTo>
                    <a:pt x="1698" y="221"/>
                  </a:lnTo>
                  <a:lnTo>
                    <a:pt x="1698" y="2"/>
                  </a:lnTo>
                  <a:lnTo>
                    <a:pt x="1749" y="2"/>
                  </a:lnTo>
                  <a:lnTo>
                    <a:pt x="1755" y="2"/>
                  </a:lnTo>
                  <a:lnTo>
                    <a:pt x="1762" y="3"/>
                  </a:lnTo>
                  <a:lnTo>
                    <a:pt x="1767" y="4"/>
                  </a:lnTo>
                  <a:lnTo>
                    <a:pt x="1771" y="5"/>
                  </a:lnTo>
                  <a:lnTo>
                    <a:pt x="1776" y="7"/>
                  </a:lnTo>
                  <a:lnTo>
                    <a:pt x="1781" y="9"/>
                  </a:lnTo>
                  <a:lnTo>
                    <a:pt x="1784" y="12"/>
                  </a:lnTo>
                  <a:lnTo>
                    <a:pt x="1788" y="15"/>
                  </a:lnTo>
                  <a:lnTo>
                    <a:pt x="1790" y="20"/>
                  </a:lnTo>
                  <a:lnTo>
                    <a:pt x="1793" y="23"/>
                  </a:lnTo>
                  <a:lnTo>
                    <a:pt x="1795" y="28"/>
                  </a:lnTo>
                  <a:lnTo>
                    <a:pt x="1798" y="32"/>
                  </a:lnTo>
                  <a:lnTo>
                    <a:pt x="1799" y="38"/>
                  </a:lnTo>
                  <a:lnTo>
                    <a:pt x="1800" y="43"/>
                  </a:lnTo>
                  <a:lnTo>
                    <a:pt x="1801" y="49"/>
                  </a:lnTo>
                  <a:lnTo>
                    <a:pt x="1801" y="56"/>
                  </a:lnTo>
                  <a:close/>
                  <a:moveTo>
                    <a:pt x="1599" y="2"/>
                  </a:moveTo>
                  <a:lnTo>
                    <a:pt x="1599" y="171"/>
                  </a:lnTo>
                  <a:lnTo>
                    <a:pt x="1599" y="176"/>
                  </a:lnTo>
                  <a:lnTo>
                    <a:pt x="1600" y="180"/>
                  </a:lnTo>
                  <a:lnTo>
                    <a:pt x="1601" y="183"/>
                  </a:lnTo>
                  <a:lnTo>
                    <a:pt x="1602" y="185"/>
                  </a:lnTo>
                  <a:lnTo>
                    <a:pt x="1604" y="188"/>
                  </a:lnTo>
                  <a:lnTo>
                    <a:pt x="1606" y="190"/>
                  </a:lnTo>
                  <a:lnTo>
                    <a:pt x="1609" y="191"/>
                  </a:lnTo>
                  <a:lnTo>
                    <a:pt x="1612" y="192"/>
                  </a:lnTo>
                  <a:lnTo>
                    <a:pt x="1617" y="192"/>
                  </a:lnTo>
                  <a:lnTo>
                    <a:pt x="1621" y="192"/>
                  </a:lnTo>
                  <a:lnTo>
                    <a:pt x="1624" y="191"/>
                  </a:lnTo>
                  <a:lnTo>
                    <a:pt x="1627" y="190"/>
                  </a:lnTo>
                  <a:lnTo>
                    <a:pt x="1629" y="188"/>
                  </a:lnTo>
                  <a:lnTo>
                    <a:pt x="1631" y="185"/>
                  </a:lnTo>
                  <a:lnTo>
                    <a:pt x="1634" y="180"/>
                  </a:lnTo>
                  <a:lnTo>
                    <a:pt x="1634" y="176"/>
                  </a:lnTo>
                  <a:lnTo>
                    <a:pt x="1635" y="171"/>
                  </a:lnTo>
                  <a:lnTo>
                    <a:pt x="1635" y="2"/>
                  </a:lnTo>
                  <a:lnTo>
                    <a:pt x="1667" y="2"/>
                  </a:lnTo>
                  <a:lnTo>
                    <a:pt x="1667" y="169"/>
                  </a:lnTo>
                  <a:lnTo>
                    <a:pt x="1666" y="175"/>
                  </a:lnTo>
                  <a:lnTo>
                    <a:pt x="1666" y="181"/>
                  </a:lnTo>
                  <a:lnTo>
                    <a:pt x="1665" y="187"/>
                  </a:lnTo>
                  <a:lnTo>
                    <a:pt x="1663" y="192"/>
                  </a:lnTo>
                  <a:lnTo>
                    <a:pt x="1662" y="197"/>
                  </a:lnTo>
                  <a:lnTo>
                    <a:pt x="1660" y="202"/>
                  </a:lnTo>
                  <a:lnTo>
                    <a:pt x="1657" y="206"/>
                  </a:lnTo>
                  <a:lnTo>
                    <a:pt x="1654" y="209"/>
                  </a:lnTo>
                  <a:lnTo>
                    <a:pt x="1651" y="212"/>
                  </a:lnTo>
                  <a:lnTo>
                    <a:pt x="1646" y="215"/>
                  </a:lnTo>
                  <a:lnTo>
                    <a:pt x="1644" y="216"/>
                  </a:lnTo>
                  <a:lnTo>
                    <a:pt x="1642" y="218"/>
                  </a:lnTo>
                  <a:lnTo>
                    <a:pt x="1638" y="220"/>
                  </a:lnTo>
                  <a:lnTo>
                    <a:pt x="1633" y="222"/>
                  </a:lnTo>
                  <a:lnTo>
                    <a:pt x="1627" y="223"/>
                  </a:lnTo>
                  <a:lnTo>
                    <a:pt x="1622" y="224"/>
                  </a:lnTo>
                  <a:lnTo>
                    <a:pt x="1616" y="224"/>
                  </a:lnTo>
                  <a:lnTo>
                    <a:pt x="1609" y="224"/>
                  </a:lnTo>
                  <a:lnTo>
                    <a:pt x="1604" y="223"/>
                  </a:lnTo>
                  <a:lnTo>
                    <a:pt x="1599" y="222"/>
                  </a:lnTo>
                  <a:lnTo>
                    <a:pt x="1593" y="220"/>
                  </a:lnTo>
                  <a:lnTo>
                    <a:pt x="1589" y="218"/>
                  </a:lnTo>
                  <a:lnTo>
                    <a:pt x="1585" y="215"/>
                  </a:lnTo>
                  <a:lnTo>
                    <a:pt x="1581" y="212"/>
                  </a:lnTo>
                  <a:lnTo>
                    <a:pt x="1578" y="209"/>
                  </a:lnTo>
                  <a:lnTo>
                    <a:pt x="1574" y="206"/>
                  </a:lnTo>
                  <a:lnTo>
                    <a:pt x="1571" y="202"/>
                  </a:lnTo>
                  <a:lnTo>
                    <a:pt x="1569" y="197"/>
                  </a:lnTo>
                  <a:lnTo>
                    <a:pt x="1567" y="192"/>
                  </a:lnTo>
                  <a:lnTo>
                    <a:pt x="1566" y="187"/>
                  </a:lnTo>
                  <a:lnTo>
                    <a:pt x="1565" y="181"/>
                  </a:lnTo>
                  <a:lnTo>
                    <a:pt x="1565" y="175"/>
                  </a:lnTo>
                  <a:lnTo>
                    <a:pt x="1564" y="169"/>
                  </a:lnTo>
                  <a:lnTo>
                    <a:pt x="1564" y="2"/>
                  </a:lnTo>
                  <a:lnTo>
                    <a:pt x="1599" y="2"/>
                  </a:lnTo>
                  <a:close/>
                  <a:moveTo>
                    <a:pt x="1463" y="152"/>
                  </a:moveTo>
                  <a:lnTo>
                    <a:pt x="1496" y="152"/>
                  </a:lnTo>
                  <a:lnTo>
                    <a:pt x="1480" y="41"/>
                  </a:lnTo>
                  <a:lnTo>
                    <a:pt x="1463" y="152"/>
                  </a:lnTo>
                  <a:close/>
                  <a:moveTo>
                    <a:pt x="1542" y="221"/>
                  </a:moveTo>
                  <a:lnTo>
                    <a:pt x="1508" y="221"/>
                  </a:lnTo>
                  <a:lnTo>
                    <a:pt x="1501" y="181"/>
                  </a:lnTo>
                  <a:lnTo>
                    <a:pt x="1459" y="181"/>
                  </a:lnTo>
                  <a:lnTo>
                    <a:pt x="1453" y="221"/>
                  </a:lnTo>
                  <a:lnTo>
                    <a:pt x="1421" y="221"/>
                  </a:lnTo>
                  <a:lnTo>
                    <a:pt x="1457" y="2"/>
                  </a:lnTo>
                  <a:lnTo>
                    <a:pt x="1507" y="2"/>
                  </a:lnTo>
                  <a:lnTo>
                    <a:pt x="1542" y="221"/>
                  </a:lnTo>
                  <a:close/>
                  <a:moveTo>
                    <a:pt x="1339" y="134"/>
                  </a:moveTo>
                  <a:lnTo>
                    <a:pt x="1328" y="154"/>
                  </a:lnTo>
                  <a:lnTo>
                    <a:pt x="1328" y="221"/>
                  </a:lnTo>
                  <a:lnTo>
                    <a:pt x="1293" y="221"/>
                  </a:lnTo>
                  <a:lnTo>
                    <a:pt x="1293" y="2"/>
                  </a:lnTo>
                  <a:lnTo>
                    <a:pt x="1328" y="2"/>
                  </a:lnTo>
                  <a:lnTo>
                    <a:pt x="1328" y="97"/>
                  </a:lnTo>
                  <a:lnTo>
                    <a:pt x="1372" y="2"/>
                  </a:lnTo>
                  <a:lnTo>
                    <a:pt x="1407" y="2"/>
                  </a:lnTo>
                  <a:lnTo>
                    <a:pt x="1359" y="99"/>
                  </a:lnTo>
                  <a:lnTo>
                    <a:pt x="1407" y="221"/>
                  </a:lnTo>
                  <a:lnTo>
                    <a:pt x="1371" y="221"/>
                  </a:lnTo>
                  <a:lnTo>
                    <a:pt x="1339" y="134"/>
                  </a:lnTo>
                  <a:close/>
                  <a:moveTo>
                    <a:pt x="1204" y="94"/>
                  </a:moveTo>
                  <a:lnTo>
                    <a:pt x="1252" y="94"/>
                  </a:lnTo>
                  <a:lnTo>
                    <a:pt x="1252" y="125"/>
                  </a:lnTo>
                  <a:lnTo>
                    <a:pt x="1204" y="125"/>
                  </a:lnTo>
                  <a:lnTo>
                    <a:pt x="1204" y="190"/>
                  </a:lnTo>
                  <a:lnTo>
                    <a:pt x="1263" y="190"/>
                  </a:lnTo>
                  <a:lnTo>
                    <a:pt x="1263" y="221"/>
                  </a:lnTo>
                  <a:lnTo>
                    <a:pt x="1170" y="221"/>
                  </a:lnTo>
                  <a:lnTo>
                    <a:pt x="1170" y="2"/>
                  </a:lnTo>
                  <a:lnTo>
                    <a:pt x="1263" y="2"/>
                  </a:lnTo>
                  <a:lnTo>
                    <a:pt x="1263" y="33"/>
                  </a:lnTo>
                  <a:lnTo>
                    <a:pt x="1204" y="33"/>
                  </a:lnTo>
                  <a:lnTo>
                    <a:pt x="1204" y="94"/>
                  </a:lnTo>
                  <a:close/>
                  <a:moveTo>
                    <a:pt x="1077" y="134"/>
                  </a:moveTo>
                  <a:lnTo>
                    <a:pt x="1067" y="154"/>
                  </a:lnTo>
                  <a:lnTo>
                    <a:pt x="1067" y="221"/>
                  </a:lnTo>
                  <a:lnTo>
                    <a:pt x="1033" y="221"/>
                  </a:lnTo>
                  <a:lnTo>
                    <a:pt x="1033" y="2"/>
                  </a:lnTo>
                  <a:lnTo>
                    <a:pt x="1067" y="2"/>
                  </a:lnTo>
                  <a:lnTo>
                    <a:pt x="1067" y="97"/>
                  </a:lnTo>
                  <a:lnTo>
                    <a:pt x="1112" y="2"/>
                  </a:lnTo>
                  <a:lnTo>
                    <a:pt x="1146" y="2"/>
                  </a:lnTo>
                  <a:lnTo>
                    <a:pt x="1098" y="99"/>
                  </a:lnTo>
                  <a:lnTo>
                    <a:pt x="1146" y="221"/>
                  </a:lnTo>
                  <a:lnTo>
                    <a:pt x="1111" y="221"/>
                  </a:lnTo>
                  <a:lnTo>
                    <a:pt x="1077" y="134"/>
                  </a:lnTo>
                  <a:close/>
                  <a:moveTo>
                    <a:pt x="965" y="2"/>
                  </a:moveTo>
                  <a:lnTo>
                    <a:pt x="999" y="2"/>
                  </a:lnTo>
                  <a:lnTo>
                    <a:pt x="999" y="221"/>
                  </a:lnTo>
                  <a:lnTo>
                    <a:pt x="965" y="221"/>
                  </a:lnTo>
                  <a:lnTo>
                    <a:pt x="965" y="2"/>
                  </a:lnTo>
                  <a:close/>
                  <a:moveTo>
                    <a:pt x="898" y="2"/>
                  </a:moveTo>
                  <a:lnTo>
                    <a:pt x="932" y="2"/>
                  </a:lnTo>
                  <a:lnTo>
                    <a:pt x="932" y="221"/>
                  </a:lnTo>
                  <a:lnTo>
                    <a:pt x="898" y="221"/>
                  </a:lnTo>
                  <a:lnTo>
                    <a:pt x="898" y="2"/>
                  </a:lnTo>
                  <a:close/>
                  <a:moveTo>
                    <a:pt x="783" y="2"/>
                  </a:moveTo>
                  <a:lnTo>
                    <a:pt x="818" y="2"/>
                  </a:lnTo>
                  <a:lnTo>
                    <a:pt x="818" y="190"/>
                  </a:lnTo>
                  <a:lnTo>
                    <a:pt x="875" y="190"/>
                  </a:lnTo>
                  <a:lnTo>
                    <a:pt x="875" y="221"/>
                  </a:lnTo>
                  <a:lnTo>
                    <a:pt x="783" y="221"/>
                  </a:lnTo>
                  <a:lnTo>
                    <a:pt x="783" y="2"/>
                  </a:lnTo>
                  <a:close/>
                  <a:moveTo>
                    <a:pt x="705" y="0"/>
                  </a:moveTo>
                  <a:lnTo>
                    <a:pt x="711" y="0"/>
                  </a:lnTo>
                  <a:lnTo>
                    <a:pt x="717" y="0"/>
                  </a:lnTo>
                  <a:lnTo>
                    <a:pt x="722" y="1"/>
                  </a:lnTo>
                  <a:lnTo>
                    <a:pt x="727" y="3"/>
                  </a:lnTo>
                  <a:lnTo>
                    <a:pt x="732" y="5"/>
                  </a:lnTo>
                  <a:lnTo>
                    <a:pt x="736" y="7"/>
                  </a:lnTo>
                  <a:lnTo>
                    <a:pt x="740" y="10"/>
                  </a:lnTo>
                  <a:lnTo>
                    <a:pt x="743" y="13"/>
                  </a:lnTo>
                  <a:lnTo>
                    <a:pt x="746" y="18"/>
                  </a:lnTo>
                  <a:lnTo>
                    <a:pt x="748" y="22"/>
                  </a:lnTo>
                  <a:lnTo>
                    <a:pt x="751" y="26"/>
                  </a:lnTo>
                  <a:lnTo>
                    <a:pt x="753" y="31"/>
                  </a:lnTo>
                  <a:lnTo>
                    <a:pt x="754" y="37"/>
                  </a:lnTo>
                  <a:lnTo>
                    <a:pt x="755" y="42"/>
                  </a:lnTo>
                  <a:lnTo>
                    <a:pt x="756" y="48"/>
                  </a:lnTo>
                  <a:lnTo>
                    <a:pt x="756" y="55"/>
                  </a:lnTo>
                  <a:lnTo>
                    <a:pt x="756" y="61"/>
                  </a:lnTo>
                  <a:lnTo>
                    <a:pt x="723" y="61"/>
                  </a:lnTo>
                  <a:lnTo>
                    <a:pt x="723" y="52"/>
                  </a:lnTo>
                  <a:lnTo>
                    <a:pt x="723" y="46"/>
                  </a:lnTo>
                  <a:lnTo>
                    <a:pt x="722" y="42"/>
                  </a:lnTo>
                  <a:lnTo>
                    <a:pt x="721" y="39"/>
                  </a:lnTo>
                  <a:lnTo>
                    <a:pt x="719" y="36"/>
                  </a:lnTo>
                  <a:lnTo>
                    <a:pt x="717" y="33"/>
                  </a:lnTo>
                  <a:lnTo>
                    <a:pt x="714" y="31"/>
                  </a:lnTo>
                  <a:lnTo>
                    <a:pt x="710" y="30"/>
                  </a:lnTo>
                  <a:lnTo>
                    <a:pt x="706" y="30"/>
                  </a:lnTo>
                  <a:lnTo>
                    <a:pt x="702" y="30"/>
                  </a:lnTo>
                  <a:lnTo>
                    <a:pt x="699" y="31"/>
                  </a:lnTo>
                  <a:lnTo>
                    <a:pt x="698" y="32"/>
                  </a:lnTo>
                  <a:lnTo>
                    <a:pt x="696" y="33"/>
                  </a:lnTo>
                  <a:lnTo>
                    <a:pt x="693" y="36"/>
                  </a:lnTo>
                  <a:lnTo>
                    <a:pt x="691" y="39"/>
                  </a:lnTo>
                  <a:lnTo>
                    <a:pt x="690" y="42"/>
                  </a:lnTo>
                  <a:lnTo>
                    <a:pt x="689" y="46"/>
                  </a:lnTo>
                  <a:lnTo>
                    <a:pt x="689" y="52"/>
                  </a:lnTo>
                  <a:lnTo>
                    <a:pt x="689" y="56"/>
                  </a:lnTo>
                  <a:lnTo>
                    <a:pt x="689" y="60"/>
                  </a:lnTo>
                  <a:lnTo>
                    <a:pt x="691" y="67"/>
                  </a:lnTo>
                  <a:lnTo>
                    <a:pt x="693" y="70"/>
                  </a:lnTo>
                  <a:lnTo>
                    <a:pt x="696" y="74"/>
                  </a:lnTo>
                  <a:lnTo>
                    <a:pt x="700" y="80"/>
                  </a:lnTo>
                  <a:lnTo>
                    <a:pt x="704" y="86"/>
                  </a:lnTo>
                  <a:lnTo>
                    <a:pt x="710" y="92"/>
                  </a:lnTo>
                  <a:lnTo>
                    <a:pt x="722" y="103"/>
                  </a:lnTo>
                  <a:lnTo>
                    <a:pt x="735" y="116"/>
                  </a:lnTo>
                  <a:lnTo>
                    <a:pt x="741" y="122"/>
                  </a:lnTo>
                  <a:lnTo>
                    <a:pt x="745" y="130"/>
                  </a:lnTo>
                  <a:lnTo>
                    <a:pt x="750" y="138"/>
                  </a:lnTo>
                  <a:lnTo>
                    <a:pt x="754" y="148"/>
                  </a:lnTo>
                  <a:lnTo>
                    <a:pt x="756" y="157"/>
                  </a:lnTo>
                  <a:lnTo>
                    <a:pt x="756" y="162"/>
                  </a:lnTo>
                  <a:lnTo>
                    <a:pt x="756" y="168"/>
                  </a:lnTo>
                  <a:lnTo>
                    <a:pt x="756" y="175"/>
                  </a:lnTo>
                  <a:lnTo>
                    <a:pt x="756" y="180"/>
                  </a:lnTo>
                  <a:lnTo>
                    <a:pt x="755" y="187"/>
                  </a:lnTo>
                  <a:lnTo>
                    <a:pt x="753" y="192"/>
                  </a:lnTo>
                  <a:lnTo>
                    <a:pt x="752" y="196"/>
                  </a:lnTo>
                  <a:lnTo>
                    <a:pt x="748" y="202"/>
                  </a:lnTo>
                  <a:lnTo>
                    <a:pt x="746" y="205"/>
                  </a:lnTo>
                  <a:lnTo>
                    <a:pt x="743" y="209"/>
                  </a:lnTo>
                  <a:lnTo>
                    <a:pt x="740" y="212"/>
                  </a:lnTo>
                  <a:lnTo>
                    <a:pt x="736" y="215"/>
                  </a:lnTo>
                  <a:lnTo>
                    <a:pt x="734" y="216"/>
                  </a:lnTo>
                  <a:lnTo>
                    <a:pt x="732" y="217"/>
                  </a:lnTo>
                  <a:lnTo>
                    <a:pt x="727" y="220"/>
                  </a:lnTo>
                  <a:lnTo>
                    <a:pt x="722" y="222"/>
                  </a:lnTo>
                  <a:lnTo>
                    <a:pt x="717" y="223"/>
                  </a:lnTo>
                  <a:lnTo>
                    <a:pt x="711" y="223"/>
                  </a:lnTo>
                  <a:lnTo>
                    <a:pt x="705" y="224"/>
                  </a:lnTo>
                  <a:lnTo>
                    <a:pt x="699" y="223"/>
                  </a:lnTo>
                  <a:lnTo>
                    <a:pt x="692" y="223"/>
                  </a:lnTo>
                  <a:lnTo>
                    <a:pt x="687" y="222"/>
                  </a:lnTo>
                  <a:lnTo>
                    <a:pt x="683" y="220"/>
                  </a:lnTo>
                  <a:lnTo>
                    <a:pt x="678" y="217"/>
                  </a:lnTo>
                  <a:lnTo>
                    <a:pt x="673" y="215"/>
                  </a:lnTo>
                  <a:lnTo>
                    <a:pt x="670" y="212"/>
                  </a:lnTo>
                  <a:lnTo>
                    <a:pt x="666" y="209"/>
                  </a:lnTo>
                  <a:lnTo>
                    <a:pt x="664" y="205"/>
                  </a:lnTo>
                  <a:lnTo>
                    <a:pt x="661" y="202"/>
                  </a:lnTo>
                  <a:lnTo>
                    <a:pt x="659" y="196"/>
                  </a:lnTo>
                  <a:lnTo>
                    <a:pt x="656" y="192"/>
                  </a:lnTo>
                  <a:lnTo>
                    <a:pt x="655" y="187"/>
                  </a:lnTo>
                  <a:lnTo>
                    <a:pt x="654" y="180"/>
                  </a:lnTo>
                  <a:lnTo>
                    <a:pt x="653" y="175"/>
                  </a:lnTo>
                  <a:lnTo>
                    <a:pt x="653" y="168"/>
                  </a:lnTo>
                  <a:lnTo>
                    <a:pt x="653" y="155"/>
                  </a:lnTo>
                  <a:lnTo>
                    <a:pt x="686" y="155"/>
                  </a:lnTo>
                  <a:lnTo>
                    <a:pt x="686" y="171"/>
                  </a:lnTo>
                  <a:lnTo>
                    <a:pt x="686" y="176"/>
                  </a:lnTo>
                  <a:lnTo>
                    <a:pt x="687" y="180"/>
                  </a:lnTo>
                  <a:lnTo>
                    <a:pt x="688" y="183"/>
                  </a:lnTo>
                  <a:lnTo>
                    <a:pt x="689" y="184"/>
                  </a:lnTo>
                  <a:lnTo>
                    <a:pt x="691" y="187"/>
                  </a:lnTo>
                  <a:lnTo>
                    <a:pt x="693" y="189"/>
                  </a:lnTo>
                  <a:lnTo>
                    <a:pt x="697" y="191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08" y="191"/>
                  </a:lnTo>
                  <a:lnTo>
                    <a:pt x="711" y="191"/>
                  </a:lnTo>
                  <a:lnTo>
                    <a:pt x="715" y="189"/>
                  </a:lnTo>
                  <a:lnTo>
                    <a:pt x="717" y="187"/>
                  </a:lnTo>
                  <a:lnTo>
                    <a:pt x="719" y="184"/>
                  </a:lnTo>
                  <a:lnTo>
                    <a:pt x="721" y="180"/>
                  </a:lnTo>
                  <a:lnTo>
                    <a:pt x="721" y="176"/>
                  </a:lnTo>
                  <a:lnTo>
                    <a:pt x="722" y="171"/>
                  </a:lnTo>
                  <a:lnTo>
                    <a:pt x="722" y="167"/>
                  </a:lnTo>
                  <a:lnTo>
                    <a:pt x="721" y="162"/>
                  </a:lnTo>
                  <a:lnTo>
                    <a:pt x="719" y="155"/>
                  </a:lnTo>
                  <a:lnTo>
                    <a:pt x="718" y="152"/>
                  </a:lnTo>
                  <a:lnTo>
                    <a:pt x="716" y="149"/>
                  </a:lnTo>
                  <a:lnTo>
                    <a:pt x="711" y="142"/>
                  </a:lnTo>
                  <a:lnTo>
                    <a:pt x="706" y="136"/>
                  </a:lnTo>
                  <a:lnTo>
                    <a:pt x="701" y="131"/>
                  </a:lnTo>
                  <a:lnTo>
                    <a:pt x="688" y="119"/>
                  </a:lnTo>
                  <a:lnTo>
                    <a:pt x="675" y="106"/>
                  </a:lnTo>
                  <a:lnTo>
                    <a:pt x="670" y="100"/>
                  </a:lnTo>
                  <a:lnTo>
                    <a:pt x="665" y="93"/>
                  </a:lnTo>
                  <a:lnTo>
                    <a:pt x="661" y="84"/>
                  </a:lnTo>
                  <a:lnTo>
                    <a:pt x="658" y="76"/>
                  </a:lnTo>
                  <a:lnTo>
                    <a:pt x="655" y="65"/>
                  </a:lnTo>
                  <a:lnTo>
                    <a:pt x="654" y="60"/>
                  </a:lnTo>
                  <a:lnTo>
                    <a:pt x="654" y="55"/>
                  </a:lnTo>
                  <a:lnTo>
                    <a:pt x="654" y="48"/>
                  </a:lnTo>
                  <a:lnTo>
                    <a:pt x="655" y="42"/>
                  </a:lnTo>
                  <a:lnTo>
                    <a:pt x="656" y="37"/>
                  </a:lnTo>
                  <a:lnTo>
                    <a:pt x="658" y="31"/>
                  </a:lnTo>
                  <a:lnTo>
                    <a:pt x="660" y="26"/>
                  </a:lnTo>
                  <a:lnTo>
                    <a:pt x="662" y="22"/>
                  </a:lnTo>
                  <a:lnTo>
                    <a:pt x="664" y="18"/>
                  </a:lnTo>
                  <a:lnTo>
                    <a:pt x="667" y="13"/>
                  </a:lnTo>
                  <a:lnTo>
                    <a:pt x="670" y="10"/>
                  </a:lnTo>
                  <a:lnTo>
                    <a:pt x="674" y="7"/>
                  </a:lnTo>
                  <a:lnTo>
                    <a:pt x="677" y="6"/>
                  </a:lnTo>
                  <a:lnTo>
                    <a:pt x="679" y="5"/>
                  </a:lnTo>
                  <a:lnTo>
                    <a:pt x="683" y="3"/>
                  </a:lnTo>
                  <a:lnTo>
                    <a:pt x="688" y="1"/>
                  </a:lnTo>
                  <a:lnTo>
                    <a:pt x="693" y="0"/>
                  </a:lnTo>
                  <a:lnTo>
                    <a:pt x="699" y="0"/>
                  </a:lnTo>
                  <a:lnTo>
                    <a:pt x="705" y="0"/>
                  </a:lnTo>
                  <a:close/>
                  <a:moveTo>
                    <a:pt x="592" y="2"/>
                  </a:moveTo>
                  <a:lnTo>
                    <a:pt x="626" y="2"/>
                  </a:lnTo>
                  <a:lnTo>
                    <a:pt x="626" y="221"/>
                  </a:lnTo>
                  <a:lnTo>
                    <a:pt x="592" y="221"/>
                  </a:lnTo>
                  <a:lnTo>
                    <a:pt x="592" y="2"/>
                  </a:lnTo>
                  <a:close/>
                  <a:moveTo>
                    <a:pt x="491" y="171"/>
                  </a:moveTo>
                  <a:lnTo>
                    <a:pt x="491" y="176"/>
                  </a:lnTo>
                  <a:lnTo>
                    <a:pt x="493" y="180"/>
                  </a:lnTo>
                  <a:lnTo>
                    <a:pt x="494" y="183"/>
                  </a:lnTo>
                  <a:lnTo>
                    <a:pt x="494" y="185"/>
                  </a:lnTo>
                  <a:lnTo>
                    <a:pt x="496" y="187"/>
                  </a:lnTo>
                  <a:lnTo>
                    <a:pt x="499" y="189"/>
                  </a:lnTo>
                  <a:lnTo>
                    <a:pt x="502" y="191"/>
                  </a:lnTo>
                  <a:lnTo>
                    <a:pt x="505" y="192"/>
                  </a:lnTo>
                  <a:lnTo>
                    <a:pt x="509" y="192"/>
                  </a:lnTo>
                  <a:lnTo>
                    <a:pt x="513" y="192"/>
                  </a:lnTo>
                  <a:lnTo>
                    <a:pt x="517" y="191"/>
                  </a:lnTo>
                  <a:lnTo>
                    <a:pt x="520" y="189"/>
                  </a:lnTo>
                  <a:lnTo>
                    <a:pt x="522" y="187"/>
                  </a:lnTo>
                  <a:lnTo>
                    <a:pt x="524" y="185"/>
                  </a:lnTo>
                  <a:lnTo>
                    <a:pt x="525" y="180"/>
                  </a:lnTo>
                  <a:lnTo>
                    <a:pt x="526" y="176"/>
                  </a:lnTo>
                  <a:lnTo>
                    <a:pt x="527" y="171"/>
                  </a:lnTo>
                  <a:lnTo>
                    <a:pt x="527" y="52"/>
                  </a:lnTo>
                  <a:lnTo>
                    <a:pt x="526" y="46"/>
                  </a:lnTo>
                  <a:lnTo>
                    <a:pt x="525" y="42"/>
                  </a:lnTo>
                  <a:lnTo>
                    <a:pt x="525" y="40"/>
                  </a:lnTo>
                  <a:lnTo>
                    <a:pt x="524" y="39"/>
                  </a:lnTo>
                  <a:lnTo>
                    <a:pt x="522" y="36"/>
                  </a:lnTo>
                  <a:lnTo>
                    <a:pt x="520" y="33"/>
                  </a:lnTo>
                  <a:lnTo>
                    <a:pt x="517" y="31"/>
                  </a:lnTo>
                  <a:lnTo>
                    <a:pt x="513" y="30"/>
                  </a:lnTo>
                  <a:lnTo>
                    <a:pt x="509" y="30"/>
                  </a:lnTo>
                  <a:lnTo>
                    <a:pt x="505" y="30"/>
                  </a:lnTo>
                  <a:lnTo>
                    <a:pt x="502" y="31"/>
                  </a:lnTo>
                  <a:lnTo>
                    <a:pt x="499" y="33"/>
                  </a:lnTo>
                  <a:lnTo>
                    <a:pt x="496" y="36"/>
                  </a:lnTo>
                  <a:lnTo>
                    <a:pt x="494" y="39"/>
                  </a:lnTo>
                  <a:lnTo>
                    <a:pt x="493" y="42"/>
                  </a:lnTo>
                  <a:lnTo>
                    <a:pt x="491" y="46"/>
                  </a:lnTo>
                  <a:lnTo>
                    <a:pt x="491" y="52"/>
                  </a:lnTo>
                  <a:lnTo>
                    <a:pt x="491" y="171"/>
                  </a:lnTo>
                  <a:close/>
                  <a:moveTo>
                    <a:pt x="457" y="55"/>
                  </a:moveTo>
                  <a:lnTo>
                    <a:pt x="457" y="48"/>
                  </a:lnTo>
                  <a:lnTo>
                    <a:pt x="458" y="42"/>
                  </a:lnTo>
                  <a:lnTo>
                    <a:pt x="459" y="37"/>
                  </a:lnTo>
                  <a:lnTo>
                    <a:pt x="460" y="33"/>
                  </a:lnTo>
                  <a:lnTo>
                    <a:pt x="460" y="31"/>
                  </a:lnTo>
                  <a:lnTo>
                    <a:pt x="462" y="26"/>
                  </a:lnTo>
                  <a:lnTo>
                    <a:pt x="464" y="22"/>
                  </a:lnTo>
                  <a:lnTo>
                    <a:pt x="467" y="18"/>
                  </a:lnTo>
                  <a:lnTo>
                    <a:pt x="470" y="13"/>
                  </a:lnTo>
                  <a:lnTo>
                    <a:pt x="473" y="10"/>
                  </a:lnTo>
                  <a:lnTo>
                    <a:pt x="478" y="7"/>
                  </a:lnTo>
                  <a:lnTo>
                    <a:pt x="482" y="5"/>
                  </a:lnTo>
                  <a:lnTo>
                    <a:pt x="486" y="3"/>
                  </a:lnTo>
                  <a:lnTo>
                    <a:pt x="491" y="1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0"/>
                  </a:lnTo>
                  <a:lnTo>
                    <a:pt x="515" y="0"/>
                  </a:lnTo>
                  <a:lnTo>
                    <a:pt x="521" y="0"/>
                  </a:lnTo>
                  <a:lnTo>
                    <a:pt x="526" y="1"/>
                  </a:lnTo>
                  <a:lnTo>
                    <a:pt x="532" y="3"/>
                  </a:lnTo>
                  <a:lnTo>
                    <a:pt x="536" y="5"/>
                  </a:lnTo>
                  <a:lnTo>
                    <a:pt x="540" y="7"/>
                  </a:lnTo>
                  <a:lnTo>
                    <a:pt x="544" y="10"/>
                  </a:lnTo>
                  <a:lnTo>
                    <a:pt x="548" y="13"/>
                  </a:lnTo>
                  <a:lnTo>
                    <a:pt x="551" y="18"/>
                  </a:lnTo>
                  <a:lnTo>
                    <a:pt x="554" y="22"/>
                  </a:lnTo>
                  <a:lnTo>
                    <a:pt x="556" y="26"/>
                  </a:lnTo>
                  <a:lnTo>
                    <a:pt x="558" y="31"/>
                  </a:lnTo>
                  <a:lnTo>
                    <a:pt x="559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1" y="168"/>
                  </a:lnTo>
                  <a:lnTo>
                    <a:pt x="561" y="175"/>
                  </a:lnTo>
                  <a:lnTo>
                    <a:pt x="560" y="180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8" y="192"/>
                  </a:lnTo>
                  <a:lnTo>
                    <a:pt x="556" y="196"/>
                  </a:lnTo>
                  <a:lnTo>
                    <a:pt x="554" y="202"/>
                  </a:lnTo>
                  <a:lnTo>
                    <a:pt x="551" y="205"/>
                  </a:lnTo>
                  <a:lnTo>
                    <a:pt x="548" y="209"/>
                  </a:lnTo>
                  <a:lnTo>
                    <a:pt x="544" y="212"/>
                  </a:lnTo>
                  <a:lnTo>
                    <a:pt x="540" y="215"/>
                  </a:lnTo>
                  <a:lnTo>
                    <a:pt x="536" y="217"/>
                  </a:lnTo>
                  <a:lnTo>
                    <a:pt x="532" y="220"/>
                  </a:lnTo>
                  <a:lnTo>
                    <a:pt x="526" y="222"/>
                  </a:lnTo>
                  <a:lnTo>
                    <a:pt x="521" y="223"/>
                  </a:lnTo>
                  <a:lnTo>
                    <a:pt x="515" y="223"/>
                  </a:lnTo>
                  <a:lnTo>
                    <a:pt x="509" y="224"/>
                  </a:lnTo>
                  <a:lnTo>
                    <a:pt x="503" y="223"/>
                  </a:lnTo>
                  <a:lnTo>
                    <a:pt x="497" y="223"/>
                  </a:lnTo>
                  <a:lnTo>
                    <a:pt x="491" y="222"/>
                  </a:lnTo>
                  <a:lnTo>
                    <a:pt x="486" y="220"/>
                  </a:lnTo>
                  <a:lnTo>
                    <a:pt x="482" y="217"/>
                  </a:lnTo>
                  <a:lnTo>
                    <a:pt x="478" y="215"/>
                  </a:lnTo>
                  <a:lnTo>
                    <a:pt x="473" y="212"/>
                  </a:lnTo>
                  <a:lnTo>
                    <a:pt x="470" y="209"/>
                  </a:lnTo>
                  <a:lnTo>
                    <a:pt x="467" y="205"/>
                  </a:lnTo>
                  <a:lnTo>
                    <a:pt x="464" y="202"/>
                  </a:lnTo>
                  <a:lnTo>
                    <a:pt x="462" y="196"/>
                  </a:lnTo>
                  <a:lnTo>
                    <a:pt x="460" y="192"/>
                  </a:lnTo>
                  <a:lnTo>
                    <a:pt x="459" y="187"/>
                  </a:lnTo>
                  <a:lnTo>
                    <a:pt x="458" y="180"/>
                  </a:lnTo>
                  <a:lnTo>
                    <a:pt x="457" y="175"/>
                  </a:lnTo>
                  <a:lnTo>
                    <a:pt x="457" y="168"/>
                  </a:lnTo>
                  <a:lnTo>
                    <a:pt x="457" y="55"/>
                  </a:lnTo>
                  <a:close/>
                  <a:moveTo>
                    <a:pt x="370" y="134"/>
                  </a:moveTo>
                  <a:lnTo>
                    <a:pt x="359" y="154"/>
                  </a:lnTo>
                  <a:lnTo>
                    <a:pt x="359" y="221"/>
                  </a:lnTo>
                  <a:lnTo>
                    <a:pt x="324" y="221"/>
                  </a:lnTo>
                  <a:lnTo>
                    <a:pt x="324" y="2"/>
                  </a:lnTo>
                  <a:lnTo>
                    <a:pt x="359" y="2"/>
                  </a:lnTo>
                  <a:lnTo>
                    <a:pt x="359" y="97"/>
                  </a:lnTo>
                  <a:lnTo>
                    <a:pt x="404" y="2"/>
                  </a:lnTo>
                  <a:lnTo>
                    <a:pt x="439" y="2"/>
                  </a:lnTo>
                  <a:lnTo>
                    <a:pt x="390" y="99"/>
                  </a:lnTo>
                  <a:lnTo>
                    <a:pt x="439" y="221"/>
                  </a:lnTo>
                  <a:lnTo>
                    <a:pt x="403" y="221"/>
                  </a:lnTo>
                  <a:lnTo>
                    <a:pt x="370" y="134"/>
                  </a:lnTo>
                  <a:close/>
                  <a:moveTo>
                    <a:pt x="257" y="2"/>
                  </a:moveTo>
                  <a:lnTo>
                    <a:pt x="292" y="2"/>
                  </a:lnTo>
                  <a:lnTo>
                    <a:pt x="292" y="221"/>
                  </a:lnTo>
                  <a:lnTo>
                    <a:pt x="257" y="221"/>
                  </a:lnTo>
                  <a:lnTo>
                    <a:pt x="257" y="2"/>
                  </a:lnTo>
                  <a:close/>
                  <a:moveTo>
                    <a:pt x="157" y="33"/>
                  </a:moveTo>
                  <a:lnTo>
                    <a:pt x="15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9" y="99"/>
                  </a:lnTo>
                  <a:lnTo>
                    <a:pt x="184" y="98"/>
                  </a:lnTo>
                  <a:lnTo>
                    <a:pt x="185" y="97"/>
                  </a:lnTo>
                  <a:lnTo>
                    <a:pt x="186" y="95"/>
                  </a:lnTo>
                  <a:lnTo>
                    <a:pt x="189" y="93"/>
                  </a:lnTo>
                  <a:lnTo>
                    <a:pt x="190" y="88"/>
                  </a:lnTo>
                  <a:lnTo>
                    <a:pt x="191" y="83"/>
                  </a:lnTo>
                  <a:lnTo>
                    <a:pt x="192" y="77"/>
                  </a:lnTo>
                  <a:lnTo>
                    <a:pt x="192" y="56"/>
                  </a:lnTo>
                  <a:lnTo>
                    <a:pt x="191" y="50"/>
                  </a:lnTo>
                  <a:lnTo>
                    <a:pt x="191" y="45"/>
                  </a:lnTo>
                  <a:lnTo>
                    <a:pt x="189" y="42"/>
                  </a:lnTo>
                  <a:lnTo>
                    <a:pt x="188" y="39"/>
                  </a:lnTo>
                  <a:lnTo>
                    <a:pt x="185" y="36"/>
                  </a:lnTo>
                  <a:lnTo>
                    <a:pt x="184" y="34"/>
                  </a:lnTo>
                  <a:lnTo>
                    <a:pt x="183" y="34"/>
                  </a:lnTo>
                  <a:lnTo>
                    <a:pt x="178" y="33"/>
                  </a:lnTo>
                  <a:lnTo>
                    <a:pt x="174" y="33"/>
                  </a:lnTo>
                  <a:lnTo>
                    <a:pt x="157" y="33"/>
                  </a:lnTo>
                  <a:close/>
                  <a:moveTo>
                    <a:pt x="195" y="221"/>
                  </a:moveTo>
                  <a:lnTo>
                    <a:pt x="193" y="212"/>
                  </a:lnTo>
                  <a:lnTo>
                    <a:pt x="192" y="205"/>
                  </a:lnTo>
                  <a:lnTo>
                    <a:pt x="192" y="194"/>
                  </a:lnTo>
                  <a:lnTo>
                    <a:pt x="192" y="159"/>
                  </a:lnTo>
                  <a:lnTo>
                    <a:pt x="192" y="153"/>
                  </a:lnTo>
                  <a:lnTo>
                    <a:pt x="191" y="147"/>
                  </a:lnTo>
                  <a:lnTo>
                    <a:pt x="189" y="141"/>
                  </a:lnTo>
                  <a:lnTo>
                    <a:pt x="187" y="138"/>
                  </a:lnTo>
                  <a:lnTo>
                    <a:pt x="185" y="136"/>
                  </a:lnTo>
                  <a:lnTo>
                    <a:pt x="184" y="135"/>
                  </a:lnTo>
                  <a:lnTo>
                    <a:pt x="179" y="133"/>
                  </a:lnTo>
                  <a:lnTo>
                    <a:pt x="175" y="132"/>
                  </a:lnTo>
                  <a:lnTo>
                    <a:pt x="170" y="132"/>
                  </a:lnTo>
                  <a:lnTo>
                    <a:pt x="157" y="132"/>
                  </a:lnTo>
                  <a:lnTo>
                    <a:pt x="157" y="221"/>
                  </a:lnTo>
                  <a:lnTo>
                    <a:pt x="123" y="221"/>
                  </a:lnTo>
                  <a:lnTo>
                    <a:pt x="123" y="2"/>
                  </a:lnTo>
                  <a:lnTo>
                    <a:pt x="175" y="2"/>
                  </a:lnTo>
                  <a:lnTo>
                    <a:pt x="182" y="2"/>
                  </a:lnTo>
                  <a:lnTo>
                    <a:pt x="188" y="3"/>
                  </a:lnTo>
                  <a:lnTo>
                    <a:pt x="193" y="4"/>
                  </a:lnTo>
                  <a:lnTo>
                    <a:pt x="199" y="5"/>
                  </a:lnTo>
                  <a:lnTo>
                    <a:pt x="203" y="7"/>
                  </a:lnTo>
                  <a:lnTo>
                    <a:pt x="207" y="9"/>
                  </a:lnTo>
                  <a:lnTo>
                    <a:pt x="211" y="11"/>
                  </a:lnTo>
                  <a:lnTo>
                    <a:pt x="214" y="14"/>
                  </a:lnTo>
                  <a:lnTo>
                    <a:pt x="218" y="18"/>
                  </a:lnTo>
                  <a:lnTo>
                    <a:pt x="220" y="21"/>
                  </a:lnTo>
                  <a:lnTo>
                    <a:pt x="222" y="25"/>
                  </a:lnTo>
                  <a:lnTo>
                    <a:pt x="223" y="30"/>
                  </a:lnTo>
                  <a:lnTo>
                    <a:pt x="225" y="34"/>
                  </a:lnTo>
                  <a:lnTo>
                    <a:pt x="226" y="40"/>
                  </a:lnTo>
                  <a:lnTo>
                    <a:pt x="226" y="46"/>
                  </a:lnTo>
                  <a:lnTo>
                    <a:pt x="226" y="52"/>
                  </a:lnTo>
                  <a:lnTo>
                    <a:pt x="226" y="69"/>
                  </a:lnTo>
                  <a:lnTo>
                    <a:pt x="226" y="78"/>
                  </a:lnTo>
                  <a:lnTo>
                    <a:pt x="225" y="85"/>
                  </a:lnTo>
                  <a:lnTo>
                    <a:pt x="223" y="92"/>
                  </a:lnTo>
                  <a:lnTo>
                    <a:pt x="221" y="97"/>
                  </a:lnTo>
                  <a:lnTo>
                    <a:pt x="220" y="100"/>
                  </a:lnTo>
                  <a:lnTo>
                    <a:pt x="218" y="102"/>
                  </a:lnTo>
                  <a:lnTo>
                    <a:pt x="215" y="104"/>
                  </a:lnTo>
                  <a:lnTo>
                    <a:pt x="213" y="107"/>
                  </a:lnTo>
                  <a:lnTo>
                    <a:pt x="209" y="111"/>
                  </a:lnTo>
                  <a:lnTo>
                    <a:pt x="204" y="114"/>
                  </a:lnTo>
                  <a:lnTo>
                    <a:pt x="207" y="115"/>
                  </a:lnTo>
                  <a:lnTo>
                    <a:pt x="210" y="117"/>
                  </a:lnTo>
                  <a:lnTo>
                    <a:pt x="212" y="119"/>
                  </a:lnTo>
                  <a:lnTo>
                    <a:pt x="214" y="121"/>
                  </a:lnTo>
                  <a:lnTo>
                    <a:pt x="219" y="125"/>
                  </a:lnTo>
                  <a:lnTo>
                    <a:pt x="222" y="131"/>
                  </a:lnTo>
                  <a:lnTo>
                    <a:pt x="224" y="137"/>
                  </a:lnTo>
                  <a:lnTo>
                    <a:pt x="225" y="144"/>
                  </a:lnTo>
                  <a:lnTo>
                    <a:pt x="226" y="149"/>
                  </a:lnTo>
                  <a:lnTo>
                    <a:pt x="226" y="152"/>
                  </a:lnTo>
                  <a:lnTo>
                    <a:pt x="227" y="160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9"/>
                  </a:lnTo>
                  <a:lnTo>
                    <a:pt x="228" y="215"/>
                  </a:lnTo>
                  <a:lnTo>
                    <a:pt x="229" y="217"/>
                  </a:lnTo>
                  <a:lnTo>
                    <a:pt x="230" y="221"/>
                  </a:lnTo>
                  <a:lnTo>
                    <a:pt x="195" y="221"/>
                  </a:lnTo>
                  <a:close/>
                  <a:moveTo>
                    <a:pt x="35" y="94"/>
                  </a:moveTo>
                  <a:lnTo>
                    <a:pt x="82" y="94"/>
                  </a:lnTo>
                  <a:lnTo>
                    <a:pt x="82" y="125"/>
                  </a:lnTo>
                  <a:lnTo>
                    <a:pt x="35" y="125"/>
                  </a:lnTo>
                  <a:lnTo>
                    <a:pt x="35" y="190"/>
                  </a:lnTo>
                  <a:lnTo>
                    <a:pt x="94" y="190"/>
                  </a:lnTo>
                  <a:lnTo>
                    <a:pt x="94" y="221"/>
                  </a:lnTo>
                  <a:lnTo>
                    <a:pt x="0" y="221"/>
                  </a:lnTo>
                  <a:lnTo>
                    <a:pt x="0" y="2"/>
                  </a:lnTo>
                  <a:lnTo>
                    <a:pt x="94" y="2"/>
                  </a:lnTo>
                  <a:lnTo>
                    <a:pt x="94" y="33"/>
                  </a:lnTo>
                  <a:lnTo>
                    <a:pt x="35" y="33"/>
                  </a:lnTo>
                  <a:lnTo>
                    <a:pt x="35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04921825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6F63FD1-8686-4A34-A1FC-03944AC08B8E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38"/>
            <p:cNvSpPr>
              <a:spLocks noEditPoints="1"/>
            </p:cNvSpPr>
            <p:nvPr userDrawn="1"/>
          </p:nvSpPr>
          <p:spPr bwMode="auto">
            <a:xfrm>
              <a:off x="8873542" y="6476771"/>
              <a:ext cx="1942286" cy="211200"/>
            </a:xfrm>
            <a:custGeom>
              <a:avLst/>
              <a:gdLst>
                <a:gd name="T0" fmla="*/ 1940 w 2061"/>
                <a:gd name="T1" fmla="*/ 221 h 224"/>
                <a:gd name="T2" fmla="*/ 1890 w 2061"/>
                <a:gd name="T3" fmla="*/ 103 h 224"/>
                <a:gd name="T4" fmla="*/ 1886 w 2061"/>
                <a:gd name="T5" fmla="*/ 36 h 224"/>
                <a:gd name="T6" fmla="*/ 1924 w 2061"/>
                <a:gd name="T7" fmla="*/ 107 h 224"/>
                <a:gd name="T8" fmla="*/ 1888 w 2061"/>
                <a:gd name="T9" fmla="*/ 138 h 224"/>
                <a:gd name="T10" fmla="*/ 1894 w 2061"/>
                <a:gd name="T11" fmla="*/ 4 h 224"/>
                <a:gd name="T12" fmla="*/ 1927 w 2061"/>
                <a:gd name="T13" fmla="*/ 38 h 224"/>
                <a:gd name="T14" fmla="*/ 1762 w 2061"/>
                <a:gd name="T15" fmla="*/ 103 h 224"/>
                <a:gd name="T16" fmla="*/ 1759 w 2061"/>
                <a:gd name="T17" fmla="*/ 36 h 224"/>
                <a:gd name="T18" fmla="*/ 1798 w 2061"/>
                <a:gd name="T19" fmla="*/ 107 h 224"/>
                <a:gd name="T20" fmla="*/ 1762 w 2061"/>
                <a:gd name="T21" fmla="*/ 138 h 224"/>
                <a:gd name="T22" fmla="*/ 1767 w 2061"/>
                <a:gd name="T23" fmla="*/ 4 h 224"/>
                <a:gd name="T24" fmla="*/ 1799 w 2061"/>
                <a:gd name="T25" fmla="*/ 38 h 224"/>
                <a:gd name="T26" fmla="*/ 1604 w 2061"/>
                <a:gd name="T27" fmla="*/ 188 h 224"/>
                <a:gd name="T28" fmla="*/ 1634 w 2061"/>
                <a:gd name="T29" fmla="*/ 180 h 224"/>
                <a:gd name="T30" fmla="*/ 1662 w 2061"/>
                <a:gd name="T31" fmla="*/ 197 h 224"/>
                <a:gd name="T32" fmla="*/ 1627 w 2061"/>
                <a:gd name="T33" fmla="*/ 223 h 224"/>
                <a:gd name="T34" fmla="*/ 1578 w 2061"/>
                <a:gd name="T35" fmla="*/ 209 h 224"/>
                <a:gd name="T36" fmla="*/ 1599 w 2061"/>
                <a:gd name="T37" fmla="*/ 2 h 224"/>
                <a:gd name="T38" fmla="*/ 1421 w 2061"/>
                <a:gd name="T39" fmla="*/ 221 h 224"/>
                <a:gd name="T40" fmla="*/ 1328 w 2061"/>
                <a:gd name="T41" fmla="*/ 97 h 224"/>
                <a:gd name="T42" fmla="*/ 1204 w 2061"/>
                <a:gd name="T43" fmla="*/ 125 h 224"/>
                <a:gd name="T44" fmla="*/ 1077 w 2061"/>
                <a:gd name="T45" fmla="*/ 134 h 224"/>
                <a:gd name="T46" fmla="*/ 1146 w 2061"/>
                <a:gd name="T47" fmla="*/ 221 h 224"/>
                <a:gd name="T48" fmla="*/ 932 w 2061"/>
                <a:gd name="T49" fmla="*/ 221 h 224"/>
                <a:gd name="T50" fmla="*/ 705 w 2061"/>
                <a:gd name="T51" fmla="*/ 0 h 224"/>
                <a:gd name="T52" fmla="*/ 748 w 2061"/>
                <a:gd name="T53" fmla="*/ 22 h 224"/>
                <a:gd name="T54" fmla="*/ 723 w 2061"/>
                <a:gd name="T55" fmla="*/ 46 h 224"/>
                <a:gd name="T56" fmla="*/ 698 w 2061"/>
                <a:gd name="T57" fmla="*/ 32 h 224"/>
                <a:gd name="T58" fmla="*/ 693 w 2061"/>
                <a:gd name="T59" fmla="*/ 70 h 224"/>
                <a:gd name="T60" fmla="*/ 754 w 2061"/>
                <a:gd name="T61" fmla="*/ 148 h 224"/>
                <a:gd name="T62" fmla="*/ 746 w 2061"/>
                <a:gd name="T63" fmla="*/ 205 h 224"/>
                <a:gd name="T64" fmla="*/ 705 w 2061"/>
                <a:gd name="T65" fmla="*/ 224 h 224"/>
                <a:gd name="T66" fmla="*/ 661 w 2061"/>
                <a:gd name="T67" fmla="*/ 202 h 224"/>
                <a:gd name="T68" fmla="*/ 686 w 2061"/>
                <a:gd name="T69" fmla="*/ 176 h 224"/>
                <a:gd name="T70" fmla="*/ 711 w 2061"/>
                <a:gd name="T71" fmla="*/ 191 h 224"/>
                <a:gd name="T72" fmla="*/ 718 w 2061"/>
                <a:gd name="T73" fmla="*/ 152 h 224"/>
                <a:gd name="T74" fmla="*/ 658 w 2061"/>
                <a:gd name="T75" fmla="*/ 76 h 224"/>
                <a:gd name="T76" fmla="*/ 664 w 2061"/>
                <a:gd name="T77" fmla="*/ 18 h 224"/>
                <a:gd name="T78" fmla="*/ 705 w 2061"/>
                <a:gd name="T79" fmla="*/ 0 h 224"/>
                <a:gd name="T80" fmla="*/ 494 w 2061"/>
                <a:gd name="T81" fmla="*/ 185 h 224"/>
                <a:gd name="T82" fmla="*/ 524 w 2061"/>
                <a:gd name="T83" fmla="*/ 185 h 224"/>
                <a:gd name="T84" fmla="*/ 520 w 2061"/>
                <a:gd name="T85" fmla="*/ 33 h 224"/>
                <a:gd name="T86" fmla="*/ 491 w 2061"/>
                <a:gd name="T87" fmla="*/ 46 h 224"/>
                <a:gd name="T88" fmla="*/ 464 w 2061"/>
                <a:gd name="T89" fmla="*/ 22 h 224"/>
                <a:gd name="T90" fmla="*/ 509 w 2061"/>
                <a:gd name="T91" fmla="*/ 0 h 224"/>
                <a:gd name="T92" fmla="*/ 554 w 2061"/>
                <a:gd name="T93" fmla="*/ 22 h 224"/>
                <a:gd name="T94" fmla="*/ 559 w 2061"/>
                <a:gd name="T95" fmla="*/ 187 h 224"/>
                <a:gd name="T96" fmla="*/ 532 w 2061"/>
                <a:gd name="T97" fmla="*/ 220 h 224"/>
                <a:gd name="T98" fmla="*/ 478 w 2061"/>
                <a:gd name="T99" fmla="*/ 215 h 224"/>
                <a:gd name="T100" fmla="*/ 457 w 2061"/>
                <a:gd name="T101" fmla="*/ 168 h 224"/>
                <a:gd name="T102" fmla="*/ 439 w 2061"/>
                <a:gd name="T103" fmla="*/ 2 h 224"/>
                <a:gd name="T104" fmla="*/ 157 w 2061"/>
                <a:gd name="T105" fmla="*/ 33 h 224"/>
                <a:gd name="T106" fmla="*/ 191 w 2061"/>
                <a:gd name="T107" fmla="*/ 83 h 224"/>
                <a:gd name="T108" fmla="*/ 178 w 2061"/>
                <a:gd name="T109" fmla="*/ 33 h 224"/>
                <a:gd name="T110" fmla="*/ 189 w 2061"/>
                <a:gd name="T111" fmla="*/ 141 h 224"/>
                <a:gd name="T112" fmla="*/ 123 w 2061"/>
                <a:gd name="T113" fmla="*/ 2 h 224"/>
                <a:gd name="T114" fmla="*/ 218 w 2061"/>
                <a:gd name="T115" fmla="*/ 18 h 224"/>
                <a:gd name="T116" fmla="*/ 225 w 2061"/>
                <a:gd name="T117" fmla="*/ 85 h 224"/>
                <a:gd name="T118" fmla="*/ 210 w 2061"/>
                <a:gd name="T119" fmla="*/ 117 h 224"/>
                <a:gd name="T120" fmla="*/ 227 w 2061"/>
                <a:gd name="T121" fmla="*/ 194 h 224"/>
                <a:gd name="T122" fmla="*/ 35 w 2061"/>
                <a:gd name="T123" fmla="*/ 12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1" h="224">
                  <a:moveTo>
                    <a:pt x="1982" y="152"/>
                  </a:moveTo>
                  <a:lnTo>
                    <a:pt x="2015" y="152"/>
                  </a:lnTo>
                  <a:lnTo>
                    <a:pt x="1998" y="41"/>
                  </a:lnTo>
                  <a:lnTo>
                    <a:pt x="1982" y="152"/>
                  </a:lnTo>
                  <a:close/>
                  <a:moveTo>
                    <a:pt x="2061" y="221"/>
                  </a:moveTo>
                  <a:lnTo>
                    <a:pt x="2026" y="221"/>
                  </a:lnTo>
                  <a:lnTo>
                    <a:pt x="2020" y="181"/>
                  </a:lnTo>
                  <a:lnTo>
                    <a:pt x="1977" y="181"/>
                  </a:lnTo>
                  <a:lnTo>
                    <a:pt x="1972" y="221"/>
                  </a:lnTo>
                  <a:lnTo>
                    <a:pt x="1940" y="221"/>
                  </a:lnTo>
                  <a:lnTo>
                    <a:pt x="1975" y="2"/>
                  </a:lnTo>
                  <a:lnTo>
                    <a:pt x="2026" y="2"/>
                  </a:lnTo>
                  <a:lnTo>
                    <a:pt x="2061" y="221"/>
                  </a:lnTo>
                  <a:close/>
                  <a:moveTo>
                    <a:pt x="1860" y="33"/>
                  </a:moveTo>
                  <a:lnTo>
                    <a:pt x="1860" y="107"/>
                  </a:lnTo>
                  <a:lnTo>
                    <a:pt x="1877" y="107"/>
                  </a:lnTo>
                  <a:lnTo>
                    <a:pt x="1880" y="107"/>
                  </a:lnTo>
                  <a:lnTo>
                    <a:pt x="1884" y="106"/>
                  </a:lnTo>
                  <a:lnTo>
                    <a:pt x="1886" y="104"/>
                  </a:lnTo>
                  <a:lnTo>
                    <a:pt x="1890" y="103"/>
                  </a:lnTo>
                  <a:lnTo>
                    <a:pt x="1891" y="100"/>
                  </a:lnTo>
                  <a:lnTo>
                    <a:pt x="1893" y="96"/>
                  </a:lnTo>
                  <a:lnTo>
                    <a:pt x="1893" y="92"/>
                  </a:lnTo>
                  <a:lnTo>
                    <a:pt x="1894" y="86"/>
                  </a:lnTo>
                  <a:lnTo>
                    <a:pt x="1894" y="53"/>
                  </a:lnTo>
                  <a:lnTo>
                    <a:pt x="1893" y="48"/>
                  </a:lnTo>
                  <a:lnTo>
                    <a:pt x="1893" y="44"/>
                  </a:lnTo>
                  <a:lnTo>
                    <a:pt x="1891" y="40"/>
                  </a:lnTo>
                  <a:lnTo>
                    <a:pt x="1890" y="38"/>
                  </a:lnTo>
                  <a:lnTo>
                    <a:pt x="1886" y="36"/>
                  </a:lnTo>
                  <a:lnTo>
                    <a:pt x="1884" y="34"/>
                  </a:lnTo>
                  <a:lnTo>
                    <a:pt x="1880" y="33"/>
                  </a:lnTo>
                  <a:lnTo>
                    <a:pt x="1877" y="33"/>
                  </a:lnTo>
                  <a:lnTo>
                    <a:pt x="1860" y="33"/>
                  </a:lnTo>
                  <a:close/>
                  <a:moveTo>
                    <a:pt x="1928" y="56"/>
                  </a:moveTo>
                  <a:lnTo>
                    <a:pt x="1928" y="84"/>
                  </a:lnTo>
                  <a:lnTo>
                    <a:pt x="1928" y="91"/>
                  </a:lnTo>
                  <a:lnTo>
                    <a:pt x="1928" y="97"/>
                  </a:lnTo>
                  <a:lnTo>
                    <a:pt x="1927" y="102"/>
                  </a:lnTo>
                  <a:lnTo>
                    <a:pt x="1924" y="107"/>
                  </a:lnTo>
                  <a:lnTo>
                    <a:pt x="1923" y="113"/>
                  </a:lnTo>
                  <a:lnTo>
                    <a:pt x="1920" y="117"/>
                  </a:lnTo>
                  <a:lnTo>
                    <a:pt x="1918" y="121"/>
                  </a:lnTo>
                  <a:lnTo>
                    <a:pt x="1915" y="124"/>
                  </a:lnTo>
                  <a:lnTo>
                    <a:pt x="1912" y="128"/>
                  </a:lnTo>
                  <a:lnTo>
                    <a:pt x="1908" y="131"/>
                  </a:lnTo>
                  <a:lnTo>
                    <a:pt x="1903" y="133"/>
                  </a:lnTo>
                  <a:lnTo>
                    <a:pt x="1899" y="135"/>
                  </a:lnTo>
                  <a:lnTo>
                    <a:pt x="1894" y="136"/>
                  </a:lnTo>
                  <a:lnTo>
                    <a:pt x="1888" y="138"/>
                  </a:lnTo>
                  <a:lnTo>
                    <a:pt x="1883" y="138"/>
                  </a:lnTo>
                  <a:lnTo>
                    <a:pt x="1877" y="138"/>
                  </a:lnTo>
                  <a:lnTo>
                    <a:pt x="1860" y="138"/>
                  </a:lnTo>
                  <a:lnTo>
                    <a:pt x="1860" y="221"/>
                  </a:lnTo>
                  <a:lnTo>
                    <a:pt x="1826" y="221"/>
                  </a:lnTo>
                  <a:lnTo>
                    <a:pt x="1826" y="2"/>
                  </a:lnTo>
                  <a:lnTo>
                    <a:pt x="1877" y="2"/>
                  </a:lnTo>
                  <a:lnTo>
                    <a:pt x="1883" y="2"/>
                  </a:lnTo>
                  <a:lnTo>
                    <a:pt x="1888" y="3"/>
                  </a:lnTo>
                  <a:lnTo>
                    <a:pt x="1894" y="4"/>
                  </a:lnTo>
                  <a:lnTo>
                    <a:pt x="1899" y="5"/>
                  </a:lnTo>
                  <a:lnTo>
                    <a:pt x="1903" y="7"/>
                  </a:lnTo>
                  <a:lnTo>
                    <a:pt x="1908" y="9"/>
                  </a:lnTo>
                  <a:lnTo>
                    <a:pt x="1912" y="12"/>
                  </a:lnTo>
                  <a:lnTo>
                    <a:pt x="1915" y="15"/>
                  </a:lnTo>
                  <a:lnTo>
                    <a:pt x="1918" y="20"/>
                  </a:lnTo>
                  <a:lnTo>
                    <a:pt x="1920" y="23"/>
                  </a:lnTo>
                  <a:lnTo>
                    <a:pt x="1923" y="28"/>
                  </a:lnTo>
                  <a:lnTo>
                    <a:pt x="1924" y="32"/>
                  </a:lnTo>
                  <a:lnTo>
                    <a:pt x="1927" y="38"/>
                  </a:lnTo>
                  <a:lnTo>
                    <a:pt x="1928" y="43"/>
                  </a:lnTo>
                  <a:lnTo>
                    <a:pt x="1928" y="49"/>
                  </a:lnTo>
                  <a:lnTo>
                    <a:pt x="1928" y="56"/>
                  </a:lnTo>
                  <a:close/>
                  <a:moveTo>
                    <a:pt x="1733" y="33"/>
                  </a:moveTo>
                  <a:lnTo>
                    <a:pt x="1733" y="107"/>
                  </a:lnTo>
                  <a:lnTo>
                    <a:pt x="1749" y="107"/>
                  </a:lnTo>
                  <a:lnTo>
                    <a:pt x="1753" y="107"/>
                  </a:lnTo>
                  <a:lnTo>
                    <a:pt x="1756" y="106"/>
                  </a:lnTo>
                  <a:lnTo>
                    <a:pt x="1759" y="104"/>
                  </a:lnTo>
                  <a:lnTo>
                    <a:pt x="1762" y="103"/>
                  </a:lnTo>
                  <a:lnTo>
                    <a:pt x="1764" y="100"/>
                  </a:lnTo>
                  <a:lnTo>
                    <a:pt x="1765" y="96"/>
                  </a:lnTo>
                  <a:lnTo>
                    <a:pt x="1766" y="92"/>
                  </a:lnTo>
                  <a:lnTo>
                    <a:pt x="1766" y="86"/>
                  </a:lnTo>
                  <a:lnTo>
                    <a:pt x="1766" y="53"/>
                  </a:lnTo>
                  <a:lnTo>
                    <a:pt x="1766" y="48"/>
                  </a:lnTo>
                  <a:lnTo>
                    <a:pt x="1765" y="44"/>
                  </a:lnTo>
                  <a:lnTo>
                    <a:pt x="1764" y="40"/>
                  </a:lnTo>
                  <a:lnTo>
                    <a:pt x="1762" y="38"/>
                  </a:lnTo>
                  <a:lnTo>
                    <a:pt x="1759" y="36"/>
                  </a:lnTo>
                  <a:lnTo>
                    <a:pt x="1756" y="34"/>
                  </a:lnTo>
                  <a:lnTo>
                    <a:pt x="1753" y="33"/>
                  </a:lnTo>
                  <a:lnTo>
                    <a:pt x="1749" y="33"/>
                  </a:lnTo>
                  <a:lnTo>
                    <a:pt x="1733" y="33"/>
                  </a:lnTo>
                  <a:close/>
                  <a:moveTo>
                    <a:pt x="1801" y="56"/>
                  </a:moveTo>
                  <a:lnTo>
                    <a:pt x="1801" y="84"/>
                  </a:lnTo>
                  <a:lnTo>
                    <a:pt x="1801" y="91"/>
                  </a:lnTo>
                  <a:lnTo>
                    <a:pt x="1800" y="97"/>
                  </a:lnTo>
                  <a:lnTo>
                    <a:pt x="1799" y="102"/>
                  </a:lnTo>
                  <a:lnTo>
                    <a:pt x="1798" y="107"/>
                  </a:lnTo>
                  <a:lnTo>
                    <a:pt x="1795" y="113"/>
                  </a:lnTo>
                  <a:lnTo>
                    <a:pt x="1793" y="117"/>
                  </a:lnTo>
                  <a:lnTo>
                    <a:pt x="1790" y="121"/>
                  </a:lnTo>
                  <a:lnTo>
                    <a:pt x="1788" y="124"/>
                  </a:lnTo>
                  <a:lnTo>
                    <a:pt x="1784" y="128"/>
                  </a:lnTo>
                  <a:lnTo>
                    <a:pt x="1781" y="131"/>
                  </a:lnTo>
                  <a:lnTo>
                    <a:pt x="1776" y="133"/>
                  </a:lnTo>
                  <a:lnTo>
                    <a:pt x="1771" y="135"/>
                  </a:lnTo>
                  <a:lnTo>
                    <a:pt x="1767" y="136"/>
                  </a:lnTo>
                  <a:lnTo>
                    <a:pt x="1762" y="138"/>
                  </a:lnTo>
                  <a:lnTo>
                    <a:pt x="1755" y="138"/>
                  </a:lnTo>
                  <a:lnTo>
                    <a:pt x="1749" y="138"/>
                  </a:lnTo>
                  <a:lnTo>
                    <a:pt x="1733" y="138"/>
                  </a:lnTo>
                  <a:lnTo>
                    <a:pt x="1733" y="221"/>
                  </a:lnTo>
                  <a:lnTo>
                    <a:pt x="1698" y="221"/>
                  </a:lnTo>
                  <a:lnTo>
                    <a:pt x="1698" y="2"/>
                  </a:lnTo>
                  <a:lnTo>
                    <a:pt x="1749" y="2"/>
                  </a:lnTo>
                  <a:lnTo>
                    <a:pt x="1755" y="2"/>
                  </a:lnTo>
                  <a:lnTo>
                    <a:pt x="1762" y="3"/>
                  </a:lnTo>
                  <a:lnTo>
                    <a:pt x="1767" y="4"/>
                  </a:lnTo>
                  <a:lnTo>
                    <a:pt x="1771" y="5"/>
                  </a:lnTo>
                  <a:lnTo>
                    <a:pt x="1776" y="7"/>
                  </a:lnTo>
                  <a:lnTo>
                    <a:pt x="1781" y="9"/>
                  </a:lnTo>
                  <a:lnTo>
                    <a:pt x="1784" y="12"/>
                  </a:lnTo>
                  <a:lnTo>
                    <a:pt x="1788" y="15"/>
                  </a:lnTo>
                  <a:lnTo>
                    <a:pt x="1790" y="20"/>
                  </a:lnTo>
                  <a:lnTo>
                    <a:pt x="1793" y="23"/>
                  </a:lnTo>
                  <a:lnTo>
                    <a:pt x="1795" y="28"/>
                  </a:lnTo>
                  <a:lnTo>
                    <a:pt x="1798" y="32"/>
                  </a:lnTo>
                  <a:lnTo>
                    <a:pt x="1799" y="38"/>
                  </a:lnTo>
                  <a:lnTo>
                    <a:pt x="1800" y="43"/>
                  </a:lnTo>
                  <a:lnTo>
                    <a:pt x="1801" y="49"/>
                  </a:lnTo>
                  <a:lnTo>
                    <a:pt x="1801" y="56"/>
                  </a:lnTo>
                  <a:close/>
                  <a:moveTo>
                    <a:pt x="1599" y="2"/>
                  </a:moveTo>
                  <a:lnTo>
                    <a:pt x="1599" y="171"/>
                  </a:lnTo>
                  <a:lnTo>
                    <a:pt x="1599" y="176"/>
                  </a:lnTo>
                  <a:lnTo>
                    <a:pt x="1600" y="180"/>
                  </a:lnTo>
                  <a:lnTo>
                    <a:pt x="1601" y="183"/>
                  </a:lnTo>
                  <a:lnTo>
                    <a:pt x="1602" y="185"/>
                  </a:lnTo>
                  <a:lnTo>
                    <a:pt x="1604" y="188"/>
                  </a:lnTo>
                  <a:lnTo>
                    <a:pt x="1606" y="190"/>
                  </a:lnTo>
                  <a:lnTo>
                    <a:pt x="1609" y="191"/>
                  </a:lnTo>
                  <a:lnTo>
                    <a:pt x="1612" y="192"/>
                  </a:lnTo>
                  <a:lnTo>
                    <a:pt x="1617" y="192"/>
                  </a:lnTo>
                  <a:lnTo>
                    <a:pt x="1621" y="192"/>
                  </a:lnTo>
                  <a:lnTo>
                    <a:pt x="1624" y="191"/>
                  </a:lnTo>
                  <a:lnTo>
                    <a:pt x="1627" y="190"/>
                  </a:lnTo>
                  <a:lnTo>
                    <a:pt x="1629" y="188"/>
                  </a:lnTo>
                  <a:lnTo>
                    <a:pt x="1631" y="185"/>
                  </a:lnTo>
                  <a:lnTo>
                    <a:pt x="1634" y="180"/>
                  </a:lnTo>
                  <a:lnTo>
                    <a:pt x="1634" y="176"/>
                  </a:lnTo>
                  <a:lnTo>
                    <a:pt x="1635" y="171"/>
                  </a:lnTo>
                  <a:lnTo>
                    <a:pt x="1635" y="2"/>
                  </a:lnTo>
                  <a:lnTo>
                    <a:pt x="1667" y="2"/>
                  </a:lnTo>
                  <a:lnTo>
                    <a:pt x="1667" y="169"/>
                  </a:lnTo>
                  <a:lnTo>
                    <a:pt x="1666" y="175"/>
                  </a:lnTo>
                  <a:lnTo>
                    <a:pt x="1666" y="181"/>
                  </a:lnTo>
                  <a:lnTo>
                    <a:pt x="1665" y="187"/>
                  </a:lnTo>
                  <a:lnTo>
                    <a:pt x="1663" y="192"/>
                  </a:lnTo>
                  <a:lnTo>
                    <a:pt x="1662" y="197"/>
                  </a:lnTo>
                  <a:lnTo>
                    <a:pt x="1660" y="202"/>
                  </a:lnTo>
                  <a:lnTo>
                    <a:pt x="1657" y="206"/>
                  </a:lnTo>
                  <a:lnTo>
                    <a:pt x="1654" y="209"/>
                  </a:lnTo>
                  <a:lnTo>
                    <a:pt x="1651" y="212"/>
                  </a:lnTo>
                  <a:lnTo>
                    <a:pt x="1646" y="215"/>
                  </a:lnTo>
                  <a:lnTo>
                    <a:pt x="1644" y="216"/>
                  </a:lnTo>
                  <a:lnTo>
                    <a:pt x="1642" y="218"/>
                  </a:lnTo>
                  <a:lnTo>
                    <a:pt x="1638" y="220"/>
                  </a:lnTo>
                  <a:lnTo>
                    <a:pt x="1633" y="222"/>
                  </a:lnTo>
                  <a:lnTo>
                    <a:pt x="1627" y="223"/>
                  </a:lnTo>
                  <a:lnTo>
                    <a:pt x="1622" y="224"/>
                  </a:lnTo>
                  <a:lnTo>
                    <a:pt x="1616" y="224"/>
                  </a:lnTo>
                  <a:lnTo>
                    <a:pt x="1609" y="224"/>
                  </a:lnTo>
                  <a:lnTo>
                    <a:pt x="1604" y="223"/>
                  </a:lnTo>
                  <a:lnTo>
                    <a:pt x="1599" y="222"/>
                  </a:lnTo>
                  <a:lnTo>
                    <a:pt x="1593" y="220"/>
                  </a:lnTo>
                  <a:lnTo>
                    <a:pt x="1589" y="218"/>
                  </a:lnTo>
                  <a:lnTo>
                    <a:pt x="1585" y="215"/>
                  </a:lnTo>
                  <a:lnTo>
                    <a:pt x="1581" y="212"/>
                  </a:lnTo>
                  <a:lnTo>
                    <a:pt x="1578" y="209"/>
                  </a:lnTo>
                  <a:lnTo>
                    <a:pt x="1574" y="206"/>
                  </a:lnTo>
                  <a:lnTo>
                    <a:pt x="1571" y="202"/>
                  </a:lnTo>
                  <a:lnTo>
                    <a:pt x="1569" y="197"/>
                  </a:lnTo>
                  <a:lnTo>
                    <a:pt x="1567" y="192"/>
                  </a:lnTo>
                  <a:lnTo>
                    <a:pt x="1566" y="187"/>
                  </a:lnTo>
                  <a:lnTo>
                    <a:pt x="1565" y="181"/>
                  </a:lnTo>
                  <a:lnTo>
                    <a:pt x="1565" y="175"/>
                  </a:lnTo>
                  <a:lnTo>
                    <a:pt x="1564" y="169"/>
                  </a:lnTo>
                  <a:lnTo>
                    <a:pt x="1564" y="2"/>
                  </a:lnTo>
                  <a:lnTo>
                    <a:pt x="1599" y="2"/>
                  </a:lnTo>
                  <a:close/>
                  <a:moveTo>
                    <a:pt x="1463" y="152"/>
                  </a:moveTo>
                  <a:lnTo>
                    <a:pt x="1496" y="152"/>
                  </a:lnTo>
                  <a:lnTo>
                    <a:pt x="1480" y="41"/>
                  </a:lnTo>
                  <a:lnTo>
                    <a:pt x="1463" y="152"/>
                  </a:lnTo>
                  <a:close/>
                  <a:moveTo>
                    <a:pt x="1542" y="221"/>
                  </a:moveTo>
                  <a:lnTo>
                    <a:pt x="1508" y="221"/>
                  </a:lnTo>
                  <a:lnTo>
                    <a:pt x="1501" y="181"/>
                  </a:lnTo>
                  <a:lnTo>
                    <a:pt x="1459" y="181"/>
                  </a:lnTo>
                  <a:lnTo>
                    <a:pt x="1453" y="221"/>
                  </a:lnTo>
                  <a:lnTo>
                    <a:pt x="1421" y="221"/>
                  </a:lnTo>
                  <a:lnTo>
                    <a:pt x="1457" y="2"/>
                  </a:lnTo>
                  <a:lnTo>
                    <a:pt x="1507" y="2"/>
                  </a:lnTo>
                  <a:lnTo>
                    <a:pt x="1542" y="221"/>
                  </a:lnTo>
                  <a:close/>
                  <a:moveTo>
                    <a:pt x="1339" y="134"/>
                  </a:moveTo>
                  <a:lnTo>
                    <a:pt x="1328" y="154"/>
                  </a:lnTo>
                  <a:lnTo>
                    <a:pt x="1328" y="221"/>
                  </a:lnTo>
                  <a:lnTo>
                    <a:pt x="1293" y="221"/>
                  </a:lnTo>
                  <a:lnTo>
                    <a:pt x="1293" y="2"/>
                  </a:lnTo>
                  <a:lnTo>
                    <a:pt x="1328" y="2"/>
                  </a:lnTo>
                  <a:lnTo>
                    <a:pt x="1328" y="97"/>
                  </a:lnTo>
                  <a:lnTo>
                    <a:pt x="1372" y="2"/>
                  </a:lnTo>
                  <a:lnTo>
                    <a:pt x="1407" y="2"/>
                  </a:lnTo>
                  <a:lnTo>
                    <a:pt x="1359" y="99"/>
                  </a:lnTo>
                  <a:lnTo>
                    <a:pt x="1407" y="221"/>
                  </a:lnTo>
                  <a:lnTo>
                    <a:pt x="1371" y="221"/>
                  </a:lnTo>
                  <a:lnTo>
                    <a:pt x="1339" y="134"/>
                  </a:lnTo>
                  <a:close/>
                  <a:moveTo>
                    <a:pt x="1204" y="94"/>
                  </a:moveTo>
                  <a:lnTo>
                    <a:pt x="1252" y="94"/>
                  </a:lnTo>
                  <a:lnTo>
                    <a:pt x="1252" y="125"/>
                  </a:lnTo>
                  <a:lnTo>
                    <a:pt x="1204" y="125"/>
                  </a:lnTo>
                  <a:lnTo>
                    <a:pt x="1204" y="190"/>
                  </a:lnTo>
                  <a:lnTo>
                    <a:pt x="1263" y="190"/>
                  </a:lnTo>
                  <a:lnTo>
                    <a:pt x="1263" y="221"/>
                  </a:lnTo>
                  <a:lnTo>
                    <a:pt x="1170" y="221"/>
                  </a:lnTo>
                  <a:lnTo>
                    <a:pt x="1170" y="2"/>
                  </a:lnTo>
                  <a:lnTo>
                    <a:pt x="1263" y="2"/>
                  </a:lnTo>
                  <a:lnTo>
                    <a:pt x="1263" y="33"/>
                  </a:lnTo>
                  <a:lnTo>
                    <a:pt x="1204" y="33"/>
                  </a:lnTo>
                  <a:lnTo>
                    <a:pt x="1204" y="94"/>
                  </a:lnTo>
                  <a:close/>
                  <a:moveTo>
                    <a:pt x="1077" y="134"/>
                  </a:moveTo>
                  <a:lnTo>
                    <a:pt x="1067" y="154"/>
                  </a:lnTo>
                  <a:lnTo>
                    <a:pt x="1067" y="221"/>
                  </a:lnTo>
                  <a:lnTo>
                    <a:pt x="1033" y="221"/>
                  </a:lnTo>
                  <a:lnTo>
                    <a:pt x="1033" y="2"/>
                  </a:lnTo>
                  <a:lnTo>
                    <a:pt x="1067" y="2"/>
                  </a:lnTo>
                  <a:lnTo>
                    <a:pt x="1067" y="97"/>
                  </a:lnTo>
                  <a:lnTo>
                    <a:pt x="1112" y="2"/>
                  </a:lnTo>
                  <a:lnTo>
                    <a:pt x="1146" y="2"/>
                  </a:lnTo>
                  <a:lnTo>
                    <a:pt x="1098" y="99"/>
                  </a:lnTo>
                  <a:lnTo>
                    <a:pt x="1146" y="221"/>
                  </a:lnTo>
                  <a:lnTo>
                    <a:pt x="1111" y="221"/>
                  </a:lnTo>
                  <a:lnTo>
                    <a:pt x="1077" y="134"/>
                  </a:lnTo>
                  <a:close/>
                  <a:moveTo>
                    <a:pt x="965" y="2"/>
                  </a:moveTo>
                  <a:lnTo>
                    <a:pt x="999" y="2"/>
                  </a:lnTo>
                  <a:lnTo>
                    <a:pt x="999" y="221"/>
                  </a:lnTo>
                  <a:lnTo>
                    <a:pt x="965" y="221"/>
                  </a:lnTo>
                  <a:lnTo>
                    <a:pt x="965" y="2"/>
                  </a:lnTo>
                  <a:close/>
                  <a:moveTo>
                    <a:pt x="898" y="2"/>
                  </a:moveTo>
                  <a:lnTo>
                    <a:pt x="932" y="2"/>
                  </a:lnTo>
                  <a:lnTo>
                    <a:pt x="932" y="221"/>
                  </a:lnTo>
                  <a:lnTo>
                    <a:pt x="898" y="221"/>
                  </a:lnTo>
                  <a:lnTo>
                    <a:pt x="898" y="2"/>
                  </a:lnTo>
                  <a:close/>
                  <a:moveTo>
                    <a:pt x="783" y="2"/>
                  </a:moveTo>
                  <a:lnTo>
                    <a:pt x="818" y="2"/>
                  </a:lnTo>
                  <a:lnTo>
                    <a:pt x="818" y="190"/>
                  </a:lnTo>
                  <a:lnTo>
                    <a:pt x="875" y="190"/>
                  </a:lnTo>
                  <a:lnTo>
                    <a:pt x="875" y="221"/>
                  </a:lnTo>
                  <a:lnTo>
                    <a:pt x="783" y="221"/>
                  </a:lnTo>
                  <a:lnTo>
                    <a:pt x="783" y="2"/>
                  </a:lnTo>
                  <a:close/>
                  <a:moveTo>
                    <a:pt x="705" y="0"/>
                  </a:moveTo>
                  <a:lnTo>
                    <a:pt x="711" y="0"/>
                  </a:lnTo>
                  <a:lnTo>
                    <a:pt x="717" y="0"/>
                  </a:lnTo>
                  <a:lnTo>
                    <a:pt x="722" y="1"/>
                  </a:lnTo>
                  <a:lnTo>
                    <a:pt x="727" y="3"/>
                  </a:lnTo>
                  <a:lnTo>
                    <a:pt x="732" y="5"/>
                  </a:lnTo>
                  <a:lnTo>
                    <a:pt x="736" y="7"/>
                  </a:lnTo>
                  <a:lnTo>
                    <a:pt x="740" y="10"/>
                  </a:lnTo>
                  <a:lnTo>
                    <a:pt x="743" y="13"/>
                  </a:lnTo>
                  <a:lnTo>
                    <a:pt x="746" y="18"/>
                  </a:lnTo>
                  <a:lnTo>
                    <a:pt x="748" y="22"/>
                  </a:lnTo>
                  <a:lnTo>
                    <a:pt x="751" y="26"/>
                  </a:lnTo>
                  <a:lnTo>
                    <a:pt x="753" y="31"/>
                  </a:lnTo>
                  <a:lnTo>
                    <a:pt x="754" y="37"/>
                  </a:lnTo>
                  <a:lnTo>
                    <a:pt x="755" y="42"/>
                  </a:lnTo>
                  <a:lnTo>
                    <a:pt x="756" y="48"/>
                  </a:lnTo>
                  <a:lnTo>
                    <a:pt x="756" y="55"/>
                  </a:lnTo>
                  <a:lnTo>
                    <a:pt x="756" y="61"/>
                  </a:lnTo>
                  <a:lnTo>
                    <a:pt x="723" y="61"/>
                  </a:lnTo>
                  <a:lnTo>
                    <a:pt x="723" y="52"/>
                  </a:lnTo>
                  <a:lnTo>
                    <a:pt x="723" y="46"/>
                  </a:lnTo>
                  <a:lnTo>
                    <a:pt x="722" y="42"/>
                  </a:lnTo>
                  <a:lnTo>
                    <a:pt x="721" y="39"/>
                  </a:lnTo>
                  <a:lnTo>
                    <a:pt x="719" y="36"/>
                  </a:lnTo>
                  <a:lnTo>
                    <a:pt x="717" y="33"/>
                  </a:lnTo>
                  <a:lnTo>
                    <a:pt x="714" y="31"/>
                  </a:lnTo>
                  <a:lnTo>
                    <a:pt x="710" y="30"/>
                  </a:lnTo>
                  <a:lnTo>
                    <a:pt x="706" y="30"/>
                  </a:lnTo>
                  <a:lnTo>
                    <a:pt x="702" y="30"/>
                  </a:lnTo>
                  <a:lnTo>
                    <a:pt x="699" y="31"/>
                  </a:lnTo>
                  <a:lnTo>
                    <a:pt x="698" y="32"/>
                  </a:lnTo>
                  <a:lnTo>
                    <a:pt x="696" y="33"/>
                  </a:lnTo>
                  <a:lnTo>
                    <a:pt x="693" y="36"/>
                  </a:lnTo>
                  <a:lnTo>
                    <a:pt x="691" y="39"/>
                  </a:lnTo>
                  <a:lnTo>
                    <a:pt x="690" y="42"/>
                  </a:lnTo>
                  <a:lnTo>
                    <a:pt x="689" y="46"/>
                  </a:lnTo>
                  <a:lnTo>
                    <a:pt x="689" y="52"/>
                  </a:lnTo>
                  <a:lnTo>
                    <a:pt x="689" y="56"/>
                  </a:lnTo>
                  <a:lnTo>
                    <a:pt x="689" y="60"/>
                  </a:lnTo>
                  <a:lnTo>
                    <a:pt x="691" y="67"/>
                  </a:lnTo>
                  <a:lnTo>
                    <a:pt x="693" y="70"/>
                  </a:lnTo>
                  <a:lnTo>
                    <a:pt x="696" y="74"/>
                  </a:lnTo>
                  <a:lnTo>
                    <a:pt x="700" y="80"/>
                  </a:lnTo>
                  <a:lnTo>
                    <a:pt x="704" y="86"/>
                  </a:lnTo>
                  <a:lnTo>
                    <a:pt x="710" y="92"/>
                  </a:lnTo>
                  <a:lnTo>
                    <a:pt x="722" y="103"/>
                  </a:lnTo>
                  <a:lnTo>
                    <a:pt x="735" y="116"/>
                  </a:lnTo>
                  <a:lnTo>
                    <a:pt x="741" y="122"/>
                  </a:lnTo>
                  <a:lnTo>
                    <a:pt x="745" y="130"/>
                  </a:lnTo>
                  <a:lnTo>
                    <a:pt x="750" y="138"/>
                  </a:lnTo>
                  <a:lnTo>
                    <a:pt x="754" y="148"/>
                  </a:lnTo>
                  <a:lnTo>
                    <a:pt x="756" y="157"/>
                  </a:lnTo>
                  <a:lnTo>
                    <a:pt x="756" y="162"/>
                  </a:lnTo>
                  <a:lnTo>
                    <a:pt x="756" y="168"/>
                  </a:lnTo>
                  <a:lnTo>
                    <a:pt x="756" y="175"/>
                  </a:lnTo>
                  <a:lnTo>
                    <a:pt x="756" y="180"/>
                  </a:lnTo>
                  <a:lnTo>
                    <a:pt x="755" y="187"/>
                  </a:lnTo>
                  <a:lnTo>
                    <a:pt x="753" y="192"/>
                  </a:lnTo>
                  <a:lnTo>
                    <a:pt x="752" y="196"/>
                  </a:lnTo>
                  <a:lnTo>
                    <a:pt x="748" y="202"/>
                  </a:lnTo>
                  <a:lnTo>
                    <a:pt x="746" y="205"/>
                  </a:lnTo>
                  <a:lnTo>
                    <a:pt x="743" y="209"/>
                  </a:lnTo>
                  <a:lnTo>
                    <a:pt x="740" y="212"/>
                  </a:lnTo>
                  <a:lnTo>
                    <a:pt x="736" y="215"/>
                  </a:lnTo>
                  <a:lnTo>
                    <a:pt x="734" y="216"/>
                  </a:lnTo>
                  <a:lnTo>
                    <a:pt x="732" y="217"/>
                  </a:lnTo>
                  <a:lnTo>
                    <a:pt x="727" y="220"/>
                  </a:lnTo>
                  <a:lnTo>
                    <a:pt x="722" y="222"/>
                  </a:lnTo>
                  <a:lnTo>
                    <a:pt x="717" y="223"/>
                  </a:lnTo>
                  <a:lnTo>
                    <a:pt x="711" y="223"/>
                  </a:lnTo>
                  <a:lnTo>
                    <a:pt x="705" y="224"/>
                  </a:lnTo>
                  <a:lnTo>
                    <a:pt x="699" y="223"/>
                  </a:lnTo>
                  <a:lnTo>
                    <a:pt x="692" y="223"/>
                  </a:lnTo>
                  <a:lnTo>
                    <a:pt x="687" y="222"/>
                  </a:lnTo>
                  <a:lnTo>
                    <a:pt x="683" y="220"/>
                  </a:lnTo>
                  <a:lnTo>
                    <a:pt x="678" y="217"/>
                  </a:lnTo>
                  <a:lnTo>
                    <a:pt x="673" y="215"/>
                  </a:lnTo>
                  <a:lnTo>
                    <a:pt x="670" y="212"/>
                  </a:lnTo>
                  <a:lnTo>
                    <a:pt x="666" y="209"/>
                  </a:lnTo>
                  <a:lnTo>
                    <a:pt x="664" y="205"/>
                  </a:lnTo>
                  <a:lnTo>
                    <a:pt x="661" y="202"/>
                  </a:lnTo>
                  <a:lnTo>
                    <a:pt x="659" y="196"/>
                  </a:lnTo>
                  <a:lnTo>
                    <a:pt x="656" y="192"/>
                  </a:lnTo>
                  <a:lnTo>
                    <a:pt x="655" y="187"/>
                  </a:lnTo>
                  <a:lnTo>
                    <a:pt x="654" y="180"/>
                  </a:lnTo>
                  <a:lnTo>
                    <a:pt x="653" y="175"/>
                  </a:lnTo>
                  <a:lnTo>
                    <a:pt x="653" y="168"/>
                  </a:lnTo>
                  <a:lnTo>
                    <a:pt x="653" y="155"/>
                  </a:lnTo>
                  <a:lnTo>
                    <a:pt x="686" y="155"/>
                  </a:lnTo>
                  <a:lnTo>
                    <a:pt x="686" y="171"/>
                  </a:lnTo>
                  <a:lnTo>
                    <a:pt x="686" y="176"/>
                  </a:lnTo>
                  <a:lnTo>
                    <a:pt x="687" y="180"/>
                  </a:lnTo>
                  <a:lnTo>
                    <a:pt x="688" y="183"/>
                  </a:lnTo>
                  <a:lnTo>
                    <a:pt x="689" y="184"/>
                  </a:lnTo>
                  <a:lnTo>
                    <a:pt x="691" y="187"/>
                  </a:lnTo>
                  <a:lnTo>
                    <a:pt x="693" y="189"/>
                  </a:lnTo>
                  <a:lnTo>
                    <a:pt x="697" y="191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08" y="191"/>
                  </a:lnTo>
                  <a:lnTo>
                    <a:pt x="711" y="191"/>
                  </a:lnTo>
                  <a:lnTo>
                    <a:pt x="715" y="189"/>
                  </a:lnTo>
                  <a:lnTo>
                    <a:pt x="717" y="187"/>
                  </a:lnTo>
                  <a:lnTo>
                    <a:pt x="719" y="184"/>
                  </a:lnTo>
                  <a:lnTo>
                    <a:pt x="721" y="180"/>
                  </a:lnTo>
                  <a:lnTo>
                    <a:pt x="721" y="176"/>
                  </a:lnTo>
                  <a:lnTo>
                    <a:pt x="722" y="171"/>
                  </a:lnTo>
                  <a:lnTo>
                    <a:pt x="722" y="167"/>
                  </a:lnTo>
                  <a:lnTo>
                    <a:pt x="721" y="162"/>
                  </a:lnTo>
                  <a:lnTo>
                    <a:pt x="719" y="155"/>
                  </a:lnTo>
                  <a:lnTo>
                    <a:pt x="718" y="152"/>
                  </a:lnTo>
                  <a:lnTo>
                    <a:pt x="716" y="149"/>
                  </a:lnTo>
                  <a:lnTo>
                    <a:pt x="711" y="142"/>
                  </a:lnTo>
                  <a:lnTo>
                    <a:pt x="706" y="136"/>
                  </a:lnTo>
                  <a:lnTo>
                    <a:pt x="701" y="131"/>
                  </a:lnTo>
                  <a:lnTo>
                    <a:pt x="688" y="119"/>
                  </a:lnTo>
                  <a:lnTo>
                    <a:pt x="675" y="106"/>
                  </a:lnTo>
                  <a:lnTo>
                    <a:pt x="670" y="100"/>
                  </a:lnTo>
                  <a:lnTo>
                    <a:pt x="665" y="93"/>
                  </a:lnTo>
                  <a:lnTo>
                    <a:pt x="661" y="84"/>
                  </a:lnTo>
                  <a:lnTo>
                    <a:pt x="658" y="76"/>
                  </a:lnTo>
                  <a:lnTo>
                    <a:pt x="655" y="65"/>
                  </a:lnTo>
                  <a:lnTo>
                    <a:pt x="654" y="60"/>
                  </a:lnTo>
                  <a:lnTo>
                    <a:pt x="654" y="55"/>
                  </a:lnTo>
                  <a:lnTo>
                    <a:pt x="654" y="48"/>
                  </a:lnTo>
                  <a:lnTo>
                    <a:pt x="655" y="42"/>
                  </a:lnTo>
                  <a:lnTo>
                    <a:pt x="656" y="37"/>
                  </a:lnTo>
                  <a:lnTo>
                    <a:pt x="658" y="31"/>
                  </a:lnTo>
                  <a:lnTo>
                    <a:pt x="660" y="26"/>
                  </a:lnTo>
                  <a:lnTo>
                    <a:pt x="662" y="22"/>
                  </a:lnTo>
                  <a:lnTo>
                    <a:pt x="664" y="18"/>
                  </a:lnTo>
                  <a:lnTo>
                    <a:pt x="667" y="13"/>
                  </a:lnTo>
                  <a:lnTo>
                    <a:pt x="670" y="10"/>
                  </a:lnTo>
                  <a:lnTo>
                    <a:pt x="674" y="7"/>
                  </a:lnTo>
                  <a:lnTo>
                    <a:pt x="677" y="6"/>
                  </a:lnTo>
                  <a:lnTo>
                    <a:pt x="679" y="5"/>
                  </a:lnTo>
                  <a:lnTo>
                    <a:pt x="683" y="3"/>
                  </a:lnTo>
                  <a:lnTo>
                    <a:pt x="688" y="1"/>
                  </a:lnTo>
                  <a:lnTo>
                    <a:pt x="693" y="0"/>
                  </a:lnTo>
                  <a:lnTo>
                    <a:pt x="699" y="0"/>
                  </a:lnTo>
                  <a:lnTo>
                    <a:pt x="705" y="0"/>
                  </a:lnTo>
                  <a:close/>
                  <a:moveTo>
                    <a:pt x="592" y="2"/>
                  </a:moveTo>
                  <a:lnTo>
                    <a:pt x="626" y="2"/>
                  </a:lnTo>
                  <a:lnTo>
                    <a:pt x="626" y="221"/>
                  </a:lnTo>
                  <a:lnTo>
                    <a:pt x="592" y="221"/>
                  </a:lnTo>
                  <a:lnTo>
                    <a:pt x="592" y="2"/>
                  </a:lnTo>
                  <a:close/>
                  <a:moveTo>
                    <a:pt x="491" y="171"/>
                  </a:moveTo>
                  <a:lnTo>
                    <a:pt x="491" y="176"/>
                  </a:lnTo>
                  <a:lnTo>
                    <a:pt x="493" y="180"/>
                  </a:lnTo>
                  <a:lnTo>
                    <a:pt x="494" y="183"/>
                  </a:lnTo>
                  <a:lnTo>
                    <a:pt x="494" y="185"/>
                  </a:lnTo>
                  <a:lnTo>
                    <a:pt x="496" y="187"/>
                  </a:lnTo>
                  <a:lnTo>
                    <a:pt x="499" y="189"/>
                  </a:lnTo>
                  <a:lnTo>
                    <a:pt x="502" y="191"/>
                  </a:lnTo>
                  <a:lnTo>
                    <a:pt x="505" y="192"/>
                  </a:lnTo>
                  <a:lnTo>
                    <a:pt x="509" y="192"/>
                  </a:lnTo>
                  <a:lnTo>
                    <a:pt x="513" y="192"/>
                  </a:lnTo>
                  <a:lnTo>
                    <a:pt x="517" y="191"/>
                  </a:lnTo>
                  <a:lnTo>
                    <a:pt x="520" y="189"/>
                  </a:lnTo>
                  <a:lnTo>
                    <a:pt x="522" y="187"/>
                  </a:lnTo>
                  <a:lnTo>
                    <a:pt x="524" y="185"/>
                  </a:lnTo>
                  <a:lnTo>
                    <a:pt x="525" y="180"/>
                  </a:lnTo>
                  <a:lnTo>
                    <a:pt x="526" y="176"/>
                  </a:lnTo>
                  <a:lnTo>
                    <a:pt x="527" y="171"/>
                  </a:lnTo>
                  <a:lnTo>
                    <a:pt x="527" y="52"/>
                  </a:lnTo>
                  <a:lnTo>
                    <a:pt x="526" y="46"/>
                  </a:lnTo>
                  <a:lnTo>
                    <a:pt x="525" y="42"/>
                  </a:lnTo>
                  <a:lnTo>
                    <a:pt x="525" y="40"/>
                  </a:lnTo>
                  <a:lnTo>
                    <a:pt x="524" y="39"/>
                  </a:lnTo>
                  <a:lnTo>
                    <a:pt x="522" y="36"/>
                  </a:lnTo>
                  <a:lnTo>
                    <a:pt x="520" y="33"/>
                  </a:lnTo>
                  <a:lnTo>
                    <a:pt x="517" y="31"/>
                  </a:lnTo>
                  <a:lnTo>
                    <a:pt x="513" y="30"/>
                  </a:lnTo>
                  <a:lnTo>
                    <a:pt x="509" y="30"/>
                  </a:lnTo>
                  <a:lnTo>
                    <a:pt x="505" y="30"/>
                  </a:lnTo>
                  <a:lnTo>
                    <a:pt x="502" y="31"/>
                  </a:lnTo>
                  <a:lnTo>
                    <a:pt x="499" y="33"/>
                  </a:lnTo>
                  <a:lnTo>
                    <a:pt x="496" y="36"/>
                  </a:lnTo>
                  <a:lnTo>
                    <a:pt x="494" y="39"/>
                  </a:lnTo>
                  <a:lnTo>
                    <a:pt x="493" y="42"/>
                  </a:lnTo>
                  <a:lnTo>
                    <a:pt x="491" y="46"/>
                  </a:lnTo>
                  <a:lnTo>
                    <a:pt x="491" y="52"/>
                  </a:lnTo>
                  <a:lnTo>
                    <a:pt x="491" y="171"/>
                  </a:lnTo>
                  <a:close/>
                  <a:moveTo>
                    <a:pt x="457" y="55"/>
                  </a:moveTo>
                  <a:lnTo>
                    <a:pt x="457" y="48"/>
                  </a:lnTo>
                  <a:lnTo>
                    <a:pt x="458" y="42"/>
                  </a:lnTo>
                  <a:lnTo>
                    <a:pt x="459" y="37"/>
                  </a:lnTo>
                  <a:lnTo>
                    <a:pt x="460" y="33"/>
                  </a:lnTo>
                  <a:lnTo>
                    <a:pt x="460" y="31"/>
                  </a:lnTo>
                  <a:lnTo>
                    <a:pt x="462" y="26"/>
                  </a:lnTo>
                  <a:lnTo>
                    <a:pt x="464" y="22"/>
                  </a:lnTo>
                  <a:lnTo>
                    <a:pt x="467" y="18"/>
                  </a:lnTo>
                  <a:lnTo>
                    <a:pt x="470" y="13"/>
                  </a:lnTo>
                  <a:lnTo>
                    <a:pt x="473" y="10"/>
                  </a:lnTo>
                  <a:lnTo>
                    <a:pt x="478" y="7"/>
                  </a:lnTo>
                  <a:lnTo>
                    <a:pt x="482" y="5"/>
                  </a:lnTo>
                  <a:lnTo>
                    <a:pt x="486" y="3"/>
                  </a:lnTo>
                  <a:lnTo>
                    <a:pt x="491" y="1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0"/>
                  </a:lnTo>
                  <a:lnTo>
                    <a:pt x="515" y="0"/>
                  </a:lnTo>
                  <a:lnTo>
                    <a:pt x="521" y="0"/>
                  </a:lnTo>
                  <a:lnTo>
                    <a:pt x="526" y="1"/>
                  </a:lnTo>
                  <a:lnTo>
                    <a:pt x="532" y="3"/>
                  </a:lnTo>
                  <a:lnTo>
                    <a:pt x="536" y="5"/>
                  </a:lnTo>
                  <a:lnTo>
                    <a:pt x="540" y="7"/>
                  </a:lnTo>
                  <a:lnTo>
                    <a:pt x="544" y="10"/>
                  </a:lnTo>
                  <a:lnTo>
                    <a:pt x="548" y="13"/>
                  </a:lnTo>
                  <a:lnTo>
                    <a:pt x="551" y="18"/>
                  </a:lnTo>
                  <a:lnTo>
                    <a:pt x="554" y="22"/>
                  </a:lnTo>
                  <a:lnTo>
                    <a:pt x="556" y="26"/>
                  </a:lnTo>
                  <a:lnTo>
                    <a:pt x="558" y="31"/>
                  </a:lnTo>
                  <a:lnTo>
                    <a:pt x="559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1" y="168"/>
                  </a:lnTo>
                  <a:lnTo>
                    <a:pt x="561" y="175"/>
                  </a:lnTo>
                  <a:lnTo>
                    <a:pt x="560" y="180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8" y="192"/>
                  </a:lnTo>
                  <a:lnTo>
                    <a:pt x="556" y="196"/>
                  </a:lnTo>
                  <a:lnTo>
                    <a:pt x="554" y="202"/>
                  </a:lnTo>
                  <a:lnTo>
                    <a:pt x="551" y="205"/>
                  </a:lnTo>
                  <a:lnTo>
                    <a:pt x="548" y="209"/>
                  </a:lnTo>
                  <a:lnTo>
                    <a:pt x="544" y="212"/>
                  </a:lnTo>
                  <a:lnTo>
                    <a:pt x="540" y="215"/>
                  </a:lnTo>
                  <a:lnTo>
                    <a:pt x="536" y="217"/>
                  </a:lnTo>
                  <a:lnTo>
                    <a:pt x="532" y="220"/>
                  </a:lnTo>
                  <a:lnTo>
                    <a:pt x="526" y="222"/>
                  </a:lnTo>
                  <a:lnTo>
                    <a:pt x="521" y="223"/>
                  </a:lnTo>
                  <a:lnTo>
                    <a:pt x="515" y="223"/>
                  </a:lnTo>
                  <a:lnTo>
                    <a:pt x="509" y="224"/>
                  </a:lnTo>
                  <a:lnTo>
                    <a:pt x="503" y="223"/>
                  </a:lnTo>
                  <a:lnTo>
                    <a:pt x="497" y="223"/>
                  </a:lnTo>
                  <a:lnTo>
                    <a:pt x="491" y="222"/>
                  </a:lnTo>
                  <a:lnTo>
                    <a:pt x="486" y="220"/>
                  </a:lnTo>
                  <a:lnTo>
                    <a:pt x="482" y="217"/>
                  </a:lnTo>
                  <a:lnTo>
                    <a:pt x="478" y="215"/>
                  </a:lnTo>
                  <a:lnTo>
                    <a:pt x="473" y="212"/>
                  </a:lnTo>
                  <a:lnTo>
                    <a:pt x="470" y="209"/>
                  </a:lnTo>
                  <a:lnTo>
                    <a:pt x="467" y="205"/>
                  </a:lnTo>
                  <a:lnTo>
                    <a:pt x="464" y="202"/>
                  </a:lnTo>
                  <a:lnTo>
                    <a:pt x="462" y="196"/>
                  </a:lnTo>
                  <a:lnTo>
                    <a:pt x="460" y="192"/>
                  </a:lnTo>
                  <a:lnTo>
                    <a:pt x="459" y="187"/>
                  </a:lnTo>
                  <a:lnTo>
                    <a:pt x="458" y="180"/>
                  </a:lnTo>
                  <a:lnTo>
                    <a:pt x="457" y="175"/>
                  </a:lnTo>
                  <a:lnTo>
                    <a:pt x="457" y="168"/>
                  </a:lnTo>
                  <a:lnTo>
                    <a:pt x="457" y="55"/>
                  </a:lnTo>
                  <a:close/>
                  <a:moveTo>
                    <a:pt x="370" y="134"/>
                  </a:moveTo>
                  <a:lnTo>
                    <a:pt x="359" y="154"/>
                  </a:lnTo>
                  <a:lnTo>
                    <a:pt x="359" y="221"/>
                  </a:lnTo>
                  <a:lnTo>
                    <a:pt x="324" y="221"/>
                  </a:lnTo>
                  <a:lnTo>
                    <a:pt x="324" y="2"/>
                  </a:lnTo>
                  <a:lnTo>
                    <a:pt x="359" y="2"/>
                  </a:lnTo>
                  <a:lnTo>
                    <a:pt x="359" y="97"/>
                  </a:lnTo>
                  <a:lnTo>
                    <a:pt x="404" y="2"/>
                  </a:lnTo>
                  <a:lnTo>
                    <a:pt x="439" y="2"/>
                  </a:lnTo>
                  <a:lnTo>
                    <a:pt x="390" y="99"/>
                  </a:lnTo>
                  <a:lnTo>
                    <a:pt x="439" y="221"/>
                  </a:lnTo>
                  <a:lnTo>
                    <a:pt x="403" y="221"/>
                  </a:lnTo>
                  <a:lnTo>
                    <a:pt x="370" y="134"/>
                  </a:lnTo>
                  <a:close/>
                  <a:moveTo>
                    <a:pt x="257" y="2"/>
                  </a:moveTo>
                  <a:lnTo>
                    <a:pt x="292" y="2"/>
                  </a:lnTo>
                  <a:lnTo>
                    <a:pt x="292" y="221"/>
                  </a:lnTo>
                  <a:lnTo>
                    <a:pt x="257" y="221"/>
                  </a:lnTo>
                  <a:lnTo>
                    <a:pt x="257" y="2"/>
                  </a:lnTo>
                  <a:close/>
                  <a:moveTo>
                    <a:pt x="157" y="33"/>
                  </a:moveTo>
                  <a:lnTo>
                    <a:pt x="15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9" y="99"/>
                  </a:lnTo>
                  <a:lnTo>
                    <a:pt x="184" y="98"/>
                  </a:lnTo>
                  <a:lnTo>
                    <a:pt x="185" y="97"/>
                  </a:lnTo>
                  <a:lnTo>
                    <a:pt x="186" y="95"/>
                  </a:lnTo>
                  <a:lnTo>
                    <a:pt x="189" y="93"/>
                  </a:lnTo>
                  <a:lnTo>
                    <a:pt x="190" y="88"/>
                  </a:lnTo>
                  <a:lnTo>
                    <a:pt x="191" y="83"/>
                  </a:lnTo>
                  <a:lnTo>
                    <a:pt x="192" y="77"/>
                  </a:lnTo>
                  <a:lnTo>
                    <a:pt x="192" y="56"/>
                  </a:lnTo>
                  <a:lnTo>
                    <a:pt x="191" y="50"/>
                  </a:lnTo>
                  <a:lnTo>
                    <a:pt x="191" y="45"/>
                  </a:lnTo>
                  <a:lnTo>
                    <a:pt x="189" y="42"/>
                  </a:lnTo>
                  <a:lnTo>
                    <a:pt x="188" y="39"/>
                  </a:lnTo>
                  <a:lnTo>
                    <a:pt x="185" y="36"/>
                  </a:lnTo>
                  <a:lnTo>
                    <a:pt x="184" y="34"/>
                  </a:lnTo>
                  <a:lnTo>
                    <a:pt x="183" y="34"/>
                  </a:lnTo>
                  <a:lnTo>
                    <a:pt x="178" y="33"/>
                  </a:lnTo>
                  <a:lnTo>
                    <a:pt x="174" y="33"/>
                  </a:lnTo>
                  <a:lnTo>
                    <a:pt x="157" y="33"/>
                  </a:lnTo>
                  <a:close/>
                  <a:moveTo>
                    <a:pt x="195" y="221"/>
                  </a:moveTo>
                  <a:lnTo>
                    <a:pt x="193" y="212"/>
                  </a:lnTo>
                  <a:lnTo>
                    <a:pt x="192" y="205"/>
                  </a:lnTo>
                  <a:lnTo>
                    <a:pt x="192" y="194"/>
                  </a:lnTo>
                  <a:lnTo>
                    <a:pt x="192" y="159"/>
                  </a:lnTo>
                  <a:lnTo>
                    <a:pt x="192" y="153"/>
                  </a:lnTo>
                  <a:lnTo>
                    <a:pt x="191" y="147"/>
                  </a:lnTo>
                  <a:lnTo>
                    <a:pt x="189" y="141"/>
                  </a:lnTo>
                  <a:lnTo>
                    <a:pt x="187" y="138"/>
                  </a:lnTo>
                  <a:lnTo>
                    <a:pt x="185" y="136"/>
                  </a:lnTo>
                  <a:lnTo>
                    <a:pt x="184" y="135"/>
                  </a:lnTo>
                  <a:lnTo>
                    <a:pt x="179" y="133"/>
                  </a:lnTo>
                  <a:lnTo>
                    <a:pt x="175" y="132"/>
                  </a:lnTo>
                  <a:lnTo>
                    <a:pt x="170" y="132"/>
                  </a:lnTo>
                  <a:lnTo>
                    <a:pt x="157" y="132"/>
                  </a:lnTo>
                  <a:lnTo>
                    <a:pt x="157" y="221"/>
                  </a:lnTo>
                  <a:lnTo>
                    <a:pt x="123" y="221"/>
                  </a:lnTo>
                  <a:lnTo>
                    <a:pt x="123" y="2"/>
                  </a:lnTo>
                  <a:lnTo>
                    <a:pt x="175" y="2"/>
                  </a:lnTo>
                  <a:lnTo>
                    <a:pt x="182" y="2"/>
                  </a:lnTo>
                  <a:lnTo>
                    <a:pt x="188" y="3"/>
                  </a:lnTo>
                  <a:lnTo>
                    <a:pt x="193" y="4"/>
                  </a:lnTo>
                  <a:lnTo>
                    <a:pt x="199" y="5"/>
                  </a:lnTo>
                  <a:lnTo>
                    <a:pt x="203" y="7"/>
                  </a:lnTo>
                  <a:lnTo>
                    <a:pt x="207" y="9"/>
                  </a:lnTo>
                  <a:lnTo>
                    <a:pt x="211" y="11"/>
                  </a:lnTo>
                  <a:lnTo>
                    <a:pt x="214" y="14"/>
                  </a:lnTo>
                  <a:lnTo>
                    <a:pt x="218" y="18"/>
                  </a:lnTo>
                  <a:lnTo>
                    <a:pt x="220" y="21"/>
                  </a:lnTo>
                  <a:lnTo>
                    <a:pt x="222" y="25"/>
                  </a:lnTo>
                  <a:lnTo>
                    <a:pt x="223" y="30"/>
                  </a:lnTo>
                  <a:lnTo>
                    <a:pt x="225" y="34"/>
                  </a:lnTo>
                  <a:lnTo>
                    <a:pt x="226" y="40"/>
                  </a:lnTo>
                  <a:lnTo>
                    <a:pt x="226" y="46"/>
                  </a:lnTo>
                  <a:lnTo>
                    <a:pt x="226" y="52"/>
                  </a:lnTo>
                  <a:lnTo>
                    <a:pt x="226" y="69"/>
                  </a:lnTo>
                  <a:lnTo>
                    <a:pt x="226" y="78"/>
                  </a:lnTo>
                  <a:lnTo>
                    <a:pt x="225" y="85"/>
                  </a:lnTo>
                  <a:lnTo>
                    <a:pt x="223" y="92"/>
                  </a:lnTo>
                  <a:lnTo>
                    <a:pt x="221" y="97"/>
                  </a:lnTo>
                  <a:lnTo>
                    <a:pt x="220" y="100"/>
                  </a:lnTo>
                  <a:lnTo>
                    <a:pt x="218" y="102"/>
                  </a:lnTo>
                  <a:lnTo>
                    <a:pt x="215" y="104"/>
                  </a:lnTo>
                  <a:lnTo>
                    <a:pt x="213" y="107"/>
                  </a:lnTo>
                  <a:lnTo>
                    <a:pt x="209" y="111"/>
                  </a:lnTo>
                  <a:lnTo>
                    <a:pt x="204" y="114"/>
                  </a:lnTo>
                  <a:lnTo>
                    <a:pt x="207" y="115"/>
                  </a:lnTo>
                  <a:lnTo>
                    <a:pt x="210" y="117"/>
                  </a:lnTo>
                  <a:lnTo>
                    <a:pt x="212" y="119"/>
                  </a:lnTo>
                  <a:lnTo>
                    <a:pt x="214" y="121"/>
                  </a:lnTo>
                  <a:lnTo>
                    <a:pt x="219" y="125"/>
                  </a:lnTo>
                  <a:lnTo>
                    <a:pt x="222" y="131"/>
                  </a:lnTo>
                  <a:lnTo>
                    <a:pt x="224" y="137"/>
                  </a:lnTo>
                  <a:lnTo>
                    <a:pt x="225" y="144"/>
                  </a:lnTo>
                  <a:lnTo>
                    <a:pt x="226" y="149"/>
                  </a:lnTo>
                  <a:lnTo>
                    <a:pt x="226" y="152"/>
                  </a:lnTo>
                  <a:lnTo>
                    <a:pt x="227" y="160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9"/>
                  </a:lnTo>
                  <a:lnTo>
                    <a:pt x="228" y="215"/>
                  </a:lnTo>
                  <a:lnTo>
                    <a:pt x="229" y="217"/>
                  </a:lnTo>
                  <a:lnTo>
                    <a:pt x="230" y="221"/>
                  </a:lnTo>
                  <a:lnTo>
                    <a:pt x="195" y="221"/>
                  </a:lnTo>
                  <a:close/>
                  <a:moveTo>
                    <a:pt x="35" y="94"/>
                  </a:moveTo>
                  <a:lnTo>
                    <a:pt x="82" y="94"/>
                  </a:lnTo>
                  <a:lnTo>
                    <a:pt x="82" y="125"/>
                  </a:lnTo>
                  <a:lnTo>
                    <a:pt x="35" y="125"/>
                  </a:lnTo>
                  <a:lnTo>
                    <a:pt x="35" y="190"/>
                  </a:lnTo>
                  <a:lnTo>
                    <a:pt x="94" y="190"/>
                  </a:lnTo>
                  <a:lnTo>
                    <a:pt x="94" y="221"/>
                  </a:lnTo>
                  <a:lnTo>
                    <a:pt x="0" y="221"/>
                  </a:lnTo>
                  <a:lnTo>
                    <a:pt x="0" y="2"/>
                  </a:lnTo>
                  <a:lnTo>
                    <a:pt x="94" y="2"/>
                  </a:lnTo>
                  <a:lnTo>
                    <a:pt x="94" y="33"/>
                  </a:lnTo>
                  <a:lnTo>
                    <a:pt x="35" y="33"/>
                  </a:lnTo>
                  <a:lnTo>
                    <a:pt x="35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26167140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5F41A9-831C-4DFA-BAE9-D688B15BC76D}" type="datetime1">
              <a:rPr lang="fi-FI" smtClean="0"/>
              <a:t>28.2.2018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8"/>
            <p:cNvSpPr>
              <a:spLocks noEditPoints="1"/>
            </p:cNvSpPr>
            <p:nvPr userDrawn="1"/>
          </p:nvSpPr>
          <p:spPr bwMode="auto">
            <a:xfrm>
              <a:off x="8873542" y="6476771"/>
              <a:ext cx="1942286" cy="211200"/>
            </a:xfrm>
            <a:custGeom>
              <a:avLst/>
              <a:gdLst>
                <a:gd name="T0" fmla="*/ 1940 w 2061"/>
                <a:gd name="T1" fmla="*/ 221 h 224"/>
                <a:gd name="T2" fmla="*/ 1890 w 2061"/>
                <a:gd name="T3" fmla="*/ 103 h 224"/>
                <a:gd name="T4" fmla="*/ 1886 w 2061"/>
                <a:gd name="T5" fmla="*/ 36 h 224"/>
                <a:gd name="T6" fmla="*/ 1924 w 2061"/>
                <a:gd name="T7" fmla="*/ 107 h 224"/>
                <a:gd name="T8" fmla="*/ 1888 w 2061"/>
                <a:gd name="T9" fmla="*/ 138 h 224"/>
                <a:gd name="T10" fmla="*/ 1894 w 2061"/>
                <a:gd name="T11" fmla="*/ 4 h 224"/>
                <a:gd name="T12" fmla="*/ 1927 w 2061"/>
                <a:gd name="T13" fmla="*/ 38 h 224"/>
                <a:gd name="T14" fmla="*/ 1762 w 2061"/>
                <a:gd name="T15" fmla="*/ 103 h 224"/>
                <a:gd name="T16" fmla="*/ 1759 w 2061"/>
                <a:gd name="T17" fmla="*/ 36 h 224"/>
                <a:gd name="T18" fmla="*/ 1798 w 2061"/>
                <a:gd name="T19" fmla="*/ 107 h 224"/>
                <a:gd name="T20" fmla="*/ 1762 w 2061"/>
                <a:gd name="T21" fmla="*/ 138 h 224"/>
                <a:gd name="T22" fmla="*/ 1767 w 2061"/>
                <a:gd name="T23" fmla="*/ 4 h 224"/>
                <a:gd name="T24" fmla="*/ 1799 w 2061"/>
                <a:gd name="T25" fmla="*/ 38 h 224"/>
                <a:gd name="T26" fmla="*/ 1604 w 2061"/>
                <a:gd name="T27" fmla="*/ 188 h 224"/>
                <a:gd name="T28" fmla="*/ 1634 w 2061"/>
                <a:gd name="T29" fmla="*/ 180 h 224"/>
                <a:gd name="T30" fmla="*/ 1662 w 2061"/>
                <a:gd name="T31" fmla="*/ 197 h 224"/>
                <a:gd name="T32" fmla="*/ 1627 w 2061"/>
                <a:gd name="T33" fmla="*/ 223 h 224"/>
                <a:gd name="T34" fmla="*/ 1578 w 2061"/>
                <a:gd name="T35" fmla="*/ 209 h 224"/>
                <a:gd name="T36" fmla="*/ 1599 w 2061"/>
                <a:gd name="T37" fmla="*/ 2 h 224"/>
                <a:gd name="T38" fmla="*/ 1421 w 2061"/>
                <a:gd name="T39" fmla="*/ 221 h 224"/>
                <a:gd name="T40" fmla="*/ 1328 w 2061"/>
                <a:gd name="T41" fmla="*/ 97 h 224"/>
                <a:gd name="T42" fmla="*/ 1204 w 2061"/>
                <a:gd name="T43" fmla="*/ 125 h 224"/>
                <a:gd name="T44" fmla="*/ 1077 w 2061"/>
                <a:gd name="T45" fmla="*/ 134 h 224"/>
                <a:gd name="T46" fmla="*/ 1146 w 2061"/>
                <a:gd name="T47" fmla="*/ 221 h 224"/>
                <a:gd name="T48" fmla="*/ 932 w 2061"/>
                <a:gd name="T49" fmla="*/ 221 h 224"/>
                <a:gd name="T50" fmla="*/ 705 w 2061"/>
                <a:gd name="T51" fmla="*/ 0 h 224"/>
                <a:gd name="T52" fmla="*/ 748 w 2061"/>
                <a:gd name="T53" fmla="*/ 22 h 224"/>
                <a:gd name="T54" fmla="*/ 723 w 2061"/>
                <a:gd name="T55" fmla="*/ 46 h 224"/>
                <a:gd name="T56" fmla="*/ 698 w 2061"/>
                <a:gd name="T57" fmla="*/ 32 h 224"/>
                <a:gd name="T58" fmla="*/ 693 w 2061"/>
                <a:gd name="T59" fmla="*/ 70 h 224"/>
                <a:gd name="T60" fmla="*/ 754 w 2061"/>
                <a:gd name="T61" fmla="*/ 148 h 224"/>
                <a:gd name="T62" fmla="*/ 746 w 2061"/>
                <a:gd name="T63" fmla="*/ 205 h 224"/>
                <a:gd name="T64" fmla="*/ 705 w 2061"/>
                <a:gd name="T65" fmla="*/ 224 h 224"/>
                <a:gd name="T66" fmla="*/ 661 w 2061"/>
                <a:gd name="T67" fmla="*/ 202 h 224"/>
                <a:gd name="T68" fmla="*/ 686 w 2061"/>
                <a:gd name="T69" fmla="*/ 176 h 224"/>
                <a:gd name="T70" fmla="*/ 711 w 2061"/>
                <a:gd name="T71" fmla="*/ 191 h 224"/>
                <a:gd name="T72" fmla="*/ 718 w 2061"/>
                <a:gd name="T73" fmla="*/ 152 h 224"/>
                <a:gd name="T74" fmla="*/ 658 w 2061"/>
                <a:gd name="T75" fmla="*/ 76 h 224"/>
                <a:gd name="T76" fmla="*/ 664 w 2061"/>
                <a:gd name="T77" fmla="*/ 18 h 224"/>
                <a:gd name="T78" fmla="*/ 705 w 2061"/>
                <a:gd name="T79" fmla="*/ 0 h 224"/>
                <a:gd name="T80" fmla="*/ 494 w 2061"/>
                <a:gd name="T81" fmla="*/ 185 h 224"/>
                <a:gd name="T82" fmla="*/ 524 w 2061"/>
                <a:gd name="T83" fmla="*/ 185 h 224"/>
                <a:gd name="T84" fmla="*/ 520 w 2061"/>
                <a:gd name="T85" fmla="*/ 33 h 224"/>
                <a:gd name="T86" fmla="*/ 491 w 2061"/>
                <a:gd name="T87" fmla="*/ 46 h 224"/>
                <a:gd name="T88" fmla="*/ 464 w 2061"/>
                <a:gd name="T89" fmla="*/ 22 h 224"/>
                <a:gd name="T90" fmla="*/ 509 w 2061"/>
                <a:gd name="T91" fmla="*/ 0 h 224"/>
                <a:gd name="T92" fmla="*/ 554 w 2061"/>
                <a:gd name="T93" fmla="*/ 22 h 224"/>
                <a:gd name="T94" fmla="*/ 559 w 2061"/>
                <a:gd name="T95" fmla="*/ 187 h 224"/>
                <a:gd name="T96" fmla="*/ 532 w 2061"/>
                <a:gd name="T97" fmla="*/ 220 h 224"/>
                <a:gd name="T98" fmla="*/ 478 w 2061"/>
                <a:gd name="T99" fmla="*/ 215 h 224"/>
                <a:gd name="T100" fmla="*/ 457 w 2061"/>
                <a:gd name="T101" fmla="*/ 168 h 224"/>
                <a:gd name="T102" fmla="*/ 439 w 2061"/>
                <a:gd name="T103" fmla="*/ 2 h 224"/>
                <a:gd name="T104" fmla="*/ 157 w 2061"/>
                <a:gd name="T105" fmla="*/ 33 h 224"/>
                <a:gd name="T106" fmla="*/ 191 w 2061"/>
                <a:gd name="T107" fmla="*/ 83 h 224"/>
                <a:gd name="T108" fmla="*/ 178 w 2061"/>
                <a:gd name="T109" fmla="*/ 33 h 224"/>
                <a:gd name="T110" fmla="*/ 189 w 2061"/>
                <a:gd name="T111" fmla="*/ 141 h 224"/>
                <a:gd name="T112" fmla="*/ 123 w 2061"/>
                <a:gd name="T113" fmla="*/ 2 h 224"/>
                <a:gd name="T114" fmla="*/ 218 w 2061"/>
                <a:gd name="T115" fmla="*/ 18 h 224"/>
                <a:gd name="T116" fmla="*/ 225 w 2061"/>
                <a:gd name="T117" fmla="*/ 85 h 224"/>
                <a:gd name="T118" fmla="*/ 210 w 2061"/>
                <a:gd name="T119" fmla="*/ 117 h 224"/>
                <a:gd name="T120" fmla="*/ 227 w 2061"/>
                <a:gd name="T121" fmla="*/ 194 h 224"/>
                <a:gd name="T122" fmla="*/ 35 w 2061"/>
                <a:gd name="T123" fmla="*/ 12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1" h="224">
                  <a:moveTo>
                    <a:pt x="1982" y="152"/>
                  </a:moveTo>
                  <a:lnTo>
                    <a:pt x="2015" y="152"/>
                  </a:lnTo>
                  <a:lnTo>
                    <a:pt x="1998" y="41"/>
                  </a:lnTo>
                  <a:lnTo>
                    <a:pt x="1982" y="152"/>
                  </a:lnTo>
                  <a:close/>
                  <a:moveTo>
                    <a:pt x="2061" y="221"/>
                  </a:moveTo>
                  <a:lnTo>
                    <a:pt x="2026" y="221"/>
                  </a:lnTo>
                  <a:lnTo>
                    <a:pt x="2020" y="181"/>
                  </a:lnTo>
                  <a:lnTo>
                    <a:pt x="1977" y="181"/>
                  </a:lnTo>
                  <a:lnTo>
                    <a:pt x="1972" y="221"/>
                  </a:lnTo>
                  <a:lnTo>
                    <a:pt x="1940" y="221"/>
                  </a:lnTo>
                  <a:lnTo>
                    <a:pt x="1975" y="2"/>
                  </a:lnTo>
                  <a:lnTo>
                    <a:pt x="2026" y="2"/>
                  </a:lnTo>
                  <a:lnTo>
                    <a:pt x="2061" y="221"/>
                  </a:lnTo>
                  <a:close/>
                  <a:moveTo>
                    <a:pt x="1860" y="33"/>
                  </a:moveTo>
                  <a:lnTo>
                    <a:pt x="1860" y="107"/>
                  </a:lnTo>
                  <a:lnTo>
                    <a:pt x="1877" y="107"/>
                  </a:lnTo>
                  <a:lnTo>
                    <a:pt x="1880" y="107"/>
                  </a:lnTo>
                  <a:lnTo>
                    <a:pt x="1884" y="106"/>
                  </a:lnTo>
                  <a:lnTo>
                    <a:pt x="1886" y="104"/>
                  </a:lnTo>
                  <a:lnTo>
                    <a:pt x="1890" y="103"/>
                  </a:lnTo>
                  <a:lnTo>
                    <a:pt x="1891" y="100"/>
                  </a:lnTo>
                  <a:lnTo>
                    <a:pt x="1893" y="96"/>
                  </a:lnTo>
                  <a:lnTo>
                    <a:pt x="1893" y="92"/>
                  </a:lnTo>
                  <a:lnTo>
                    <a:pt x="1894" y="86"/>
                  </a:lnTo>
                  <a:lnTo>
                    <a:pt x="1894" y="53"/>
                  </a:lnTo>
                  <a:lnTo>
                    <a:pt x="1893" y="48"/>
                  </a:lnTo>
                  <a:lnTo>
                    <a:pt x="1893" y="44"/>
                  </a:lnTo>
                  <a:lnTo>
                    <a:pt x="1891" y="40"/>
                  </a:lnTo>
                  <a:lnTo>
                    <a:pt x="1890" y="38"/>
                  </a:lnTo>
                  <a:lnTo>
                    <a:pt x="1886" y="36"/>
                  </a:lnTo>
                  <a:lnTo>
                    <a:pt x="1884" y="34"/>
                  </a:lnTo>
                  <a:lnTo>
                    <a:pt x="1880" y="33"/>
                  </a:lnTo>
                  <a:lnTo>
                    <a:pt x="1877" y="33"/>
                  </a:lnTo>
                  <a:lnTo>
                    <a:pt x="1860" y="33"/>
                  </a:lnTo>
                  <a:close/>
                  <a:moveTo>
                    <a:pt x="1928" y="56"/>
                  </a:moveTo>
                  <a:lnTo>
                    <a:pt x="1928" y="84"/>
                  </a:lnTo>
                  <a:lnTo>
                    <a:pt x="1928" y="91"/>
                  </a:lnTo>
                  <a:lnTo>
                    <a:pt x="1928" y="97"/>
                  </a:lnTo>
                  <a:lnTo>
                    <a:pt x="1927" y="102"/>
                  </a:lnTo>
                  <a:lnTo>
                    <a:pt x="1924" y="107"/>
                  </a:lnTo>
                  <a:lnTo>
                    <a:pt x="1923" y="113"/>
                  </a:lnTo>
                  <a:lnTo>
                    <a:pt x="1920" y="117"/>
                  </a:lnTo>
                  <a:lnTo>
                    <a:pt x="1918" y="121"/>
                  </a:lnTo>
                  <a:lnTo>
                    <a:pt x="1915" y="124"/>
                  </a:lnTo>
                  <a:lnTo>
                    <a:pt x="1912" y="128"/>
                  </a:lnTo>
                  <a:lnTo>
                    <a:pt x="1908" y="131"/>
                  </a:lnTo>
                  <a:lnTo>
                    <a:pt x="1903" y="133"/>
                  </a:lnTo>
                  <a:lnTo>
                    <a:pt x="1899" y="135"/>
                  </a:lnTo>
                  <a:lnTo>
                    <a:pt x="1894" y="136"/>
                  </a:lnTo>
                  <a:lnTo>
                    <a:pt x="1888" y="138"/>
                  </a:lnTo>
                  <a:lnTo>
                    <a:pt x="1883" y="138"/>
                  </a:lnTo>
                  <a:lnTo>
                    <a:pt x="1877" y="138"/>
                  </a:lnTo>
                  <a:lnTo>
                    <a:pt x="1860" y="138"/>
                  </a:lnTo>
                  <a:lnTo>
                    <a:pt x="1860" y="221"/>
                  </a:lnTo>
                  <a:lnTo>
                    <a:pt x="1826" y="221"/>
                  </a:lnTo>
                  <a:lnTo>
                    <a:pt x="1826" y="2"/>
                  </a:lnTo>
                  <a:lnTo>
                    <a:pt x="1877" y="2"/>
                  </a:lnTo>
                  <a:lnTo>
                    <a:pt x="1883" y="2"/>
                  </a:lnTo>
                  <a:lnTo>
                    <a:pt x="1888" y="3"/>
                  </a:lnTo>
                  <a:lnTo>
                    <a:pt x="1894" y="4"/>
                  </a:lnTo>
                  <a:lnTo>
                    <a:pt x="1899" y="5"/>
                  </a:lnTo>
                  <a:lnTo>
                    <a:pt x="1903" y="7"/>
                  </a:lnTo>
                  <a:lnTo>
                    <a:pt x="1908" y="9"/>
                  </a:lnTo>
                  <a:lnTo>
                    <a:pt x="1912" y="12"/>
                  </a:lnTo>
                  <a:lnTo>
                    <a:pt x="1915" y="15"/>
                  </a:lnTo>
                  <a:lnTo>
                    <a:pt x="1918" y="20"/>
                  </a:lnTo>
                  <a:lnTo>
                    <a:pt x="1920" y="23"/>
                  </a:lnTo>
                  <a:lnTo>
                    <a:pt x="1923" y="28"/>
                  </a:lnTo>
                  <a:lnTo>
                    <a:pt x="1924" y="32"/>
                  </a:lnTo>
                  <a:lnTo>
                    <a:pt x="1927" y="38"/>
                  </a:lnTo>
                  <a:lnTo>
                    <a:pt x="1928" y="43"/>
                  </a:lnTo>
                  <a:lnTo>
                    <a:pt x="1928" y="49"/>
                  </a:lnTo>
                  <a:lnTo>
                    <a:pt x="1928" y="56"/>
                  </a:lnTo>
                  <a:close/>
                  <a:moveTo>
                    <a:pt x="1733" y="33"/>
                  </a:moveTo>
                  <a:lnTo>
                    <a:pt x="1733" y="107"/>
                  </a:lnTo>
                  <a:lnTo>
                    <a:pt x="1749" y="107"/>
                  </a:lnTo>
                  <a:lnTo>
                    <a:pt x="1753" y="107"/>
                  </a:lnTo>
                  <a:lnTo>
                    <a:pt x="1756" y="106"/>
                  </a:lnTo>
                  <a:lnTo>
                    <a:pt x="1759" y="104"/>
                  </a:lnTo>
                  <a:lnTo>
                    <a:pt x="1762" y="103"/>
                  </a:lnTo>
                  <a:lnTo>
                    <a:pt x="1764" y="100"/>
                  </a:lnTo>
                  <a:lnTo>
                    <a:pt x="1765" y="96"/>
                  </a:lnTo>
                  <a:lnTo>
                    <a:pt x="1766" y="92"/>
                  </a:lnTo>
                  <a:lnTo>
                    <a:pt x="1766" y="86"/>
                  </a:lnTo>
                  <a:lnTo>
                    <a:pt x="1766" y="53"/>
                  </a:lnTo>
                  <a:lnTo>
                    <a:pt x="1766" y="48"/>
                  </a:lnTo>
                  <a:lnTo>
                    <a:pt x="1765" y="44"/>
                  </a:lnTo>
                  <a:lnTo>
                    <a:pt x="1764" y="40"/>
                  </a:lnTo>
                  <a:lnTo>
                    <a:pt x="1762" y="38"/>
                  </a:lnTo>
                  <a:lnTo>
                    <a:pt x="1759" y="36"/>
                  </a:lnTo>
                  <a:lnTo>
                    <a:pt x="1756" y="34"/>
                  </a:lnTo>
                  <a:lnTo>
                    <a:pt x="1753" y="33"/>
                  </a:lnTo>
                  <a:lnTo>
                    <a:pt x="1749" y="33"/>
                  </a:lnTo>
                  <a:lnTo>
                    <a:pt x="1733" y="33"/>
                  </a:lnTo>
                  <a:close/>
                  <a:moveTo>
                    <a:pt x="1801" y="56"/>
                  </a:moveTo>
                  <a:lnTo>
                    <a:pt x="1801" y="84"/>
                  </a:lnTo>
                  <a:lnTo>
                    <a:pt x="1801" y="91"/>
                  </a:lnTo>
                  <a:lnTo>
                    <a:pt x="1800" y="97"/>
                  </a:lnTo>
                  <a:lnTo>
                    <a:pt x="1799" y="102"/>
                  </a:lnTo>
                  <a:lnTo>
                    <a:pt x="1798" y="107"/>
                  </a:lnTo>
                  <a:lnTo>
                    <a:pt x="1795" y="113"/>
                  </a:lnTo>
                  <a:lnTo>
                    <a:pt x="1793" y="117"/>
                  </a:lnTo>
                  <a:lnTo>
                    <a:pt x="1790" y="121"/>
                  </a:lnTo>
                  <a:lnTo>
                    <a:pt x="1788" y="124"/>
                  </a:lnTo>
                  <a:lnTo>
                    <a:pt x="1784" y="128"/>
                  </a:lnTo>
                  <a:lnTo>
                    <a:pt x="1781" y="131"/>
                  </a:lnTo>
                  <a:lnTo>
                    <a:pt x="1776" y="133"/>
                  </a:lnTo>
                  <a:lnTo>
                    <a:pt x="1771" y="135"/>
                  </a:lnTo>
                  <a:lnTo>
                    <a:pt x="1767" y="136"/>
                  </a:lnTo>
                  <a:lnTo>
                    <a:pt x="1762" y="138"/>
                  </a:lnTo>
                  <a:lnTo>
                    <a:pt x="1755" y="138"/>
                  </a:lnTo>
                  <a:lnTo>
                    <a:pt x="1749" y="138"/>
                  </a:lnTo>
                  <a:lnTo>
                    <a:pt x="1733" y="138"/>
                  </a:lnTo>
                  <a:lnTo>
                    <a:pt x="1733" y="221"/>
                  </a:lnTo>
                  <a:lnTo>
                    <a:pt x="1698" y="221"/>
                  </a:lnTo>
                  <a:lnTo>
                    <a:pt x="1698" y="2"/>
                  </a:lnTo>
                  <a:lnTo>
                    <a:pt x="1749" y="2"/>
                  </a:lnTo>
                  <a:lnTo>
                    <a:pt x="1755" y="2"/>
                  </a:lnTo>
                  <a:lnTo>
                    <a:pt x="1762" y="3"/>
                  </a:lnTo>
                  <a:lnTo>
                    <a:pt x="1767" y="4"/>
                  </a:lnTo>
                  <a:lnTo>
                    <a:pt x="1771" y="5"/>
                  </a:lnTo>
                  <a:lnTo>
                    <a:pt x="1776" y="7"/>
                  </a:lnTo>
                  <a:lnTo>
                    <a:pt x="1781" y="9"/>
                  </a:lnTo>
                  <a:lnTo>
                    <a:pt x="1784" y="12"/>
                  </a:lnTo>
                  <a:lnTo>
                    <a:pt x="1788" y="15"/>
                  </a:lnTo>
                  <a:lnTo>
                    <a:pt x="1790" y="20"/>
                  </a:lnTo>
                  <a:lnTo>
                    <a:pt x="1793" y="23"/>
                  </a:lnTo>
                  <a:lnTo>
                    <a:pt x="1795" y="28"/>
                  </a:lnTo>
                  <a:lnTo>
                    <a:pt x="1798" y="32"/>
                  </a:lnTo>
                  <a:lnTo>
                    <a:pt x="1799" y="38"/>
                  </a:lnTo>
                  <a:lnTo>
                    <a:pt x="1800" y="43"/>
                  </a:lnTo>
                  <a:lnTo>
                    <a:pt x="1801" y="49"/>
                  </a:lnTo>
                  <a:lnTo>
                    <a:pt x="1801" y="56"/>
                  </a:lnTo>
                  <a:close/>
                  <a:moveTo>
                    <a:pt x="1599" y="2"/>
                  </a:moveTo>
                  <a:lnTo>
                    <a:pt x="1599" y="171"/>
                  </a:lnTo>
                  <a:lnTo>
                    <a:pt x="1599" y="176"/>
                  </a:lnTo>
                  <a:lnTo>
                    <a:pt x="1600" y="180"/>
                  </a:lnTo>
                  <a:lnTo>
                    <a:pt x="1601" y="183"/>
                  </a:lnTo>
                  <a:lnTo>
                    <a:pt x="1602" y="185"/>
                  </a:lnTo>
                  <a:lnTo>
                    <a:pt x="1604" y="188"/>
                  </a:lnTo>
                  <a:lnTo>
                    <a:pt x="1606" y="190"/>
                  </a:lnTo>
                  <a:lnTo>
                    <a:pt x="1609" y="191"/>
                  </a:lnTo>
                  <a:lnTo>
                    <a:pt x="1612" y="192"/>
                  </a:lnTo>
                  <a:lnTo>
                    <a:pt x="1617" y="192"/>
                  </a:lnTo>
                  <a:lnTo>
                    <a:pt x="1621" y="192"/>
                  </a:lnTo>
                  <a:lnTo>
                    <a:pt x="1624" y="191"/>
                  </a:lnTo>
                  <a:lnTo>
                    <a:pt x="1627" y="190"/>
                  </a:lnTo>
                  <a:lnTo>
                    <a:pt x="1629" y="188"/>
                  </a:lnTo>
                  <a:lnTo>
                    <a:pt x="1631" y="185"/>
                  </a:lnTo>
                  <a:lnTo>
                    <a:pt x="1634" y="180"/>
                  </a:lnTo>
                  <a:lnTo>
                    <a:pt x="1634" y="176"/>
                  </a:lnTo>
                  <a:lnTo>
                    <a:pt x="1635" y="171"/>
                  </a:lnTo>
                  <a:lnTo>
                    <a:pt x="1635" y="2"/>
                  </a:lnTo>
                  <a:lnTo>
                    <a:pt x="1667" y="2"/>
                  </a:lnTo>
                  <a:lnTo>
                    <a:pt x="1667" y="169"/>
                  </a:lnTo>
                  <a:lnTo>
                    <a:pt x="1666" y="175"/>
                  </a:lnTo>
                  <a:lnTo>
                    <a:pt x="1666" y="181"/>
                  </a:lnTo>
                  <a:lnTo>
                    <a:pt x="1665" y="187"/>
                  </a:lnTo>
                  <a:lnTo>
                    <a:pt x="1663" y="192"/>
                  </a:lnTo>
                  <a:lnTo>
                    <a:pt x="1662" y="197"/>
                  </a:lnTo>
                  <a:lnTo>
                    <a:pt x="1660" y="202"/>
                  </a:lnTo>
                  <a:lnTo>
                    <a:pt x="1657" y="206"/>
                  </a:lnTo>
                  <a:lnTo>
                    <a:pt x="1654" y="209"/>
                  </a:lnTo>
                  <a:lnTo>
                    <a:pt x="1651" y="212"/>
                  </a:lnTo>
                  <a:lnTo>
                    <a:pt x="1646" y="215"/>
                  </a:lnTo>
                  <a:lnTo>
                    <a:pt x="1644" y="216"/>
                  </a:lnTo>
                  <a:lnTo>
                    <a:pt x="1642" y="218"/>
                  </a:lnTo>
                  <a:lnTo>
                    <a:pt x="1638" y="220"/>
                  </a:lnTo>
                  <a:lnTo>
                    <a:pt x="1633" y="222"/>
                  </a:lnTo>
                  <a:lnTo>
                    <a:pt x="1627" y="223"/>
                  </a:lnTo>
                  <a:lnTo>
                    <a:pt x="1622" y="224"/>
                  </a:lnTo>
                  <a:lnTo>
                    <a:pt x="1616" y="224"/>
                  </a:lnTo>
                  <a:lnTo>
                    <a:pt x="1609" y="224"/>
                  </a:lnTo>
                  <a:lnTo>
                    <a:pt x="1604" y="223"/>
                  </a:lnTo>
                  <a:lnTo>
                    <a:pt x="1599" y="222"/>
                  </a:lnTo>
                  <a:lnTo>
                    <a:pt x="1593" y="220"/>
                  </a:lnTo>
                  <a:lnTo>
                    <a:pt x="1589" y="218"/>
                  </a:lnTo>
                  <a:lnTo>
                    <a:pt x="1585" y="215"/>
                  </a:lnTo>
                  <a:lnTo>
                    <a:pt x="1581" y="212"/>
                  </a:lnTo>
                  <a:lnTo>
                    <a:pt x="1578" y="209"/>
                  </a:lnTo>
                  <a:lnTo>
                    <a:pt x="1574" y="206"/>
                  </a:lnTo>
                  <a:lnTo>
                    <a:pt x="1571" y="202"/>
                  </a:lnTo>
                  <a:lnTo>
                    <a:pt x="1569" y="197"/>
                  </a:lnTo>
                  <a:lnTo>
                    <a:pt x="1567" y="192"/>
                  </a:lnTo>
                  <a:lnTo>
                    <a:pt x="1566" y="187"/>
                  </a:lnTo>
                  <a:lnTo>
                    <a:pt x="1565" y="181"/>
                  </a:lnTo>
                  <a:lnTo>
                    <a:pt x="1565" y="175"/>
                  </a:lnTo>
                  <a:lnTo>
                    <a:pt x="1564" y="169"/>
                  </a:lnTo>
                  <a:lnTo>
                    <a:pt x="1564" y="2"/>
                  </a:lnTo>
                  <a:lnTo>
                    <a:pt x="1599" y="2"/>
                  </a:lnTo>
                  <a:close/>
                  <a:moveTo>
                    <a:pt x="1463" y="152"/>
                  </a:moveTo>
                  <a:lnTo>
                    <a:pt x="1496" y="152"/>
                  </a:lnTo>
                  <a:lnTo>
                    <a:pt x="1480" y="41"/>
                  </a:lnTo>
                  <a:lnTo>
                    <a:pt x="1463" y="152"/>
                  </a:lnTo>
                  <a:close/>
                  <a:moveTo>
                    <a:pt x="1542" y="221"/>
                  </a:moveTo>
                  <a:lnTo>
                    <a:pt x="1508" y="221"/>
                  </a:lnTo>
                  <a:lnTo>
                    <a:pt x="1501" y="181"/>
                  </a:lnTo>
                  <a:lnTo>
                    <a:pt x="1459" y="181"/>
                  </a:lnTo>
                  <a:lnTo>
                    <a:pt x="1453" y="221"/>
                  </a:lnTo>
                  <a:lnTo>
                    <a:pt x="1421" y="221"/>
                  </a:lnTo>
                  <a:lnTo>
                    <a:pt x="1457" y="2"/>
                  </a:lnTo>
                  <a:lnTo>
                    <a:pt x="1507" y="2"/>
                  </a:lnTo>
                  <a:lnTo>
                    <a:pt x="1542" y="221"/>
                  </a:lnTo>
                  <a:close/>
                  <a:moveTo>
                    <a:pt x="1339" y="134"/>
                  </a:moveTo>
                  <a:lnTo>
                    <a:pt x="1328" y="154"/>
                  </a:lnTo>
                  <a:lnTo>
                    <a:pt x="1328" y="221"/>
                  </a:lnTo>
                  <a:lnTo>
                    <a:pt x="1293" y="221"/>
                  </a:lnTo>
                  <a:lnTo>
                    <a:pt x="1293" y="2"/>
                  </a:lnTo>
                  <a:lnTo>
                    <a:pt x="1328" y="2"/>
                  </a:lnTo>
                  <a:lnTo>
                    <a:pt x="1328" y="97"/>
                  </a:lnTo>
                  <a:lnTo>
                    <a:pt x="1372" y="2"/>
                  </a:lnTo>
                  <a:lnTo>
                    <a:pt x="1407" y="2"/>
                  </a:lnTo>
                  <a:lnTo>
                    <a:pt x="1359" y="99"/>
                  </a:lnTo>
                  <a:lnTo>
                    <a:pt x="1407" y="221"/>
                  </a:lnTo>
                  <a:lnTo>
                    <a:pt x="1371" y="221"/>
                  </a:lnTo>
                  <a:lnTo>
                    <a:pt x="1339" y="134"/>
                  </a:lnTo>
                  <a:close/>
                  <a:moveTo>
                    <a:pt x="1204" y="94"/>
                  </a:moveTo>
                  <a:lnTo>
                    <a:pt x="1252" y="94"/>
                  </a:lnTo>
                  <a:lnTo>
                    <a:pt x="1252" y="125"/>
                  </a:lnTo>
                  <a:lnTo>
                    <a:pt x="1204" y="125"/>
                  </a:lnTo>
                  <a:lnTo>
                    <a:pt x="1204" y="190"/>
                  </a:lnTo>
                  <a:lnTo>
                    <a:pt x="1263" y="190"/>
                  </a:lnTo>
                  <a:lnTo>
                    <a:pt x="1263" y="221"/>
                  </a:lnTo>
                  <a:lnTo>
                    <a:pt x="1170" y="221"/>
                  </a:lnTo>
                  <a:lnTo>
                    <a:pt x="1170" y="2"/>
                  </a:lnTo>
                  <a:lnTo>
                    <a:pt x="1263" y="2"/>
                  </a:lnTo>
                  <a:lnTo>
                    <a:pt x="1263" y="33"/>
                  </a:lnTo>
                  <a:lnTo>
                    <a:pt x="1204" y="33"/>
                  </a:lnTo>
                  <a:lnTo>
                    <a:pt x="1204" y="94"/>
                  </a:lnTo>
                  <a:close/>
                  <a:moveTo>
                    <a:pt x="1077" y="134"/>
                  </a:moveTo>
                  <a:lnTo>
                    <a:pt x="1067" y="154"/>
                  </a:lnTo>
                  <a:lnTo>
                    <a:pt x="1067" y="221"/>
                  </a:lnTo>
                  <a:lnTo>
                    <a:pt x="1033" y="221"/>
                  </a:lnTo>
                  <a:lnTo>
                    <a:pt x="1033" y="2"/>
                  </a:lnTo>
                  <a:lnTo>
                    <a:pt x="1067" y="2"/>
                  </a:lnTo>
                  <a:lnTo>
                    <a:pt x="1067" y="97"/>
                  </a:lnTo>
                  <a:lnTo>
                    <a:pt x="1112" y="2"/>
                  </a:lnTo>
                  <a:lnTo>
                    <a:pt x="1146" y="2"/>
                  </a:lnTo>
                  <a:lnTo>
                    <a:pt x="1098" y="99"/>
                  </a:lnTo>
                  <a:lnTo>
                    <a:pt x="1146" y="221"/>
                  </a:lnTo>
                  <a:lnTo>
                    <a:pt x="1111" y="221"/>
                  </a:lnTo>
                  <a:lnTo>
                    <a:pt x="1077" y="134"/>
                  </a:lnTo>
                  <a:close/>
                  <a:moveTo>
                    <a:pt x="965" y="2"/>
                  </a:moveTo>
                  <a:lnTo>
                    <a:pt x="999" y="2"/>
                  </a:lnTo>
                  <a:lnTo>
                    <a:pt x="999" y="221"/>
                  </a:lnTo>
                  <a:lnTo>
                    <a:pt x="965" y="221"/>
                  </a:lnTo>
                  <a:lnTo>
                    <a:pt x="965" y="2"/>
                  </a:lnTo>
                  <a:close/>
                  <a:moveTo>
                    <a:pt x="898" y="2"/>
                  </a:moveTo>
                  <a:lnTo>
                    <a:pt x="932" y="2"/>
                  </a:lnTo>
                  <a:lnTo>
                    <a:pt x="932" y="221"/>
                  </a:lnTo>
                  <a:lnTo>
                    <a:pt x="898" y="221"/>
                  </a:lnTo>
                  <a:lnTo>
                    <a:pt x="898" y="2"/>
                  </a:lnTo>
                  <a:close/>
                  <a:moveTo>
                    <a:pt x="783" y="2"/>
                  </a:moveTo>
                  <a:lnTo>
                    <a:pt x="818" y="2"/>
                  </a:lnTo>
                  <a:lnTo>
                    <a:pt x="818" y="190"/>
                  </a:lnTo>
                  <a:lnTo>
                    <a:pt x="875" y="190"/>
                  </a:lnTo>
                  <a:lnTo>
                    <a:pt x="875" y="221"/>
                  </a:lnTo>
                  <a:lnTo>
                    <a:pt x="783" y="221"/>
                  </a:lnTo>
                  <a:lnTo>
                    <a:pt x="783" y="2"/>
                  </a:lnTo>
                  <a:close/>
                  <a:moveTo>
                    <a:pt x="705" y="0"/>
                  </a:moveTo>
                  <a:lnTo>
                    <a:pt x="711" y="0"/>
                  </a:lnTo>
                  <a:lnTo>
                    <a:pt x="717" y="0"/>
                  </a:lnTo>
                  <a:lnTo>
                    <a:pt x="722" y="1"/>
                  </a:lnTo>
                  <a:lnTo>
                    <a:pt x="727" y="3"/>
                  </a:lnTo>
                  <a:lnTo>
                    <a:pt x="732" y="5"/>
                  </a:lnTo>
                  <a:lnTo>
                    <a:pt x="736" y="7"/>
                  </a:lnTo>
                  <a:lnTo>
                    <a:pt x="740" y="10"/>
                  </a:lnTo>
                  <a:lnTo>
                    <a:pt x="743" y="13"/>
                  </a:lnTo>
                  <a:lnTo>
                    <a:pt x="746" y="18"/>
                  </a:lnTo>
                  <a:lnTo>
                    <a:pt x="748" y="22"/>
                  </a:lnTo>
                  <a:lnTo>
                    <a:pt x="751" y="26"/>
                  </a:lnTo>
                  <a:lnTo>
                    <a:pt x="753" y="31"/>
                  </a:lnTo>
                  <a:lnTo>
                    <a:pt x="754" y="37"/>
                  </a:lnTo>
                  <a:lnTo>
                    <a:pt x="755" y="42"/>
                  </a:lnTo>
                  <a:lnTo>
                    <a:pt x="756" y="48"/>
                  </a:lnTo>
                  <a:lnTo>
                    <a:pt x="756" y="55"/>
                  </a:lnTo>
                  <a:lnTo>
                    <a:pt x="756" y="61"/>
                  </a:lnTo>
                  <a:lnTo>
                    <a:pt x="723" y="61"/>
                  </a:lnTo>
                  <a:lnTo>
                    <a:pt x="723" y="52"/>
                  </a:lnTo>
                  <a:lnTo>
                    <a:pt x="723" y="46"/>
                  </a:lnTo>
                  <a:lnTo>
                    <a:pt x="722" y="42"/>
                  </a:lnTo>
                  <a:lnTo>
                    <a:pt x="721" y="39"/>
                  </a:lnTo>
                  <a:lnTo>
                    <a:pt x="719" y="36"/>
                  </a:lnTo>
                  <a:lnTo>
                    <a:pt x="717" y="33"/>
                  </a:lnTo>
                  <a:lnTo>
                    <a:pt x="714" y="31"/>
                  </a:lnTo>
                  <a:lnTo>
                    <a:pt x="710" y="30"/>
                  </a:lnTo>
                  <a:lnTo>
                    <a:pt x="706" y="30"/>
                  </a:lnTo>
                  <a:lnTo>
                    <a:pt x="702" y="30"/>
                  </a:lnTo>
                  <a:lnTo>
                    <a:pt x="699" y="31"/>
                  </a:lnTo>
                  <a:lnTo>
                    <a:pt x="698" y="32"/>
                  </a:lnTo>
                  <a:lnTo>
                    <a:pt x="696" y="33"/>
                  </a:lnTo>
                  <a:lnTo>
                    <a:pt x="693" y="36"/>
                  </a:lnTo>
                  <a:lnTo>
                    <a:pt x="691" y="39"/>
                  </a:lnTo>
                  <a:lnTo>
                    <a:pt x="690" y="42"/>
                  </a:lnTo>
                  <a:lnTo>
                    <a:pt x="689" y="46"/>
                  </a:lnTo>
                  <a:lnTo>
                    <a:pt x="689" y="52"/>
                  </a:lnTo>
                  <a:lnTo>
                    <a:pt x="689" y="56"/>
                  </a:lnTo>
                  <a:lnTo>
                    <a:pt x="689" y="60"/>
                  </a:lnTo>
                  <a:lnTo>
                    <a:pt x="691" y="67"/>
                  </a:lnTo>
                  <a:lnTo>
                    <a:pt x="693" y="70"/>
                  </a:lnTo>
                  <a:lnTo>
                    <a:pt x="696" y="74"/>
                  </a:lnTo>
                  <a:lnTo>
                    <a:pt x="700" y="80"/>
                  </a:lnTo>
                  <a:lnTo>
                    <a:pt x="704" y="86"/>
                  </a:lnTo>
                  <a:lnTo>
                    <a:pt x="710" y="92"/>
                  </a:lnTo>
                  <a:lnTo>
                    <a:pt x="722" y="103"/>
                  </a:lnTo>
                  <a:lnTo>
                    <a:pt x="735" y="116"/>
                  </a:lnTo>
                  <a:lnTo>
                    <a:pt x="741" y="122"/>
                  </a:lnTo>
                  <a:lnTo>
                    <a:pt x="745" y="130"/>
                  </a:lnTo>
                  <a:lnTo>
                    <a:pt x="750" y="138"/>
                  </a:lnTo>
                  <a:lnTo>
                    <a:pt x="754" y="148"/>
                  </a:lnTo>
                  <a:lnTo>
                    <a:pt x="756" y="157"/>
                  </a:lnTo>
                  <a:lnTo>
                    <a:pt x="756" y="162"/>
                  </a:lnTo>
                  <a:lnTo>
                    <a:pt x="756" y="168"/>
                  </a:lnTo>
                  <a:lnTo>
                    <a:pt x="756" y="175"/>
                  </a:lnTo>
                  <a:lnTo>
                    <a:pt x="756" y="180"/>
                  </a:lnTo>
                  <a:lnTo>
                    <a:pt x="755" y="187"/>
                  </a:lnTo>
                  <a:lnTo>
                    <a:pt x="753" y="192"/>
                  </a:lnTo>
                  <a:lnTo>
                    <a:pt x="752" y="196"/>
                  </a:lnTo>
                  <a:lnTo>
                    <a:pt x="748" y="202"/>
                  </a:lnTo>
                  <a:lnTo>
                    <a:pt x="746" y="205"/>
                  </a:lnTo>
                  <a:lnTo>
                    <a:pt x="743" y="209"/>
                  </a:lnTo>
                  <a:lnTo>
                    <a:pt x="740" y="212"/>
                  </a:lnTo>
                  <a:lnTo>
                    <a:pt x="736" y="215"/>
                  </a:lnTo>
                  <a:lnTo>
                    <a:pt x="734" y="216"/>
                  </a:lnTo>
                  <a:lnTo>
                    <a:pt x="732" y="217"/>
                  </a:lnTo>
                  <a:lnTo>
                    <a:pt x="727" y="220"/>
                  </a:lnTo>
                  <a:lnTo>
                    <a:pt x="722" y="222"/>
                  </a:lnTo>
                  <a:lnTo>
                    <a:pt x="717" y="223"/>
                  </a:lnTo>
                  <a:lnTo>
                    <a:pt x="711" y="223"/>
                  </a:lnTo>
                  <a:lnTo>
                    <a:pt x="705" y="224"/>
                  </a:lnTo>
                  <a:lnTo>
                    <a:pt x="699" y="223"/>
                  </a:lnTo>
                  <a:lnTo>
                    <a:pt x="692" y="223"/>
                  </a:lnTo>
                  <a:lnTo>
                    <a:pt x="687" y="222"/>
                  </a:lnTo>
                  <a:lnTo>
                    <a:pt x="683" y="220"/>
                  </a:lnTo>
                  <a:lnTo>
                    <a:pt x="678" y="217"/>
                  </a:lnTo>
                  <a:lnTo>
                    <a:pt x="673" y="215"/>
                  </a:lnTo>
                  <a:lnTo>
                    <a:pt x="670" y="212"/>
                  </a:lnTo>
                  <a:lnTo>
                    <a:pt x="666" y="209"/>
                  </a:lnTo>
                  <a:lnTo>
                    <a:pt x="664" y="205"/>
                  </a:lnTo>
                  <a:lnTo>
                    <a:pt x="661" y="202"/>
                  </a:lnTo>
                  <a:lnTo>
                    <a:pt x="659" y="196"/>
                  </a:lnTo>
                  <a:lnTo>
                    <a:pt x="656" y="192"/>
                  </a:lnTo>
                  <a:lnTo>
                    <a:pt x="655" y="187"/>
                  </a:lnTo>
                  <a:lnTo>
                    <a:pt x="654" y="180"/>
                  </a:lnTo>
                  <a:lnTo>
                    <a:pt x="653" y="175"/>
                  </a:lnTo>
                  <a:lnTo>
                    <a:pt x="653" y="168"/>
                  </a:lnTo>
                  <a:lnTo>
                    <a:pt x="653" y="155"/>
                  </a:lnTo>
                  <a:lnTo>
                    <a:pt x="686" y="155"/>
                  </a:lnTo>
                  <a:lnTo>
                    <a:pt x="686" y="171"/>
                  </a:lnTo>
                  <a:lnTo>
                    <a:pt x="686" y="176"/>
                  </a:lnTo>
                  <a:lnTo>
                    <a:pt x="687" y="180"/>
                  </a:lnTo>
                  <a:lnTo>
                    <a:pt x="688" y="183"/>
                  </a:lnTo>
                  <a:lnTo>
                    <a:pt x="689" y="184"/>
                  </a:lnTo>
                  <a:lnTo>
                    <a:pt x="691" y="187"/>
                  </a:lnTo>
                  <a:lnTo>
                    <a:pt x="693" y="189"/>
                  </a:lnTo>
                  <a:lnTo>
                    <a:pt x="697" y="191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08" y="191"/>
                  </a:lnTo>
                  <a:lnTo>
                    <a:pt x="711" y="191"/>
                  </a:lnTo>
                  <a:lnTo>
                    <a:pt x="715" y="189"/>
                  </a:lnTo>
                  <a:lnTo>
                    <a:pt x="717" y="187"/>
                  </a:lnTo>
                  <a:lnTo>
                    <a:pt x="719" y="184"/>
                  </a:lnTo>
                  <a:lnTo>
                    <a:pt x="721" y="180"/>
                  </a:lnTo>
                  <a:lnTo>
                    <a:pt x="721" y="176"/>
                  </a:lnTo>
                  <a:lnTo>
                    <a:pt x="722" y="171"/>
                  </a:lnTo>
                  <a:lnTo>
                    <a:pt x="722" y="167"/>
                  </a:lnTo>
                  <a:lnTo>
                    <a:pt x="721" y="162"/>
                  </a:lnTo>
                  <a:lnTo>
                    <a:pt x="719" y="155"/>
                  </a:lnTo>
                  <a:lnTo>
                    <a:pt x="718" y="152"/>
                  </a:lnTo>
                  <a:lnTo>
                    <a:pt x="716" y="149"/>
                  </a:lnTo>
                  <a:lnTo>
                    <a:pt x="711" y="142"/>
                  </a:lnTo>
                  <a:lnTo>
                    <a:pt x="706" y="136"/>
                  </a:lnTo>
                  <a:lnTo>
                    <a:pt x="701" y="131"/>
                  </a:lnTo>
                  <a:lnTo>
                    <a:pt x="688" y="119"/>
                  </a:lnTo>
                  <a:lnTo>
                    <a:pt x="675" y="106"/>
                  </a:lnTo>
                  <a:lnTo>
                    <a:pt x="670" y="100"/>
                  </a:lnTo>
                  <a:lnTo>
                    <a:pt x="665" y="93"/>
                  </a:lnTo>
                  <a:lnTo>
                    <a:pt x="661" y="84"/>
                  </a:lnTo>
                  <a:lnTo>
                    <a:pt x="658" y="76"/>
                  </a:lnTo>
                  <a:lnTo>
                    <a:pt x="655" y="65"/>
                  </a:lnTo>
                  <a:lnTo>
                    <a:pt x="654" y="60"/>
                  </a:lnTo>
                  <a:lnTo>
                    <a:pt x="654" y="55"/>
                  </a:lnTo>
                  <a:lnTo>
                    <a:pt x="654" y="48"/>
                  </a:lnTo>
                  <a:lnTo>
                    <a:pt x="655" y="42"/>
                  </a:lnTo>
                  <a:lnTo>
                    <a:pt x="656" y="37"/>
                  </a:lnTo>
                  <a:lnTo>
                    <a:pt x="658" y="31"/>
                  </a:lnTo>
                  <a:lnTo>
                    <a:pt x="660" y="26"/>
                  </a:lnTo>
                  <a:lnTo>
                    <a:pt x="662" y="22"/>
                  </a:lnTo>
                  <a:lnTo>
                    <a:pt x="664" y="18"/>
                  </a:lnTo>
                  <a:lnTo>
                    <a:pt x="667" y="13"/>
                  </a:lnTo>
                  <a:lnTo>
                    <a:pt x="670" y="10"/>
                  </a:lnTo>
                  <a:lnTo>
                    <a:pt x="674" y="7"/>
                  </a:lnTo>
                  <a:lnTo>
                    <a:pt x="677" y="6"/>
                  </a:lnTo>
                  <a:lnTo>
                    <a:pt x="679" y="5"/>
                  </a:lnTo>
                  <a:lnTo>
                    <a:pt x="683" y="3"/>
                  </a:lnTo>
                  <a:lnTo>
                    <a:pt x="688" y="1"/>
                  </a:lnTo>
                  <a:lnTo>
                    <a:pt x="693" y="0"/>
                  </a:lnTo>
                  <a:lnTo>
                    <a:pt x="699" y="0"/>
                  </a:lnTo>
                  <a:lnTo>
                    <a:pt x="705" y="0"/>
                  </a:lnTo>
                  <a:close/>
                  <a:moveTo>
                    <a:pt x="592" y="2"/>
                  </a:moveTo>
                  <a:lnTo>
                    <a:pt x="626" y="2"/>
                  </a:lnTo>
                  <a:lnTo>
                    <a:pt x="626" y="221"/>
                  </a:lnTo>
                  <a:lnTo>
                    <a:pt x="592" y="221"/>
                  </a:lnTo>
                  <a:lnTo>
                    <a:pt x="592" y="2"/>
                  </a:lnTo>
                  <a:close/>
                  <a:moveTo>
                    <a:pt x="491" y="171"/>
                  </a:moveTo>
                  <a:lnTo>
                    <a:pt x="491" y="176"/>
                  </a:lnTo>
                  <a:lnTo>
                    <a:pt x="493" y="180"/>
                  </a:lnTo>
                  <a:lnTo>
                    <a:pt x="494" y="183"/>
                  </a:lnTo>
                  <a:lnTo>
                    <a:pt x="494" y="185"/>
                  </a:lnTo>
                  <a:lnTo>
                    <a:pt x="496" y="187"/>
                  </a:lnTo>
                  <a:lnTo>
                    <a:pt x="499" y="189"/>
                  </a:lnTo>
                  <a:lnTo>
                    <a:pt x="502" y="191"/>
                  </a:lnTo>
                  <a:lnTo>
                    <a:pt x="505" y="192"/>
                  </a:lnTo>
                  <a:lnTo>
                    <a:pt x="509" y="192"/>
                  </a:lnTo>
                  <a:lnTo>
                    <a:pt x="513" y="192"/>
                  </a:lnTo>
                  <a:lnTo>
                    <a:pt x="517" y="191"/>
                  </a:lnTo>
                  <a:lnTo>
                    <a:pt x="520" y="189"/>
                  </a:lnTo>
                  <a:lnTo>
                    <a:pt x="522" y="187"/>
                  </a:lnTo>
                  <a:lnTo>
                    <a:pt x="524" y="185"/>
                  </a:lnTo>
                  <a:lnTo>
                    <a:pt x="525" y="180"/>
                  </a:lnTo>
                  <a:lnTo>
                    <a:pt x="526" y="176"/>
                  </a:lnTo>
                  <a:lnTo>
                    <a:pt x="527" y="171"/>
                  </a:lnTo>
                  <a:lnTo>
                    <a:pt x="527" y="52"/>
                  </a:lnTo>
                  <a:lnTo>
                    <a:pt x="526" y="46"/>
                  </a:lnTo>
                  <a:lnTo>
                    <a:pt x="525" y="42"/>
                  </a:lnTo>
                  <a:lnTo>
                    <a:pt x="525" y="40"/>
                  </a:lnTo>
                  <a:lnTo>
                    <a:pt x="524" y="39"/>
                  </a:lnTo>
                  <a:lnTo>
                    <a:pt x="522" y="36"/>
                  </a:lnTo>
                  <a:lnTo>
                    <a:pt x="520" y="33"/>
                  </a:lnTo>
                  <a:lnTo>
                    <a:pt x="517" y="31"/>
                  </a:lnTo>
                  <a:lnTo>
                    <a:pt x="513" y="30"/>
                  </a:lnTo>
                  <a:lnTo>
                    <a:pt x="509" y="30"/>
                  </a:lnTo>
                  <a:lnTo>
                    <a:pt x="505" y="30"/>
                  </a:lnTo>
                  <a:lnTo>
                    <a:pt x="502" y="31"/>
                  </a:lnTo>
                  <a:lnTo>
                    <a:pt x="499" y="33"/>
                  </a:lnTo>
                  <a:lnTo>
                    <a:pt x="496" y="36"/>
                  </a:lnTo>
                  <a:lnTo>
                    <a:pt x="494" y="39"/>
                  </a:lnTo>
                  <a:lnTo>
                    <a:pt x="493" y="42"/>
                  </a:lnTo>
                  <a:lnTo>
                    <a:pt x="491" y="46"/>
                  </a:lnTo>
                  <a:lnTo>
                    <a:pt x="491" y="52"/>
                  </a:lnTo>
                  <a:lnTo>
                    <a:pt x="491" y="171"/>
                  </a:lnTo>
                  <a:close/>
                  <a:moveTo>
                    <a:pt x="457" y="55"/>
                  </a:moveTo>
                  <a:lnTo>
                    <a:pt x="457" y="48"/>
                  </a:lnTo>
                  <a:lnTo>
                    <a:pt x="458" y="42"/>
                  </a:lnTo>
                  <a:lnTo>
                    <a:pt x="459" y="37"/>
                  </a:lnTo>
                  <a:lnTo>
                    <a:pt x="460" y="33"/>
                  </a:lnTo>
                  <a:lnTo>
                    <a:pt x="460" y="31"/>
                  </a:lnTo>
                  <a:lnTo>
                    <a:pt x="462" y="26"/>
                  </a:lnTo>
                  <a:lnTo>
                    <a:pt x="464" y="22"/>
                  </a:lnTo>
                  <a:lnTo>
                    <a:pt x="467" y="18"/>
                  </a:lnTo>
                  <a:lnTo>
                    <a:pt x="470" y="13"/>
                  </a:lnTo>
                  <a:lnTo>
                    <a:pt x="473" y="10"/>
                  </a:lnTo>
                  <a:lnTo>
                    <a:pt x="478" y="7"/>
                  </a:lnTo>
                  <a:lnTo>
                    <a:pt x="482" y="5"/>
                  </a:lnTo>
                  <a:lnTo>
                    <a:pt x="486" y="3"/>
                  </a:lnTo>
                  <a:lnTo>
                    <a:pt x="491" y="1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0"/>
                  </a:lnTo>
                  <a:lnTo>
                    <a:pt x="515" y="0"/>
                  </a:lnTo>
                  <a:lnTo>
                    <a:pt x="521" y="0"/>
                  </a:lnTo>
                  <a:lnTo>
                    <a:pt x="526" y="1"/>
                  </a:lnTo>
                  <a:lnTo>
                    <a:pt x="532" y="3"/>
                  </a:lnTo>
                  <a:lnTo>
                    <a:pt x="536" y="5"/>
                  </a:lnTo>
                  <a:lnTo>
                    <a:pt x="540" y="7"/>
                  </a:lnTo>
                  <a:lnTo>
                    <a:pt x="544" y="10"/>
                  </a:lnTo>
                  <a:lnTo>
                    <a:pt x="548" y="13"/>
                  </a:lnTo>
                  <a:lnTo>
                    <a:pt x="551" y="18"/>
                  </a:lnTo>
                  <a:lnTo>
                    <a:pt x="554" y="22"/>
                  </a:lnTo>
                  <a:lnTo>
                    <a:pt x="556" y="26"/>
                  </a:lnTo>
                  <a:lnTo>
                    <a:pt x="558" y="31"/>
                  </a:lnTo>
                  <a:lnTo>
                    <a:pt x="559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1" y="168"/>
                  </a:lnTo>
                  <a:lnTo>
                    <a:pt x="561" y="175"/>
                  </a:lnTo>
                  <a:lnTo>
                    <a:pt x="560" y="180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8" y="192"/>
                  </a:lnTo>
                  <a:lnTo>
                    <a:pt x="556" y="196"/>
                  </a:lnTo>
                  <a:lnTo>
                    <a:pt x="554" y="202"/>
                  </a:lnTo>
                  <a:lnTo>
                    <a:pt x="551" y="205"/>
                  </a:lnTo>
                  <a:lnTo>
                    <a:pt x="548" y="209"/>
                  </a:lnTo>
                  <a:lnTo>
                    <a:pt x="544" y="212"/>
                  </a:lnTo>
                  <a:lnTo>
                    <a:pt x="540" y="215"/>
                  </a:lnTo>
                  <a:lnTo>
                    <a:pt x="536" y="217"/>
                  </a:lnTo>
                  <a:lnTo>
                    <a:pt x="532" y="220"/>
                  </a:lnTo>
                  <a:lnTo>
                    <a:pt x="526" y="222"/>
                  </a:lnTo>
                  <a:lnTo>
                    <a:pt x="521" y="223"/>
                  </a:lnTo>
                  <a:lnTo>
                    <a:pt x="515" y="223"/>
                  </a:lnTo>
                  <a:lnTo>
                    <a:pt x="509" y="224"/>
                  </a:lnTo>
                  <a:lnTo>
                    <a:pt x="503" y="223"/>
                  </a:lnTo>
                  <a:lnTo>
                    <a:pt x="497" y="223"/>
                  </a:lnTo>
                  <a:lnTo>
                    <a:pt x="491" y="222"/>
                  </a:lnTo>
                  <a:lnTo>
                    <a:pt x="486" y="220"/>
                  </a:lnTo>
                  <a:lnTo>
                    <a:pt x="482" y="217"/>
                  </a:lnTo>
                  <a:lnTo>
                    <a:pt x="478" y="215"/>
                  </a:lnTo>
                  <a:lnTo>
                    <a:pt x="473" y="212"/>
                  </a:lnTo>
                  <a:lnTo>
                    <a:pt x="470" y="209"/>
                  </a:lnTo>
                  <a:lnTo>
                    <a:pt x="467" y="205"/>
                  </a:lnTo>
                  <a:lnTo>
                    <a:pt x="464" y="202"/>
                  </a:lnTo>
                  <a:lnTo>
                    <a:pt x="462" y="196"/>
                  </a:lnTo>
                  <a:lnTo>
                    <a:pt x="460" y="192"/>
                  </a:lnTo>
                  <a:lnTo>
                    <a:pt x="459" y="187"/>
                  </a:lnTo>
                  <a:lnTo>
                    <a:pt x="458" y="180"/>
                  </a:lnTo>
                  <a:lnTo>
                    <a:pt x="457" y="175"/>
                  </a:lnTo>
                  <a:lnTo>
                    <a:pt x="457" y="168"/>
                  </a:lnTo>
                  <a:lnTo>
                    <a:pt x="457" y="55"/>
                  </a:lnTo>
                  <a:close/>
                  <a:moveTo>
                    <a:pt x="370" y="134"/>
                  </a:moveTo>
                  <a:lnTo>
                    <a:pt x="359" y="154"/>
                  </a:lnTo>
                  <a:lnTo>
                    <a:pt x="359" y="221"/>
                  </a:lnTo>
                  <a:lnTo>
                    <a:pt x="324" y="221"/>
                  </a:lnTo>
                  <a:lnTo>
                    <a:pt x="324" y="2"/>
                  </a:lnTo>
                  <a:lnTo>
                    <a:pt x="359" y="2"/>
                  </a:lnTo>
                  <a:lnTo>
                    <a:pt x="359" y="97"/>
                  </a:lnTo>
                  <a:lnTo>
                    <a:pt x="404" y="2"/>
                  </a:lnTo>
                  <a:lnTo>
                    <a:pt x="439" y="2"/>
                  </a:lnTo>
                  <a:lnTo>
                    <a:pt x="390" y="99"/>
                  </a:lnTo>
                  <a:lnTo>
                    <a:pt x="439" y="221"/>
                  </a:lnTo>
                  <a:lnTo>
                    <a:pt x="403" y="221"/>
                  </a:lnTo>
                  <a:lnTo>
                    <a:pt x="370" y="134"/>
                  </a:lnTo>
                  <a:close/>
                  <a:moveTo>
                    <a:pt x="257" y="2"/>
                  </a:moveTo>
                  <a:lnTo>
                    <a:pt x="292" y="2"/>
                  </a:lnTo>
                  <a:lnTo>
                    <a:pt x="292" y="221"/>
                  </a:lnTo>
                  <a:lnTo>
                    <a:pt x="257" y="221"/>
                  </a:lnTo>
                  <a:lnTo>
                    <a:pt x="257" y="2"/>
                  </a:lnTo>
                  <a:close/>
                  <a:moveTo>
                    <a:pt x="157" y="33"/>
                  </a:moveTo>
                  <a:lnTo>
                    <a:pt x="15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9" y="99"/>
                  </a:lnTo>
                  <a:lnTo>
                    <a:pt x="184" y="98"/>
                  </a:lnTo>
                  <a:lnTo>
                    <a:pt x="185" y="97"/>
                  </a:lnTo>
                  <a:lnTo>
                    <a:pt x="186" y="95"/>
                  </a:lnTo>
                  <a:lnTo>
                    <a:pt x="189" y="93"/>
                  </a:lnTo>
                  <a:lnTo>
                    <a:pt x="190" y="88"/>
                  </a:lnTo>
                  <a:lnTo>
                    <a:pt x="191" y="83"/>
                  </a:lnTo>
                  <a:lnTo>
                    <a:pt x="192" y="77"/>
                  </a:lnTo>
                  <a:lnTo>
                    <a:pt x="192" y="56"/>
                  </a:lnTo>
                  <a:lnTo>
                    <a:pt x="191" y="50"/>
                  </a:lnTo>
                  <a:lnTo>
                    <a:pt x="191" y="45"/>
                  </a:lnTo>
                  <a:lnTo>
                    <a:pt x="189" y="42"/>
                  </a:lnTo>
                  <a:lnTo>
                    <a:pt x="188" y="39"/>
                  </a:lnTo>
                  <a:lnTo>
                    <a:pt x="185" y="36"/>
                  </a:lnTo>
                  <a:lnTo>
                    <a:pt x="184" y="34"/>
                  </a:lnTo>
                  <a:lnTo>
                    <a:pt x="183" y="34"/>
                  </a:lnTo>
                  <a:lnTo>
                    <a:pt x="178" y="33"/>
                  </a:lnTo>
                  <a:lnTo>
                    <a:pt x="174" y="33"/>
                  </a:lnTo>
                  <a:lnTo>
                    <a:pt x="157" y="33"/>
                  </a:lnTo>
                  <a:close/>
                  <a:moveTo>
                    <a:pt x="195" y="221"/>
                  </a:moveTo>
                  <a:lnTo>
                    <a:pt x="193" y="212"/>
                  </a:lnTo>
                  <a:lnTo>
                    <a:pt x="192" y="205"/>
                  </a:lnTo>
                  <a:lnTo>
                    <a:pt x="192" y="194"/>
                  </a:lnTo>
                  <a:lnTo>
                    <a:pt x="192" y="159"/>
                  </a:lnTo>
                  <a:lnTo>
                    <a:pt x="192" y="153"/>
                  </a:lnTo>
                  <a:lnTo>
                    <a:pt x="191" y="147"/>
                  </a:lnTo>
                  <a:lnTo>
                    <a:pt x="189" y="141"/>
                  </a:lnTo>
                  <a:lnTo>
                    <a:pt x="187" y="138"/>
                  </a:lnTo>
                  <a:lnTo>
                    <a:pt x="185" y="136"/>
                  </a:lnTo>
                  <a:lnTo>
                    <a:pt x="184" y="135"/>
                  </a:lnTo>
                  <a:lnTo>
                    <a:pt x="179" y="133"/>
                  </a:lnTo>
                  <a:lnTo>
                    <a:pt x="175" y="132"/>
                  </a:lnTo>
                  <a:lnTo>
                    <a:pt x="170" y="132"/>
                  </a:lnTo>
                  <a:lnTo>
                    <a:pt x="157" y="132"/>
                  </a:lnTo>
                  <a:lnTo>
                    <a:pt x="157" y="221"/>
                  </a:lnTo>
                  <a:lnTo>
                    <a:pt x="123" y="221"/>
                  </a:lnTo>
                  <a:lnTo>
                    <a:pt x="123" y="2"/>
                  </a:lnTo>
                  <a:lnTo>
                    <a:pt x="175" y="2"/>
                  </a:lnTo>
                  <a:lnTo>
                    <a:pt x="182" y="2"/>
                  </a:lnTo>
                  <a:lnTo>
                    <a:pt x="188" y="3"/>
                  </a:lnTo>
                  <a:lnTo>
                    <a:pt x="193" y="4"/>
                  </a:lnTo>
                  <a:lnTo>
                    <a:pt x="199" y="5"/>
                  </a:lnTo>
                  <a:lnTo>
                    <a:pt x="203" y="7"/>
                  </a:lnTo>
                  <a:lnTo>
                    <a:pt x="207" y="9"/>
                  </a:lnTo>
                  <a:lnTo>
                    <a:pt x="211" y="11"/>
                  </a:lnTo>
                  <a:lnTo>
                    <a:pt x="214" y="14"/>
                  </a:lnTo>
                  <a:lnTo>
                    <a:pt x="218" y="18"/>
                  </a:lnTo>
                  <a:lnTo>
                    <a:pt x="220" y="21"/>
                  </a:lnTo>
                  <a:lnTo>
                    <a:pt x="222" y="25"/>
                  </a:lnTo>
                  <a:lnTo>
                    <a:pt x="223" y="30"/>
                  </a:lnTo>
                  <a:lnTo>
                    <a:pt x="225" y="34"/>
                  </a:lnTo>
                  <a:lnTo>
                    <a:pt x="226" y="40"/>
                  </a:lnTo>
                  <a:lnTo>
                    <a:pt x="226" y="46"/>
                  </a:lnTo>
                  <a:lnTo>
                    <a:pt x="226" y="52"/>
                  </a:lnTo>
                  <a:lnTo>
                    <a:pt x="226" y="69"/>
                  </a:lnTo>
                  <a:lnTo>
                    <a:pt x="226" y="78"/>
                  </a:lnTo>
                  <a:lnTo>
                    <a:pt x="225" y="85"/>
                  </a:lnTo>
                  <a:lnTo>
                    <a:pt x="223" y="92"/>
                  </a:lnTo>
                  <a:lnTo>
                    <a:pt x="221" y="97"/>
                  </a:lnTo>
                  <a:lnTo>
                    <a:pt x="220" y="100"/>
                  </a:lnTo>
                  <a:lnTo>
                    <a:pt x="218" y="102"/>
                  </a:lnTo>
                  <a:lnTo>
                    <a:pt x="215" y="104"/>
                  </a:lnTo>
                  <a:lnTo>
                    <a:pt x="213" y="107"/>
                  </a:lnTo>
                  <a:lnTo>
                    <a:pt x="209" y="111"/>
                  </a:lnTo>
                  <a:lnTo>
                    <a:pt x="204" y="114"/>
                  </a:lnTo>
                  <a:lnTo>
                    <a:pt x="207" y="115"/>
                  </a:lnTo>
                  <a:lnTo>
                    <a:pt x="210" y="117"/>
                  </a:lnTo>
                  <a:lnTo>
                    <a:pt x="212" y="119"/>
                  </a:lnTo>
                  <a:lnTo>
                    <a:pt x="214" y="121"/>
                  </a:lnTo>
                  <a:lnTo>
                    <a:pt x="219" y="125"/>
                  </a:lnTo>
                  <a:lnTo>
                    <a:pt x="222" y="131"/>
                  </a:lnTo>
                  <a:lnTo>
                    <a:pt x="224" y="137"/>
                  </a:lnTo>
                  <a:lnTo>
                    <a:pt x="225" y="144"/>
                  </a:lnTo>
                  <a:lnTo>
                    <a:pt x="226" y="149"/>
                  </a:lnTo>
                  <a:lnTo>
                    <a:pt x="226" y="152"/>
                  </a:lnTo>
                  <a:lnTo>
                    <a:pt x="227" y="160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9"/>
                  </a:lnTo>
                  <a:lnTo>
                    <a:pt x="228" y="215"/>
                  </a:lnTo>
                  <a:lnTo>
                    <a:pt x="229" y="217"/>
                  </a:lnTo>
                  <a:lnTo>
                    <a:pt x="230" y="221"/>
                  </a:lnTo>
                  <a:lnTo>
                    <a:pt x="195" y="221"/>
                  </a:lnTo>
                  <a:close/>
                  <a:moveTo>
                    <a:pt x="35" y="94"/>
                  </a:moveTo>
                  <a:lnTo>
                    <a:pt x="82" y="94"/>
                  </a:lnTo>
                  <a:lnTo>
                    <a:pt x="82" y="125"/>
                  </a:lnTo>
                  <a:lnTo>
                    <a:pt x="35" y="125"/>
                  </a:lnTo>
                  <a:lnTo>
                    <a:pt x="35" y="190"/>
                  </a:lnTo>
                  <a:lnTo>
                    <a:pt x="94" y="190"/>
                  </a:lnTo>
                  <a:lnTo>
                    <a:pt x="94" y="221"/>
                  </a:lnTo>
                  <a:lnTo>
                    <a:pt x="0" y="221"/>
                  </a:lnTo>
                  <a:lnTo>
                    <a:pt x="0" y="2"/>
                  </a:lnTo>
                  <a:lnTo>
                    <a:pt x="94" y="2"/>
                  </a:lnTo>
                  <a:lnTo>
                    <a:pt x="94" y="33"/>
                  </a:lnTo>
                  <a:lnTo>
                    <a:pt x="35" y="33"/>
                  </a:lnTo>
                  <a:lnTo>
                    <a:pt x="35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12408671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F2789-8CC3-4348-BE0B-117EB1A3D28F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70443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FB3890C-F973-4D60-9592-992EC70F5471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8438261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6E98EE-8DFB-4D86-8A8E-6F4923C48AA3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113245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16004-3B7D-49C4-8938-80095A7956B3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92289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A4FE0D-74FF-45D0-9929-FCA57E0988EE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1542707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9C36A9-1F22-4D6A-B917-B203EC3DD1E3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9691528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68829-9AF1-4EAA-974E-8FC7CEF034EB}" type="datetime1">
              <a:rPr lang="fi-FI" smtClean="0"/>
              <a:t>28.2.2018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2285682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4A5064-C5C6-4A20-AAC4-B51381830F88}" type="datetime1">
              <a:rPr lang="fi-FI" smtClean="0"/>
              <a:t>28.2.2018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3733006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8F104-20F8-44A7-A54C-5968EA7FA341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387254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2968EF3-873C-49DC-9FA8-0A34C3C91EE2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7" name="Round Same Side Corner Rectangle 16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8" name="Freeform 6"/>
            <p:cNvSpPr>
              <a:spLocks noChangeAspect="1" noEditPoints="1"/>
            </p:cNvSpPr>
            <p:nvPr userDrawn="1"/>
          </p:nvSpPr>
          <p:spPr bwMode="auto">
            <a:xfrm>
              <a:off x="8908139" y="6472998"/>
              <a:ext cx="1865548" cy="212400"/>
            </a:xfrm>
            <a:custGeom>
              <a:avLst/>
              <a:gdLst>
                <a:gd name="T0" fmla="*/ 1899 w 1985"/>
                <a:gd name="T1" fmla="*/ 2 h 226"/>
                <a:gd name="T2" fmla="*/ 67 w 1985"/>
                <a:gd name="T3" fmla="*/ 143 h 226"/>
                <a:gd name="T4" fmla="*/ 59 w 1985"/>
                <a:gd name="T5" fmla="*/ 2 h 226"/>
                <a:gd name="T6" fmla="*/ 99 w 1985"/>
                <a:gd name="T7" fmla="*/ 26 h 226"/>
                <a:gd name="T8" fmla="*/ 95 w 1985"/>
                <a:gd name="T9" fmla="*/ 104 h 226"/>
                <a:gd name="T10" fmla="*/ 99 w 1985"/>
                <a:gd name="T11" fmla="*/ 133 h 226"/>
                <a:gd name="T12" fmla="*/ 106 w 1985"/>
                <a:gd name="T13" fmla="*/ 217 h 226"/>
                <a:gd name="T14" fmla="*/ 68 w 1985"/>
                <a:gd name="T15" fmla="*/ 89 h 226"/>
                <a:gd name="T16" fmla="*/ 52 w 1985"/>
                <a:gd name="T17" fmla="*/ 34 h 226"/>
                <a:gd name="T18" fmla="*/ 168 w 1985"/>
                <a:gd name="T19" fmla="*/ 153 h 226"/>
                <a:gd name="T20" fmla="*/ 316 w 1985"/>
                <a:gd name="T21" fmla="*/ 183 h 226"/>
                <a:gd name="T22" fmla="*/ 493 w 1985"/>
                <a:gd name="T23" fmla="*/ 223 h 226"/>
                <a:gd name="T24" fmla="*/ 668 w 1985"/>
                <a:gd name="T25" fmla="*/ 11 h 226"/>
                <a:gd name="T26" fmla="*/ 652 w 1985"/>
                <a:gd name="T27" fmla="*/ 62 h 226"/>
                <a:gd name="T28" fmla="*/ 631 w 1985"/>
                <a:gd name="T29" fmla="*/ 31 h 226"/>
                <a:gd name="T30" fmla="*/ 623 w 1985"/>
                <a:gd name="T31" fmla="*/ 75 h 226"/>
                <a:gd name="T32" fmla="*/ 682 w 1985"/>
                <a:gd name="T33" fmla="*/ 149 h 226"/>
                <a:gd name="T34" fmla="*/ 675 w 1985"/>
                <a:gd name="T35" fmla="*/ 208 h 226"/>
                <a:gd name="T36" fmla="*/ 621 w 1985"/>
                <a:gd name="T37" fmla="*/ 225 h 226"/>
                <a:gd name="T38" fmla="*/ 583 w 1985"/>
                <a:gd name="T39" fmla="*/ 188 h 226"/>
                <a:gd name="T40" fmla="*/ 622 w 1985"/>
                <a:gd name="T41" fmla="*/ 191 h 226"/>
                <a:gd name="T42" fmla="*/ 650 w 1985"/>
                <a:gd name="T43" fmla="*/ 178 h 226"/>
                <a:gd name="T44" fmla="*/ 604 w 1985"/>
                <a:gd name="T45" fmla="*/ 108 h 226"/>
                <a:gd name="T46" fmla="*/ 583 w 1985"/>
                <a:gd name="T47" fmla="*/ 43 h 226"/>
                <a:gd name="T48" fmla="*/ 616 w 1985"/>
                <a:gd name="T49" fmla="*/ 2 h 226"/>
                <a:gd name="T50" fmla="*/ 713 w 1985"/>
                <a:gd name="T51" fmla="*/ 223 h 226"/>
                <a:gd name="T52" fmla="*/ 950 w 1985"/>
                <a:gd name="T53" fmla="*/ 65 h 226"/>
                <a:gd name="T54" fmla="*/ 1051 w 1985"/>
                <a:gd name="T55" fmla="*/ 223 h 226"/>
                <a:gd name="T56" fmla="*/ 1170 w 1985"/>
                <a:gd name="T57" fmla="*/ 14 h 226"/>
                <a:gd name="T58" fmla="*/ 1150 w 1985"/>
                <a:gd name="T59" fmla="*/ 53 h 226"/>
                <a:gd name="T60" fmla="*/ 1125 w 1985"/>
                <a:gd name="T61" fmla="*/ 32 h 226"/>
                <a:gd name="T62" fmla="*/ 1126 w 1985"/>
                <a:gd name="T63" fmla="*/ 82 h 226"/>
                <a:gd name="T64" fmla="*/ 1181 w 1985"/>
                <a:gd name="T65" fmla="*/ 154 h 226"/>
                <a:gd name="T66" fmla="*/ 1170 w 1985"/>
                <a:gd name="T67" fmla="*/ 211 h 226"/>
                <a:gd name="T68" fmla="*/ 1114 w 1985"/>
                <a:gd name="T69" fmla="*/ 224 h 226"/>
                <a:gd name="T70" fmla="*/ 1080 w 1985"/>
                <a:gd name="T71" fmla="*/ 183 h 226"/>
                <a:gd name="T72" fmla="*/ 1123 w 1985"/>
                <a:gd name="T73" fmla="*/ 193 h 226"/>
                <a:gd name="T74" fmla="*/ 1148 w 1985"/>
                <a:gd name="T75" fmla="*/ 172 h 226"/>
                <a:gd name="T76" fmla="*/ 1096 w 1985"/>
                <a:gd name="T77" fmla="*/ 101 h 226"/>
                <a:gd name="T78" fmla="*/ 1082 w 1985"/>
                <a:gd name="T79" fmla="*/ 37 h 226"/>
                <a:gd name="T80" fmla="*/ 1120 w 1985"/>
                <a:gd name="T81" fmla="*/ 0 h 226"/>
                <a:gd name="T82" fmla="*/ 1326 w 1985"/>
                <a:gd name="T83" fmla="*/ 2 h 226"/>
                <a:gd name="T84" fmla="*/ 1376 w 1985"/>
                <a:gd name="T85" fmla="*/ 2 h 226"/>
                <a:gd name="T86" fmla="*/ 1522 w 1985"/>
                <a:gd name="T87" fmla="*/ 186 h 226"/>
                <a:gd name="T88" fmla="*/ 1552 w 1985"/>
                <a:gd name="T89" fmla="*/ 186 h 226"/>
                <a:gd name="T90" fmla="*/ 1583 w 1985"/>
                <a:gd name="T91" fmla="*/ 199 h 226"/>
                <a:gd name="T92" fmla="*/ 1536 w 1985"/>
                <a:gd name="T93" fmla="*/ 226 h 226"/>
                <a:gd name="T94" fmla="*/ 1489 w 1985"/>
                <a:gd name="T95" fmla="*/ 199 h 226"/>
                <a:gd name="T96" fmla="*/ 1722 w 1985"/>
                <a:gd name="T97" fmla="*/ 98 h 226"/>
                <a:gd name="T98" fmla="*/ 1688 w 1985"/>
                <a:gd name="T99" fmla="*/ 138 h 226"/>
                <a:gd name="T100" fmla="*/ 1688 w 1985"/>
                <a:gd name="T101" fmla="*/ 4 h 226"/>
                <a:gd name="T102" fmla="*/ 1722 w 1985"/>
                <a:gd name="T103" fmla="*/ 50 h 226"/>
                <a:gd name="T104" fmla="*/ 1687 w 1985"/>
                <a:gd name="T105" fmla="*/ 95 h 226"/>
                <a:gd name="T106" fmla="*/ 1671 w 1985"/>
                <a:gd name="T107" fmla="*/ 34 h 226"/>
                <a:gd name="T108" fmla="*/ 1838 w 1985"/>
                <a:gd name="T109" fmla="*/ 126 h 226"/>
                <a:gd name="T110" fmla="*/ 1748 w 1985"/>
                <a:gd name="T111" fmla="*/ 223 h 226"/>
                <a:gd name="T112" fmla="*/ 1841 w 1985"/>
                <a:gd name="T113" fmla="*/ 20 h 226"/>
                <a:gd name="T114" fmla="*/ 1807 w 1985"/>
                <a:gd name="T115" fmla="*/ 108 h 226"/>
                <a:gd name="T116" fmla="*/ 1814 w 1985"/>
                <a:gd name="T117" fmla="*/ 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5" h="226">
                  <a:moveTo>
                    <a:pt x="1906" y="153"/>
                  </a:moveTo>
                  <a:lnTo>
                    <a:pt x="1939" y="153"/>
                  </a:lnTo>
                  <a:lnTo>
                    <a:pt x="1922" y="41"/>
                  </a:lnTo>
                  <a:lnTo>
                    <a:pt x="1906" y="153"/>
                  </a:lnTo>
                  <a:close/>
                  <a:moveTo>
                    <a:pt x="1985" y="223"/>
                  </a:moveTo>
                  <a:lnTo>
                    <a:pt x="1950" y="223"/>
                  </a:lnTo>
                  <a:lnTo>
                    <a:pt x="1944" y="183"/>
                  </a:lnTo>
                  <a:lnTo>
                    <a:pt x="1901" y="183"/>
                  </a:lnTo>
                  <a:lnTo>
                    <a:pt x="1895" y="223"/>
                  </a:lnTo>
                  <a:lnTo>
                    <a:pt x="1863" y="223"/>
                  </a:lnTo>
                  <a:lnTo>
                    <a:pt x="1899" y="2"/>
                  </a:lnTo>
                  <a:lnTo>
                    <a:pt x="1950" y="2"/>
                  </a:lnTo>
                  <a:lnTo>
                    <a:pt x="1985" y="223"/>
                  </a:lnTo>
                  <a:close/>
                  <a:moveTo>
                    <a:pt x="73" y="223"/>
                  </a:moveTo>
                  <a:lnTo>
                    <a:pt x="72" y="219"/>
                  </a:lnTo>
                  <a:lnTo>
                    <a:pt x="71" y="214"/>
                  </a:lnTo>
                  <a:lnTo>
                    <a:pt x="70" y="207"/>
                  </a:lnTo>
                  <a:lnTo>
                    <a:pt x="70" y="196"/>
                  </a:lnTo>
                  <a:lnTo>
                    <a:pt x="70" y="161"/>
                  </a:lnTo>
                  <a:lnTo>
                    <a:pt x="69" y="154"/>
                  </a:lnTo>
                  <a:lnTo>
                    <a:pt x="68" y="148"/>
                  </a:lnTo>
                  <a:lnTo>
                    <a:pt x="67" y="143"/>
                  </a:lnTo>
                  <a:lnTo>
                    <a:pt x="64" y="140"/>
                  </a:lnTo>
                  <a:lnTo>
                    <a:pt x="61" y="137"/>
                  </a:lnTo>
                  <a:lnTo>
                    <a:pt x="57" y="135"/>
                  </a:lnTo>
                  <a:lnTo>
                    <a:pt x="52" y="134"/>
                  </a:lnTo>
                  <a:lnTo>
                    <a:pt x="47" y="133"/>
                  </a:lnTo>
                  <a:lnTo>
                    <a:pt x="35" y="133"/>
                  </a:lnTo>
                  <a:lnTo>
                    <a:pt x="35" y="223"/>
                  </a:lnTo>
                  <a:lnTo>
                    <a:pt x="0" y="223"/>
                  </a:lnTo>
                  <a:lnTo>
                    <a:pt x="0" y="2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65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6" y="5"/>
                  </a:lnTo>
                  <a:lnTo>
                    <a:pt x="80" y="7"/>
                  </a:lnTo>
                  <a:lnTo>
                    <a:pt x="85" y="9"/>
                  </a:lnTo>
                  <a:lnTo>
                    <a:pt x="88" y="12"/>
                  </a:lnTo>
                  <a:lnTo>
                    <a:pt x="92" y="15"/>
                  </a:lnTo>
                  <a:lnTo>
                    <a:pt x="95" y="18"/>
                  </a:lnTo>
                  <a:lnTo>
                    <a:pt x="97" y="22"/>
                  </a:lnTo>
                  <a:lnTo>
                    <a:pt x="99" y="26"/>
                  </a:lnTo>
                  <a:lnTo>
                    <a:pt x="101" y="31"/>
                  </a:lnTo>
                  <a:lnTo>
                    <a:pt x="102" y="36"/>
                  </a:lnTo>
                  <a:lnTo>
                    <a:pt x="103" y="41"/>
                  </a:lnTo>
                  <a:lnTo>
                    <a:pt x="104" y="47"/>
                  </a:lnTo>
                  <a:lnTo>
                    <a:pt x="104" y="53"/>
                  </a:lnTo>
                  <a:lnTo>
                    <a:pt x="104" y="70"/>
                  </a:lnTo>
                  <a:lnTo>
                    <a:pt x="104" y="78"/>
                  </a:lnTo>
                  <a:lnTo>
                    <a:pt x="103" y="86"/>
                  </a:lnTo>
                  <a:lnTo>
                    <a:pt x="101" y="93"/>
                  </a:lnTo>
                  <a:lnTo>
                    <a:pt x="99" y="99"/>
                  </a:lnTo>
                  <a:lnTo>
                    <a:pt x="95" y="104"/>
                  </a:lnTo>
                  <a:lnTo>
                    <a:pt x="93" y="106"/>
                  </a:lnTo>
                  <a:lnTo>
                    <a:pt x="91" y="108"/>
                  </a:lnTo>
                  <a:lnTo>
                    <a:pt x="89" y="110"/>
                  </a:lnTo>
                  <a:lnTo>
                    <a:pt x="87" y="112"/>
                  </a:lnTo>
                  <a:lnTo>
                    <a:pt x="84" y="114"/>
                  </a:lnTo>
                  <a:lnTo>
                    <a:pt x="81" y="115"/>
                  </a:lnTo>
                  <a:lnTo>
                    <a:pt x="87" y="118"/>
                  </a:lnTo>
                  <a:lnTo>
                    <a:pt x="92" y="122"/>
                  </a:lnTo>
                  <a:lnTo>
                    <a:pt x="96" y="127"/>
                  </a:lnTo>
                  <a:lnTo>
                    <a:pt x="98" y="130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2" y="139"/>
                  </a:lnTo>
                  <a:lnTo>
                    <a:pt x="103" y="143"/>
                  </a:lnTo>
                  <a:lnTo>
                    <a:pt x="103" y="146"/>
                  </a:lnTo>
                  <a:lnTo>
                    <a:pt x="104" y="154"/>
                  </a:lnTo>
                  <a:lnTo>
                    <a:pt x="104" y="162"/>
                  </a:lnTo>
                  <a:lnTo>
                    <a:pt x="104" y="196"/>
                  </a:lnTo>
                  <a:lnTo>
                    <a:pt x="105" y="204"/>
                  </a:lnTo>
                  <a:lnTo>
                    <a:pt x="105" y="211"/>
                  </a:lnTo>
                  <a:lnTo>
                    <a:pt x="105" y="214"/>
                  </a:lnTo>
                  <a:lnTo>
                    <a:pt x="106" y="217"/>
                  </a:lnTo>
                  <a:lnTo>
                    <a:pt x="108" y="223"/>
                  </a:lnTo>
                  <a:lnTo>
                    <a:pt x="73" y="223"/>
                  </a:lnTo>
                  <a:close/>
                  <a:moveTo>
                    <a:pt x="35" y="34"/>
                  </a:moveTo>
                  <a:lnTo>
                    <a:pt x="35" y="102"/>
                  </a:lnTo>
                  <a:lnTo>
                    <a:pt x="48" y="102"/>
                  </a:lnTo>
                  <a:lnTo>
                    <a:pt x="53" y="101"/>
                  </a:lnTo>
                  <a:lnTo>
                    <a:pt x="57" y="100"/>
                  </a:lnTo>
                  <a:lnTo>
                    <a:pt x="61" y="99"/>
                  </a:lnTo>
                  <a:lnTo>
                    <a:pt x="64" y="97"/>
                  </a:lnTo>
                  <a:lnTo>
                    <a:pt x="66" y="93"/>
                  </a:lnTo>
                  <a:lnTo>
                    <a:pt x="68" y="89"/>
                  </a:lnTo>
                  <a:lnTo>
                    <a:pt x="69" y="84"/>
                  </a:lnTo>
                  <a:lnTo>
                    <a:pt x="69" y="78"/>
                  </a:lnTo>
                  <a:lnTo>
                    <a:pt x="69" y="56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5" y="39"/>
                  </a:lnTo>
                  <a:lnTo>
                    <a:pt x="63" y="37"/>
                  </a:lnTo>
                  <a:lnTo>
                    <a:pt x="60" y="35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35" y="34"/>
                  </a:lnTo>
                  <a:close/>
                  <a:moveTo>
                    <a:pt x="248" y="223"/>
                  </a:moveTo>
                  <a:lnTo>
                    <a:pt x="212" y="223"/>
                  </a:lnTo>
                  <a:lnTo>
                    <a:pt x="206" y="183"/>
                  </a:lnTo>
                  <a:lnTo>
                    <a:pt x="164" y="183"/>
                  </a:lnTo>
                  <a:lnTo>
                    <a:pt x="158" y="223"/>
                  </a:lnTo>
                  <a:lnTo>
                    <a:pt x="126" y="223"/>
                  </a:lnTo>
                  <a:lnTo>
                    <a:pt x="161" y="2"/>
                  </a:lnTo>
                  <a:lnTo>
                    <a:pt x="212" y="2"/>
                  </a:lnTo>
                  <a:lnTo>
                    <a:pt x="248" y="223"/>
                  </a:lnTo>
                  <a:close/>
                  <a:moveTo>
                    <a:pt x="168" y="153"/>
                  </a:moveTo>
                  <a:lnTo>
                    <a:pt x="202" y="153"/>
                  </a:lnTo>
                  <a:lnTo>
                    <a:pt x="185" y="41"/>
                  </a:lnTo>
                  <a:lnTo>
                    <a:pt x="168" y="153"/>
                  </a:lnTo>
                  <a:close/>
                  <a:moveTo>
                    <a:pt x="316" y="183"/>
                  </a:moveTo>
                  <a:lnTo>
                    <a:pt x="343" y="2"/>
                  </a:lnTo>
                  <a:lnTo>
                    <a:pt x="375" y="2"/>
                  </a:lnTo>
                  <a:lnTo>
                    <a:pt x="340" y="223"/>
                  </a:lnTo>
                  <a:lnTo>
                    <a:pt x="289" y="223"/>
                  </a:lnTo>
                  <a:lnTo>
                    <a:pt x="254" y="2"/>
                  </a:lnTo>
                  <a:lnTo>
                    <a:pt x="290" y="2"/>
                  </a:lnTo>
                  <a:lnTo>
                    <a:pt x="316" y="183"/>
                  </a:lnTo>
                  <a:close/>
                  <a:moveTo>
                    <a:pt x="398" y="2"/>
                  </a:moveTo>
                  <a:lnTo>
                    <a:pt x="433" y="2"/>
                  </a:lnTo>
                  <a:lnTo>
                    <a:pt x="433" y="223"/>
                  </a:lnTo>
                  <a:lnTo>
                    <a:pt x="398" y="223"/>
                  </a:lnTo>
                  <a:lnTo>
                    <a:pt x="398" y="2"/>
                  </a:lnTo>
                  <a:close/>
                  <a:moveTo>
                    <a:pt x="456" y="2"/>
                  </a:moveTo>
                  <a:lnTo>
                    <a:pt x="564" y="2"/>
                  </a:lnTo>
                  <a:lnTo>
                    <a:pt x="564" y="34"/>
                  </a:lnTo>
                  <a:lnTo>
                    <a:pt x="527" y="34"/>
                  </a:lnTo>
                  <a:lnTo>
                    <a:pt x="527" y="223"/>
                  </a:lnTo>
                  <a:lnTo>
                    <a:pt x="493" y="223"/>
                  </a:lnTo>
                  <a:lnTo>
                    <a:pt x="493" y="34"/>
                  </a:lnTo>
                  <a:lnTo>
                    <a:pt x="456" y="34"/>
                  </a:lnTo>
                  <a:lnTo>
                    <a:pt x="456" y="2"/>
                  </a:lnTo>
                  <a:close/>
                  <a:moveTo>
                    <a:pt x="634" y="0"/>
                  </a:moveTo>
                  <a:lnTo>
                    <a:pt x="640" y="0"/>
                  </a:lnTo>
                  <a:lnTo>
                    <a:pt x="645" y="0"/>
                  </a:lnTo>
                  <a:lnTo>
                    <a:pt x="651" y="2"/>
                  </a:lnTo>
                  <a:lnTo>
                    <a:pt x="656" y="3"/>
                  </a:lnTo>
                  <a:lnTo>
                    <a:pt x="660" y="5"/>
                  </a:lnTo>
                  <a:lnTo>
                    <a:pt x="665" y="8"/>
                  </a:lnTo>
                  <a:lnTo>
                    <a:pt x="668" y="11"/>
                  </a:lnTo>
                  <a:lnTo>
                    <a:pt x="672" y="14"/>
                  </a:lnTo>
                  <a:lnTo>
                    <a:pt x="675" y="18"/>
                  </a:lnTo>
                  <a:lnTo>
                    <a:pt x="677" y="22"/>
                  </a:lnTo>
                  <a:lnTo>
                    <a:pt x="680" y="27"/>
                  </a:lnTo>
                  <a:lnTo>
                    <a:pt x="681" y="32"/>
                  </a:lnTo>
                  <a:lnTo>
                    <a:pt x="683" y="37"/>
                  </a:lnTo>
                  <a:lnTo>
                    <a:pt x="684" y="43"/>
                  </a:lnTo>
                  <a:lnTo>
                    <a:pt x="685" y="49"/>
                  </a:lnTo>
                  <a:lnTo>
                    <a:pt x="685" y="55"/>
                  </a:lnTo>
                  <a:lnTo>
                    <a:pt x="685" y="62"/>
                  </a:lnTo>
                  <a:lnTo>
                    <a:pt x="652" y="62"/>
                  </a:lnTo>
                  <a:lnTo>
                    <a:pt x="652" y="53"/>
                  </a:lnTo>
                  <a:lnTo>
                    <a:pt x="652" y="47"/>
                  </a:lnTo>
                  <a:lnTo>
                    <a:pt x="651" y="43"/>
                  </a:lnTo>
                  <a:lnTo>
                    <a:pt x="650" y="41"/>
                  </a:lnTo>
                  <a:lnTo>
                    <a:pt x="649" y="39"/>
                  </a:lnTo>
                  <a:lnTo>
                    <a:pt x="647" y="36"/>
                  </a:lnTo>
                  <a:lnTo>
                    <a:pt x="645" y="34"/>
                  </a:lnTo>
                  <a:lnTo>
                    <a:pt x="642" y="32"/>
                  </a:lnTo>
                  <a:lnTo>
                    <a:pt x="638" y="31"/>
                  </a:lnTo>
                  <a:lnTo>
                    <a:pt x="634" y="31"/>
                  </a:lnTo>
                  <a:lnTo>
                    <a:pt x="631" y="31"/>
                  </a:lnTo>
                  <a:lnTo>
                    <a:pt x="627" y="32"/>
                  </a:lnTo>
                  <a:lnTo>
                    <a:pt x="624" y="34"/>
                  </a:lnTo>
                  <a:lnTo>
                    <a:pt x="622" y="36"/>
                  </a:lnTo>
                  <a:lnTo>
                    <a:pt x="620" y="39"/>
                  </a:lnTo>
                  <a:lnTo>
                    <a:pt x="618" y="43"/>
                  </a:lnTo>
                  <a:lnTo>
                    <a:pt x="617" y="47"/>
                  </a:lnTo>
                  <a:lnTo>
                    <a:pt x="617" y="53"/>
                  </a:lnTo>
                  <a:lnTo>
                    <a:pt x="617" y="57"/>
                  </a:lnTo>
                  <a:lnTo>
                    <a:pt x="618" y="61"/>
                  </a:lnTo>
                  <a:lnTo>
                    <a:pt x="620" y="68"/>
                  </a:lnTo>
                  <a:lnTo>
                    <a:pt x="623" y="75"/>
                  </a:lnTo>
                  <a:lnTo>
                    <a:pt x="628" y="82"/>
                  </a:lnTo>
                  <a:lnTo>
                    <a:pt x="633" y="88"/>
                  </a:lnTo>
                  <a:lnTo>
                    <a:pt x="639" y="93"/>
                  </a:lnTo>
                  <a:lnTo>
                    <a:pt x="651" y="105"/>
                  </a:lnTo>
                  <a:lnTo>
                    <a:pt x="657" y="111"/>
                  </a:lnTo>
                  <a:lnTo>
                    <a:pt x="664" y="117"/>
                  </a:lnTo>
                  <a:lnTo>
                    <a:pt x="669" y="124"/>
                  </a:lnTo>
                  <a:lnTo>
                    <a:pt x="674" y="132"/>
                  </a:lnTo>
                  <a:lnTo>
                    <a:pt x="679" y="140"/>
                  </a:lnTo>
                  <a:lnTo>
                    <a:pt x="681" y="144"/>
                  </a:lnTo>
                  <a:lnTo>
                    <a:pt x="682" y="149"/>
                  </a:lnTo>
                  <a:lnTo>
                    <a:pt x="683" y="154"/>
                  </a:lnTo>
                  <a:lnTo>
                    <a:pt x="684" y="159"/>
                  </a:lnTo>
                  <a:lnTo>
                    <a:pt x="685" y="164"/>
                  </a:lnTo>
                  <a:lnTo>
                    <a:pt x="685" y="170"/>
                  </a:lnTo>
                  <a:lnTo>
                    <a:pt x="685" y="177"/>
                  </a:lnTo>
                  <a:lnTo>
                    <a:pt x="684" y="183"/>
                  </a:lnTo>
                  <a:lnTo>
                    <a:pt x="683" y="188"/>
                  </a:lnTo>
                  <a:lnTo>
                    <a:pt x="682" y="194"/>
                  </a:lnTo>
                  <a:lnTo>
                    <a:pt x="680" y="199"/>
                  </a:lnTo>
                  <a:lnTo>
                    <a:pt x="678" y="203"/>
                  </a:lnTo>
                  <a:lnTo>
                    <a:pt x="675" y="208"/>
                  </a:lnTo>
                  <a:lnTo>
                    <a:pt x="672" y="211"/>
                  </a:lnTo>
                  <a:lnTo>
                    <a:pt x="668" y="215"/>
                  </a:lnTo>
                  <a:lnTo>
                    <a:pt x="665" y="218"/>
                  </a:lnTo>
                  <a:lnTo>
                    <a:pt x="660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5" y="225"/>
                  </a:lnTo>
                  <a:lnTo>
                    <a:pt x="639" y="226"/>
                  </a:lnTo>
                  <a:lnTo>
                    <a:pt x="633" y="226"/>
                  </a:lnTo>
                  <a:lnTo>
                    <a:pt x="627" y="226"/>
                  </a:lnTo>
                  <a:lnTo>
                    <a:pt x="621" y="225"/>
                  </a:lnTo>
                  <a:lnTo>
                    <a:pt x="616" y="224"/>
                  </a:lnTo>
                  <a:lnTo>
                    <a:pt x="611" y="222"/>
                  </a:lnTo>
                  <a:lnTo>
                    <a:pt x="606" y="220"/>
                  </a:lnTo>
                  <a:lnTo>
                    <a:pt x="602" y="218"/>
                  </a:lnTo>
                  <a:lnTo>
                    <a:pt x="598" y="215"/>
                  </a:lnTo>
                  <a:lnTo>
                    <a:pt x="594" y="211"/>
                  </a:lnTo>
                  <a:lnTo>
                    <a:pt x="591" y="208"/>
                  </a:lnTo>
                  <a:lnTo>
                    <a:pt x="589" y="203"/>
                  </a:lnTo>
                  <a:lnTo>
                    <a:pt x="587" y="199"/>
                  </a:lnTo>
                  <a:lnTo>
                    <a:pt x="585" y="194"/>
                  </a:lnTo>
                  <a:lnTo>
                    <a:pt x="583" y="188"/>
                  </a:lnTo>
                  <a:lnTo>
                    <a:pt x="582" y="183"/>
                  </a:lnTo>
                  <a:lnTo>
                    <a:pt x="582" y="177"/>
                  </a:lnTo>
                  <a:lnTo>
                    <a:pt x="581" y="170"/>
                  </a:lnTo>
                  <a:lnTo>
                    <a:pt x="581" y="157"/>
                  </a:lnTo>
                  <a:lnTo>
                    <a:pt x="614" y="157"/>
                  </a:lnTo>
                  <a:lnTo>
                    <a:pt x="614" y="172"/>
                  </a:lnTo>
                  <a:lnTo>
                    <a:pt x="615" y="178"/>
                  </a:lnTo>
                  <a:lnTo>
                    <a:pt x="616" y="182"/>
                  </a:lnTo>
                  <a:lnTo>
                    <a:pt x="617" y="186"/>
                  </a:lnTo>
                  <a:lnTo>
                    <a:pt x="619" y="189"/>
                  </a:lnTo>
                  <a:lnTo>
                    <a:pt x="622" y="191"/>
                  </a:lnTo>
                  <a:lnTo>
                    <a:pt x="625" y="193"/>
                  </a:lnTo>
                  <a:lnTo>
                    <a:pt x="628" y="194"/>
                  </a:lnTo>
                  <a:lnTo>
                    <a:pt x="632" y="194"/>
                  </a:lnTo>
                  <a:lnTo>
                    <a:pt x="636" y="194"/>
                  </a:lnTo>
                  <a:lnTo>
                    <a:pt x="640" y="193"/>
                  </a:lnTo>
                  <a:lnTo>
                    <a:pt x="643" y="191"/>
                  </a:lnTo>
                  <a:lnTo>
                    <a:pt x="644" y="190"/>
                  </a:lnTo>
                  <a:lnTo>
                    <a:pt x="645" y="189"/>
                  </a:lnTo>
                  <a:lnTo>
                    <a:pt x="647" y="186"/>
                  </a:lnTo>
                  <a:lnTo>
                    <a:pt x="649" y="182"/>
                  </a:lnTo>
                  <a:lnTo>
                    <a:pt x="650" y="178"/>
                  </a:lnTo>
                  <a:lnTo>
                    <a:pt x="650" y="172"/>
                  </a:lnTo>
                  <a:lnTo>
                    <a:pt x="650" y="168"/>
                  </a:lnTo>
                  <a:lnTo>
                    <a:pt x="649" y="164"/>
                  </a:lnTo>
                  <a:lnTo>
                    <a:pt x="647" y="157"/>
                  </a:lnTo>
                  <a:lnTo>
                    <a:pt x="644" y="150"/>
                  </a:lnTo>
                  <a:lnTo>
                    <a:pt x="640" y="144"/>
                  </a:lnTo>
                  <a:lnTo>
                    <a:pt x="635" y="138"/>
                  </a:lnTo>
                  <a:lnTo>
                    <a:pt x="629" y="132"/>
                  </a:lnTo>
                  <a:lnTo>
                    <a:pt x="616" y="120"/>
                  </a:lnTo>
                  <a:lnTo>
                    <a:pt x="610" y="114"/>
                  </a:lnTo>
                  <a:lnTo>
                    <a:pt x="604" y="108"/>
                  </a:lnTo>
                  <a:lnTo>
                    <a:pt x="598" y="101"/>
                  </a:lnTo>
                  <a:lnTo>
                    <a:pt x="593" y="94"/>
                  </a:lnTo>
                  <a:lnTo>
                    <a:pt x="589" y="86"/>
                  </a:lnTo>
                  <a:lnTo>
                    <a:pt x="587" y="81"/>
                  </a:lnTo>
                  <a:lnTo>
                    <a:pt x="585" y="76"/>
                  </a:lnTo>
                  <a:lnTo>
                    <a:pt x="584" y="72"/>
                  </a:lnTo>
                  <a:lnTo>
                    <a:pt x="583" y="66"/>
                  </a:lnTo>
                  <a:lnTo>
                    <a:pt x="583" y="61"/>
                  </a:lnTo>
                  <a:lnTo>
                    <a:pt x="582" y="55"/>
                  </a:lnTo>
                  <a:lnTo>
                    <a:pt x="583" y="49"/>
                  </a:lnTo>
                  <a:lnTo>
                    <a:pt x="583" y="43"/>
                  </a:lnTo>
                  <a:lnTo>
                    <a:pt x="584" y="37"/>
                  </a:lnTo>
                  <a:lnTo>
                    <a:pt x="586" y="32"/>
                  </a:lnTo>
                  <a:lnTo>
                    <a:pt x="587" y="27"/>
                  </a:lnTo>
                  <a:lnTo>
                    <a:pt x="590" y="22"/>
                  </a:lnTo>
                  <a:lnTo>
                    <a:pt x="592" y="18"/>
                  </a:lnTo>
                  <a:lnTo>
                    <a:pt x="595" y="14"/>
                  </a:lnTo>
                  <a:lnTo>
                    <a:pt x="599" y="11"/>
                  </a:lnTo>
                  <a:lnTo>
                    <a:pt x="602" y="8"/>
                  </a:lnTo>
                  <a:lnTo>
                    <a:pt x="607" y="5"/>
                  </a:lnTo>
                  <a:lnTo>
                    <a:pt x="611" y="3"/>
                  </a:lnTo>
                  <a:lnTo>
                    <a:pt x="616" y="2"/>
                  </a:lnTo>
                  <a:lnTo>
                    <a:pt x="622" y="0"/>
                  </a:lnTo>
                  <a:lnTo>
                    <a:pt x="627" y="0"/>
                  </a:lnTo>
                  <a:lnTo>
                    <a:pt x="634" y="0"/>
                  </a:lnTo>
                  <a:close/>
                  <a:moveTo>
                    <a:pt x="748" y="95"/>
                  </a:moveTo>
                  <a:lnTo>
                    <a:pt x="795" y="95"/>
                  </a:lnTo>
                  <a:lnTo>
                    <a:pt x="795" y="127"/>
                  </a:lnTo>
                  <a:lnTo>
                    <a:pt x="748" y="127"/>
                  </a:lnTo>
                  <a:lnTo>
                    <a:pt x="748" y="192"/>
                  </a:lnTo>
                  <a:lnTo>
                    <a:pt x="808" y="192"/>
                  </a:lnTo>
                  <a:lnTo>
                    <a:pt x="808" y="223"/>
                  </a:lnTo>
                  <a:lnTo>
                    <a:pt x="713" y="223"/>
                  </a:lnTo>
                  <a:lnTo>
                    <a:pt x="713" y="2"/>
                  </a:lnTo>
                  <a:lnTo>
                    <a:pt x="808" y="2"/>
                  </a:lnTo>
                  <a:lnTo>
                    <a:pt x="808" y="34"/>
                  </a:lnTo>
                  <a:lnTo>
                    <a:pt x="748" y="34"/>
                  </a:lnTo>
                  <a:lnTo>
                    <a:pt x="748" y="95"/>
                  </a:lnTo>
                  <a:close/>
                  <a:moveTo>
                    <a:pt x="911" y="159"/>
                  </a:moveTo>
                  <a:lnTo>
                    <a:pt x="934" y="2"/>
                  </a:lnTo>
                  <a:lnTo>
                    <a:pt x="983" y="2"/>
                  </a:lnTo>
                  <a:lnTo>
                    <a:pt x="983" y="223"/>
                  </a:lnTo>
                  <a:lnTo>
                    <a:pt x="950" y="223"/>
                  </a:lnTo>
                  <a:lnTo>
                    <a:pt x="950" y="65"/>
                  </a:lnTo>
                  <a:lnTo>
                    <a:pt x="926" y="223"/>
                  </a:lnTo>
                  <a:lnTo>
                    <a:pt x="893" y="223"/>
                  </a:lnTo>
                  <a:lnTo>
                    <a:pt x="867" y="67"/>
                  </a:lnTo>
                  <a:lnTo>
                    <a:pt x="867" y="223"/>
                  </a:lnTo>
                  <a:lnTo>
                    <a:pt x="837" y="223"/>
                  </a:lnTo>
                  <a:lnTo>
                    <a:pt x="837" y="2"/>
                  </a:lnTo>
                  <a:lnTo>
                    <a:pt x="885" y="2"/>
                  </a:lnTo>
                  <a:lnTo>
                    <a:pt x="911" y="159"/>
                  </a:lnTo>
                  <a:close/>
                  <a:moveTo>
                    <a:pt x="1017" y="2"/>
                  </a:moveTo>
                  <a:lnTo>
                    <a:pt x="1051" y="2"/>
                  </a:lnTo>
                  <a:lnTo>
                    <a:pt x="1051" y="223"/>
                  </a:lnTo>
                  <a:lnTo>
                    <a:pt x="1017" y="223"/>
                  </a:lnTo>
                  <a:lnTo>
                    <a:pt x="1017" y="2"/>
                  </a:lnTo>
                  <a:close/>
                  <a:moveTo>
                    <a:pt x="1131" y="0"/>
                  </a:moveTo>
                  <a:lnTo>
                    <a:pt x="1138" y="0"/>
                  </a:lnTo>
                  <a:lnTo>
                    <a:pt x="1143" y="0"/>
                  </a:lnTo>
                  <a:lnTo>
                    <a:pt x="1149" y="2"/>
                  </a:lnTo>
                  <a:lnTo>
                    <a:pt x="1154" y="3"/>
                  </a:lnTo>
                  <a:lnTo>
                    <a:pt x="1158" y="5"/>
                  </a:lnTo>
                  <a:lnTo>
                    <a:pt x="1162" y="8"/>
                  </a:lnTo>
                  <a:lnTo>
                    <a:pt x="1166" y="11"/>
                  </a:lnTo>
                  <a:lnTo>
                    <a:pt x="1170" y="14"/>
                  </a:lnTo>
                  <a:lnTo>
                    <a:pt x="1173" y="18"/>
                  </a:lnTo>
                  <a:lnTo>
                    <a:pt x="1175" y="22"/>
                  </a:lnTo>
                  <a:lnTo>
                    <a:pt x="1178" y="27"/>
                  </a:lnTo>
                  <a:lnTo>
                    <a:pt x="1179" y="32"/>
                  </a:lnTo>
                  <a:lnTo>
                    <a:pt x="1181" y="37"/>
                  </a:lnTo>
                  <a:lnTo>
                    <a:pt x="1182" y="43"/>
                  </a:lnTo>
                  <a:lnTo>
                    <a:pt x="1182" y="49"/>
                  </a:lnTo>
                  <a:lnTo>
                    <a:pt x="1183" y="55"/>
                  </a:lnTo>
                  <a:lnTo>
                    <a:pt x="1183" y="62"/>
                  </a:lnTo>
                  <a:lnTo>
                    <a:pt x="1150" y="62"/>
                  </a:lnTo>
                  <a:lnTo>
                    <a:pt x="1150" y="53"/>
                  </a:lnTo>
                  <a:lnTo>
                    <a:pt x="1149" y="47"/>
                  </a:lnTo>
                  <a:lnTo>
                    <a:pt x="1149" y="43"/>
                  </a:lnTo>
                  <a:lnTo>
                    <a:pt x="1148" y="41"/>
                  </a:lnTo>
                  <a:lnTo>
                    <a:pt x="1147" y="39"/>
                  </a:lnTo>
                  <a:lnTo>
                    <a:pt x="1145" y="36"/>
                  </a:lnTo>
                  <a:lnTo>
                    <a:pt x="1143" y="34"/>
                  </a:lnTo>
                  <a:lnTo>
                    <a:pt x="1140" y="32"/>
                  </a:lnTo>
                  <a:lnTo>
                    <a:pt x="1136" y="31"/>
                  </a:lnTo>
                  <a:lnTo>
                    <a:pt x="1132" y="31"/>
                  </a:lnTo>
                  <a:lnTo>
                    <a:pt x="1128" y="31"/>
                  </a:lnTo>
                  <a:lnTo>
                    <a:pt x="1125" y="32"/>
                  </a:lnTo>
                  <a:lnTo>
                    <a:pt x="1122" y="34"/>
                  </a:lnTo>
                  <a:lnTo>
                    <a:pt x="1120" y="36"/>
                  </a:lnTo>
                  <a:lnTo>
                    <a:pt x="1118" y="39"/>
                  </a:lnTo>
                  <a:lnTo>
                    <a:pt x="1116" y="43"/>
                  </a:lnTo>
                  <a:lnTo>
                    <a:pt x="1115" y="47"/>
                  </a:lnTo>
                  <a:lnTo>
                    <a:pt x="1115" y="53"/>
                  </a:lnTo>
                  <a:lnTo>
                    <a:pt x="1115" y="57"/>
                  </a:lnTo>
                  <a:lnTo>
                    <a:pt x="1116" y="61"/>
                  </a:lnTo>
                  <a:lnTo>
                    <a:pt x="1118" y="68"/>
                  </a:lnTo>
                  <a:lnTo>
                    <a:pt x="1121" y="75"/>
                  </a:lnTo>
                  <a:lnTo>
                    <a:pt x="1126" y="82"/>
                  </a:lnTo>
                  <a:lnTo>
                    <a:pt x="1131" y="88"/>
                  </a:lnTo>
                  <a:lnTo>
                    <a:pt x="1136" y="93"/>
                  </a:lnTo>
                  <a:lnTo>
                    <a:pt x="1149" y="105"/>
                  </a:lnTo>
                  <a:lnTo>
                    <a:pt x="1155" y="111"/>
                  </a:lnTo>
                  <a:lnTo>
                    <a:pt x="1161" y="117"/>
                  </a:lnTo>
                  <a:lnTo>
                    <a:pt x="1167" y="124"/>
                  </a:lnTo>
                  <a:lnTo>
                    <a:pt x="1172" y="132"/>
                  </a:lnTo>
                  <a:lnTo>
                    <a:pt x="1177" y="140"/>
                  </a:lnTo>
                  <a:lnTo>
                    <a:pt x="1178" y="144"/>
                  </a:lnTo>
                  <a:lnTo>
                    <a:pt x="1180" y="149"/>
                  </a:lnTo>
                  <a:lnTo>
                    <a:pt x="1181" y="154"/>
                  </a:lnTo>
                  <a:lnTo>
                    <a:pt x="1182" y="159"/>
                  </a:lnTo>
                  <a:lnTo>
                    <a:pt x="1183" y="164"/>
                  </a:lnTo>
                  <a:lnTo>
                    <a:pt x="1183" y="170"/>
                  </a:lnTo>
                  <a:lnTo>
                    <a:pt x="1183" y="177"/>
                  </a:lnTo>
                  <a:lnTo>
                    <a:pt x="1182" y="183"/>
                  </a:lnTo>
                  <a:lnTo>
                    <a:pt x="1181" y="188"/>
                  </a:lnTo>
                  <a:lnTo>
                    <a:pt x="1180" y="194"/>
                  </a:lnTo>
                  <a:lnTo>
                    <a:pt x="1178" y="199"/>
                  </a:lnTo>
                  <a:lnTo>
                    <a:pt x="1176" y="203"/>
                  </a:lnTo>
                  <a:lnTo>
                    <a:pt x="1173" y="208"/>
                  </a:lnTo>
                  <a:lnTo>
                    <a:pt x="1170" y="211"/>
                  </a:lnTo>
                  <a:lnTo>
                    <a:pt x="1166" y="215"/>
                  </a:lnTo>
                  <a:lnTo>
                    <a:pt x="1162" y="218"/>
                  </a:lnTo>
                  <a:lnTo>
                    <a:pt x="1158" y="220"/>
                  </a:lnTo>
                  <a:lnTo>
                    <a:pt x="1154" y="222"/>
                  </a:lnTo>
                  <a:lnTo>
                    <a:pt x="1149" y="224"/>
                  </a:lnTo>
                  <a:lnTo>
                    <a:pt x="1143" y="225"/>
                  </a:lnTo>
                  <a:lnTo>
                    <a:pt x="1137" y="226"/>
                  </a:lnTo>
                  <a:lnTo>
                    <a:pt x="1131" y="226"/>
                  </a:lnTo>
                  <a:lnTo>
                    <a:pt x="1125" y="226"/>
                  </a:lnTo>
                  <a:lnTo>
                    <a:pt x="1119" y="225"/>
                  </a:lnTo>
                  <a:lnTo>
                    <a:pt x="1114" y="224"/>
                  </a:lnTo>
                  <a:lnTo>
                    <a:pt x="1109" y="222"/>
                  </a:lnTo>
                  <a:lnTo>
                    <a:pt x="1104" y="220"/>
                  </a:lnTo>
                  <a:lnTo>
                    <a:pt x="1100" y="218"/>
                  </a:lnTo>
                  <a:lnTo>
                    <a:pt x="1096" y="215"/>
                  </a:lnTo>
                  <a:lnTo>
                    <a:pt x="1092" y="211"/>
                  </a:lnTo>
                  <a:lnTo>
                    <a:pt x="1089" y="208"/>
                  </a:lnTo>
                  <a:lnTo>
                    <a:pt x="1087" y="203"/>
                  </a:lnTo>
                  <a:lnTo>
                    <a:pt x="1084" y="199"/>
                  </a:lnTo>
                  <a:lnTo>
                    <a:pt x="1083" y="194"/>
                  </a:lnTo>
                  <a:lnTo>
                    <a:pt x="1081" y="188"/>
                  </a:lnTo>
                  <a:lnTo>
                    <a:pt x="1080" y="183"/>
                  </a:lnTo>
                  <a:lnTo>
                    <a:pt x="1079" y="177"/>
                  </a:lnTo>
                  <a:lnTo>
                    <a:pt x="1079" y="170"/>
                  </a:lnTo>
                  <a:lnTo>
                    <a:pt x="1079" y="157"/>
                  </a:lnTo>
                  <a:lnTo>
                    <a:pt x="1112" y="157"/>
                  </a:lnTo>
                  <a:lnTo>
                    <a:pt x="1112" y="172"/>
                  </a:lnTo>
                  <a:lnTo>
                    <a:pt x="1112" y="178"/>
                  </a:lnTo>
                  <a:lnTo>
                    <a:pt x="1113" y="182"/>
                  </a:lnTo>
                  <a:lnTo>
                    <a:pt x="1115" y="186"/>
                  </a:lnTo>
                  <a:lnTo>
                    <a:pt x="1117" y="189"/>
                  </a:lnTo>
                  <a:lnTo>
                    <a:pt x="1120" y="191"/>
                  </a:lnTo>
                  <a:lnTo>
                    <a:pt x="1123" y="193"/>
                  </a:lnTo>
                  <a:lnTo>
                    <a:pt x="1126" y="194"/>
                  </a:lnTo>
                  <a:lnTo>
                    <a:pt x="1130" y="194"/>
                  </a:lnTo>
                  <a:lnTo>
                    <a:pt x="1134" y="194"/>
                  </a:lnTo>
                  <a:lnTo>
                    <a:pt x="1138" y="193"/>
                  </a:lnTo>
                  <a:lnTo>
                    <a:pt x="1141" y="191"/>
                  </a:lnTo>
                  <a:lnTo>
                    <a:pt x="1142" y="190"/>
                  </a:lnTo>
                  <a:lnTo>
                    <a:pt x="1143" y="189"/>
                  </a:lnTo>
                  <a:lnTo>
                    <a:pt x="1145" y="186"/>
                  </a:lnTo>
                  <a:lnTo>
                    <a:pt x="1147" y="182"/>
                  </a:lnTo>
                  <a:lnTo>
                    <a:pt x="1148" y="178"/>
                  </a:lnTo>
                  <a:lnTo>
                    <a:pt x="1148" y="172"/>
                  </a:lnTo>
                  <a:lnTo>
                    <a:pt x="1148" y="168"/>
                  </a:lnTo>
                  <a:lnTo>
                    <a:pt x="1147" y="164"/>
                  </a:lnTo>
                  <a:lnTo>
                    <a:pt x="1145" y="157"/>
                  </a:lnTo>
                  <a:lnTo>
                    <a:pt x="1142" y="150"/>
                  </a:lnTo>
                  <a:lnTo>
                    <a:pt x="1138" y="144"/>
                  </a:lnTo>
                  <a:lnTo>
                    <a:pt x="1132" y="138"/>
                  </a:lnTo>
                  <a:lnTo>
                    <a:pt x="1127" y="132"/>
                  </a:lnTo>
                  <a:lnTo>
                    <a:pt x="1114" y="120"/>
                  </a:lnTo>
                  <a:lnTo>
                    <a:pt x="1108" y="114"/>
                  </a:lnTo>
                  <a:lnTo>
                    <a:pt x="1102" y="108"/>
                  </a:lnTo>
                  <a:lnTo>
                    <a:pt x="1096" y="101"/>
                  </a:lnTo>
                  <a:lnTo>
                    <a:pt x="1091" y="94"/>
                  </a:lnTo>
                  <a:lnTo>
                    <a:pt x="1086" y="86"/>
                  </a:lnTo>
                  <a:lnTo>
                    <a:pt x="1085" y="81"/>
                  </a:lnTo>
                  <a:lnTo>
                    <a:pt x="1083" y="76"/>
                  </a:lnTo>
                  <a:lnTo>
                    <a:pt x="1082" y="72"/>
                  </a:lnTo>
                  <a:lnTo>
                    <a:pt x="1081" y="66"/>
                  </a:lnTo>
                  <a:lnTo>
                    <a:pt x="1080" y="61"/>
                  </a:lnTo>
                  <a:lnTo>
                    <a:pt x="1080" y="55"/>
                  </a:lnTo>
                  <a:lnTo>
                    <a:pt x="1080" y="49"/>
                  </a:lnTo>
                  <a:lnTo>
                    <a:pt x="1081" y="43"/>
                  </a:lnTo>
                  <a:lnTo>
                    <a:pt x="1082" y="37"/>
                  </a:lnTo>
                  <a:lnTo>
                    <a:pt x="1083" y="32"/>
                  </a:lnTo>
                  <a:lnTo>
                    <a:pt x="1085" y="27"/>
                  </a:lnTo>
                  <a:lnTo>
                    <a:pt x="1088" y="22"/>
                  </a:lnTo>
                  <a:lnTo>
                    <a:pt x="1090" y="18"/>
                  </a:lnTo>
                  <a:lnTo>
                    <a:pt x="1093" y="14"/>
                  </a:lnTo>
                  <a:lnTo>
                    <a:pt x="1097" y="11"/>
                  </a:lnTo>
                  <a:lnTo>
                    <a:pt x="1100" y="8"/>
                  </a:lnTo>
                  <a:lnTo>
                    <a:pt x="1105" y="5"/>
                  </a:lnTo>
                  <a:lnTo>
                    <a:pt x="1109" y="3"/>
                  </a:lnTo>
                  <a:lnTo>
                    <a:pt x="1114" y="2"/>
                  </a:lnTo>
                  <a:lnTo>
                    <a:pt x="1120" y="0"/>
                  </a:lnTo>
                  <a:lnTo>
                    <a:pt x="1125" y="0"/>
                  </a:lnTo>
                  <a:lnTo>
                    <a:pt x="1131" y="0"/>
                  </a:lnTo>
                  <a:close/>
                  <a:moveTo>
                    <a:pt x="1256" y="135"/>
                  </a:moveTo>
                  <a:lnTo>
                    <a:pt x="1245" y="155"/>
                  </a:lnTo>
                  <a:lnTo>
                    <a:pt x="1245" y="223"/>
                  </a:lnTo>
                  <a:lnTo>
                    <a:pt x="1211" y="223"/>
                  </a:lnTo>
                  <a:lnTo>
                    <a:pt x="1211" y="2"/>
                  </a:lnTo>
                  <a:lnTo>
                    <a:pt x="1245" y="2"/>
                  </a:lnTo>
                  <a:lnTo>
                    <a:pt x="1245" y="98"/>
                  </a:lnTo>
                  <a:lnTo>
                    <a:pt x="1291" y="2"/>
                  </a:lnTo>
                  <a:lnTo>
                    <a:pt x="1326" y="2"/>
                  </a:lnTo>
                  <a:lnTo>
                    <a:pt x="1277" y="101"/>
                  </a:lnTo>
                  <a:lnTo>
                    <a:pt x="1326" y="223"/>
                  </a:lnTo>
                  <a:lnTo>
                    <a:pt x="1290" y="223"/>
                  </a:lnTo>
                  <a:lnTo>
                    <a:pt x="1256" y="135"/>
                  </a:lnTo>
                  <a:close/>
                  <a:moveTo>
                    <a:pt x="1462" y="223"/>
                  </a:moveTo>
                  <a:lnTo>
                    <a:pt x="1427" y="223"/>
                  </a:lnTo>
                  <a:lnTo>
                    <a:pt x="1421" y="183"/>
                  </a:lnTo>
                  <a:lnTo>
                    <a:pt x="1378" y="183"/>
                  </a:lnTo>
                  <a:lnTo>
                    <a:pt x="1372" y="223"/>
                  </a:lnTo>
                  <a:lnTo>
                    <a:pt x="1340" y="223"/>
                  </a:lnTo>
                  <a:lnTo>
                    <a:pt x="1376" y="2"/>
                  </a:lnTo>
                  <a:lnTo>
                    <a:pt x="1426" y="2"/>
                  </a:lnTo>
                  <a:lnTo>
                    <a:pt x="1462" y="223"/>
                  </a:lnTo>
                  <a:close/>
                  <a:moveTo>
                    <a:pt x="1383" y="153"/>
                  </a:moveTo>
                  <a:lnTo>
                    <a:pt x="1416" y="153"/>
                  </a:lnTo>
                  <a:lnTo>
                    <a:pt x="1399" y="41"/>
                  </a:lnTo>
                  <a:lnTo>
                    <a:pt x="1383" y="153"/>
                  </a:lnTo>
                  <a:close/>
                  <a:moveTo>
                    <a:pt x="1519" y="2"/>
                  </a:moveTo>
                  <a:lnTo>
                    <a:pt x="1519" y="173"/>
                  </a:lnTo>
                  <a:lnTo>
                    <a:pt x="1519" y="178"/>
                  </a:lnTo>
                  <a:lnTo>
                    <a:pt x="1520" y="183"/>
                  </a:lnTo>
                  <a:lnTo>
                    <a:pt x="1522" y="186"/>
                  </a:lnTo>
                  <a:lnTo>
                    <a:pt x="1524" y="189"/>
                  </a:lnTo>
                  <a:lnTo>
                    <a:pt x="1526" y="192"/>
                  </a:lnTo>
                  <a:lnTo>
                    <a:pt x="1530" y="193"/>
                  </a:lnTo>
                  <a:lnTo>
                    <a:pt x="1533" y="194"/>
                  </a:lnTo>
                  <a:lnTo>
                    <a:pt x="1537" y="194"/>
                  </a:lnTo>
                  <a:lnTo>
                    <a:pt x="1541" y="194"/>
                  </a:lnTo>
                  <a:lnTo>
                    <a:pt x="1545" y="193"/>
                  </a:lnTo>
                  <a:lnTo>
                    <a:pt x="1548" y="192"/>
                  </a:lnTo>
                  <a:lnTo>
                    <a:pt x="1549" y="191"/>
                  </a:lnTo>
                  <a:lnTo>
                    <a:pt x="1550" y="189"/>
                  </a:lnTo>
                  <a:lnTo>
                    <a:pt x="1552" y="186"/>
                  </a:lnTo>
                  <a:lnTo>
                    <a:pt x="1554" y="183"/>
                  </a:lnTo>
                  <a:lnTo>
                    <a:pt x="1555" y="178"/>
                  </a:lnTo>
                  <a:lnTo>
                    <a:pt x="1555" y="173"/>
                  </a:lnTo>
                  <a:lnTo>
                    <a:pt x="1555" y="2"/>
                  </a:lnTo>
                  <a:lnTo>
                    <a:pt x="1588" y="2"/>
                  </a:lnTo>
                  <a:lnTo>
                    <a:pt x="1588" y="171"/>
                  </a:lnTo>
                  <a:lnTo>
                    <a:pt x="1588" y="177"/>
                  </a:lnTo>
                  <a:lnTo>
                    <a:pt x="1587" y="183"/>
                  </a:lnTo>
                  <a:lnTo>
                    <a:pt x="1586" y="189"/>
                  </a:lnTo>
                  <a:lnTo>
                    <a:pt x="1585" y="194"/>
                  </a:lnTo>
                  <a:lnTo>
                    <a:pt x="1583" y="199"/>
                  </a:lnTo>
                  <a:lnTo>
                    <a:pt x="1581" y="204"/>
                  </a:lnTo>
                  <a:lnTo>
                    <a:pt x="1578" y="208"/>
                  </a:lnTo>
                  <a:lnTo>
                    <a:pt x="1575" y="212"/>
                  </a:lnTo>
                  <a:lnTo>
                    <a:pt x="1571" y="215"/>
                  </a:lnTo>
                  <a:lnTo>
                    <a:pt x="1567" y="218"/>
                  </a:lnTo>
                  <a:lnTo>
                    <a:pt x="1563" y="220"/>
                  </a:lnTo>
                  <a:lnTo>
                    <a:pt x="1559" y="222"/>
                  </a:lnTo>
                  <a:lnTo>
                    <a:pt x="1554" y="224"/>
                  </a:lnTo>
                  <a:lnTo>
                    <a:pt x="1548" y="225"/>
                  </a:lnTo>
                  <a:lnTo>
                    <a:pt x="1542" y="226"/>
                  </a:lnTo>
                  <a:lnTo>
                    <a:pt x="1536" y="226"/>
                  </a:lnTo>
                  <a:lnTo>
                    <a:pt x="1530" y="226"/>
                  </a:lnTo>
                  <a:lnTo>
                    <a:pt x="1524" y="225"/>
                  </a:lnTo>
                  <a:lnTo>
                    <a:pt x="1519" y="224"/>
                  </a:lnTo>
                  <a:lnTo>
                    <a:pt x="1514" y="222"/>
                  </a:lnTo>
                  <a:lnTo>
                    <a:pt x="1509" y="220"/>
                  </a:lnTo>
                  <a:lnTo>
                    <a:pt x="1505" y="218"/>
                  </a:lnTo>
                  <a:lnTo>
                    <a:pt x="1501" y="215"/>
                  </a:lnTo>
                  <a:lnTo>
                    <a:pt x="1497" y="212"/>
                  </a:lnTo>
                  <a:lnTo>
                    <a:pt x="1494" y="208"/>
                  </a:lnTo>
                  <a:lnTo>
                    <a:pt x="1492" y="204"/>
                  </a:lnTo>
                  <a:lnTo>
                    <a:pt x="1489" y="199"/>
                  </a:lnTo>
                  <a:lnTo>
                    <a:pt x="1488" y="194"/>
                  </a:lnTo>
                  <a:lnTo>
                    <a:pt x="1486" y="189"/>
                  </a:lnTo>
                  <a:lnTo>
                    <a:pt x="1485" y="183"/>
                  </a:lnTo>
                  <a:lnTo>
                    <a:pt x="1484" y="177"/>
                  </a:lnTo>
                  <a:lnTo>
                    <a:pt x="1484" y="171"/>
                  </a:lnTo>
                  <a:lnTo>
                    <a:pt x="1484" y="2"/>
                  </a:lnTo>
                  <a:lnTo>
                    <a:pt x="1519" y="2"/>
                  </a:lnTo>
                  <a:close/>
                  <a:moveTo>
                    <a:pt x="1722" y="57"/>
                  </a:moveTo>
                  <a:lnTo>
                    <a:pt x="1722" y="85"/>
                  </a:lnTo>
                  <a:lnTo>
                    <a:pt x="1722" y="92"/>
                  </a:lnTo>
                  <a:lnTo>
                    <a:pt x="1722" y="98"/>
                  </a:lnTo>
                  <a:lnTo>
                    <a:pt x="1721" y="104"/>
                  </a:lnTo>
                  <a:lnTo>
                    <a:pt x="1719" y="109"/>
                  </a:lnTo>
                  <a:lnTo>
                    <a:pt x="1717" y="114"/>
                  </a:lnTo>
                  <a:lnTo>
                    <a:pt x="1715" y="118"/>
                  </a:lnTo>
                  <a:lnTo>
                    <a:pt x="1713" y="122"/>
                  </a:lnTo>
                  <a:lnTo>
                    <a:pt x="1710" y="126"/>
                  </a:lnTo>
                  <a:lnTo>
                    <a:pt x="1706" y="129"/>
                  </a:lnTo>
                  <a:lnTo>
                    <a:pt x="1702" y="132"/>
                  </a:lnTo>
                  <a:lnTo>
                    <a:pt x="1698" y="135"/>
                  </a:lnTo>
                  <a:lnTo>
                    <a:pt x="1693" y="137"/>
                  </a:lnTo>
                  <a:lnTo>
                    <a:pt x="1688" y="138"/>
                  </a:lnTo>
                  <a:lnTo>
                    <a:pt x="1683" y="139"/>
                  </a:lnTo>
                  <a:lnTo>
                    <a:pt x="1677" y="140"/>
                  </a:lnTo>
                  <a:lnTo>
                    <a:pt x="1671" y="140"/>
                  </a:lnTo>
                  <a:lnTo>
                    <a:pt x="1654" y="140"/>
                  </a:lnTo>
                  <a:lnTo>
                    <a:pt x="1654" y="223"/>
                  </a:lnTo>
                  <a:lnTo>
                    <a:pt x="1619" y="223"/>
                  </a:lnTo>
                  <a:lnTo>
                    <a:pt x="1619" y="2"/>
                  </a:lnTo>
                  <a:lnTo>
                    <a:pt x="1671" y="2"/>
                  </a:lnTo>
                  <a:lnTo>
                    <a:pt x="1677" y="2"/>
                  </a:lnTo>
                  <a:lnTo>
                    <a:pt x="1683" y="3"/>
                  </a:lnTo>
                  <a:lnTo>
                    <a:pt x="1688" y="4"/>
                  </a:lnTo>
                  <a:lnTo>
                    <a:pt x="1693" y="6"/>
                  </a:lnTo>
                  <a:lnTo>
                    <a:pt x="1698" y="8"/>
                  </a:lnTo>
                  <a:lnTo>
                    <a:pt x="1702" y="10"/>
                  </a:lnTo>
                  <a:lnTo>
                    <a:pt x="1706" y="13"/>
                  </a:lnTo>
                  <a:lnTo>
                    <a:pt x="1710" y="16"/>
                  </a:lnTo>
                  <a:lnTo>
                    <a:pt x="1713" y="20"/>
                  </a:lnTo>
                  <a:lnTo>
                    <a:pt x="1715" y="24"/>
                  </a:lnTo>
                  <a:lnTo>
                    <a:pt x="1717" y="28"/>
                  </a:lnTo>
                  <a:lnTo>
                    <a:pt x="1719" y="33"/>
                  </a:lnTo>
                  <a:lnTo>
                    <a:pt x="1722" y="44"/>
                  </a:lnTo>
                  <a:lnTo>
                    <a:pt x="1722" y="50"/>
                  </a:lnTo>
                  <a:lnTo>
                    <a:pt x="1722" y="57"/>
                  </a:lnTo>
                  <a:close/>
                  <a:moveTo>
                    <a:pt x="1654" y="34"/>
                  </a:moveTo>
                  <a:lnTo>
                    <a:pt x="1654" y="109"/>
                  </a:lnTo>
                  <a:lnTo>
                    <a:pt x="1671" y="109"/>
                  </a:lnTo>
                  <a:lnTo>
                    <a:pt x="1675" y="108"/>
                  </a:lnTo>
                  <a:lnTo>
                    <a:pt x="1678" y="108"/>
                  </a:lnTo>
                  <a:lnTo>
                    <a:pt x="1681" y="106"/>
                  </a:lnTo>
                  <a:lnTo>
                    <a:pt x="1683" y="104"/>
                  </a:lnTo>
                  <a:lnTo>
                    <a:pt x="1685" y="101"/>
                  </a:lnTo>
                  <a:lnTo>
                    <a:pt x="1687" y="98"/>
                  </a:lnTo>
                  <a:lnTo>
                    <a:pt x="1687" y="95"/>
                  </a:lnTo>
                  <a:lnTo>
                    <a:pt x="1687" y="93"/>
                  </a:lnTo>
                  <a:lnTo>
                    <a:pt x="1688" y="88"/>
                  </a:lnTo>
                  <a:lnTo>
                    <a:pt x="1688" y="55"/>
                  </a:lnTo>
                  <a:lnTo>
                    <a:pt x="1687" y="49"/>
                  </a:lnTo>
                  <a:lnTo>
                    <a:pt x="1687" y="45"/>
                  </a:lnTo>
                  <a:lnTo>
                    <a:pt x="1685" y="41"/>
                  </a:lnTo>
                  <a:lnTo>
                    <a:pt x="1683" y="38"/>
                  </a:lnTo>
                  <a:lnTo>
                    <a:pt x="1681" y="36"/>
                  </a:lnTo>
                  <a:lnTo>
                    <a:pt x="1678" y="35"/>
                  </a:lnTo>
                  <a:lnTo>
                    <a:pt x="1675" y="34"/>
                  </a:lnTo>
                  <a:lnTo>
                    <a:pt x="1671" y="34"/>
                  </a:lnTo>
                  <a:lnTo>
                    <a:pt x="1654" y="34"/>
                  </a:lnTo>
                  <a:close/>
                  <a:moveTo>
                    <a:pt x="1851" y="57"/>
                  </a:moveTo>
                  <a:lnTo>
                    <a:pt x="1851" y="85"/>
                  </a:lnTo>
                  <a:lnTo>
                    <a:pt x="1851" y="92"/>
                  </a:lnTo>
                  <a:lnTo>
                    <a:pt x="1850" y="98"/>
                  </a:lnTo>
                  <a:lnTo>
                    <a:pt x="1849" y="104"/>
                  </a:lnTo>
                  <a:lnTo>
                    <a:pt x="1848" y="109"/>
                  </a:lnTo>
                  <a:lnTo>
                    <a:pt x="1846" y="114"/>
                  </a:lnTo>
                  <a:lnTo>
                    <a:pt x="1844" y="118"/>
                  </a:lnTo>
                  <a:lnTo>
                    <a:pt x="1841" y="122"/>
                  </a:lnTo>
                  <a:lnTo>
                    <a:pt x="1838" y="126"/>
                  </a:lnTo>
                  <a:lnTo>
                    <a:pt x="1835" y="129"/>
                  </a:lnTo>
                  <a:lnTo>
                    <a:pt x="1831" y="132"/>
                  </a:lnTo>
                  <a:lnTo>
                    <a:pt x="1827" y="135"/>
                  </a:lnTo>
                  <a:lnTo>
                    <a:pt x="1822" y="137"/>
                  </a:lnTo>
                  <a:lnTo>
                    <a:pt x="1817" y="138"/>
                  </a:lnTo>
                  <a:lnTo>
                    <a:pt x="1811" y="139"/>
                  </a:lnTo>
                  <a:lnTo>
                    <a:pt x="1806" y="140"/>
                  </a:lnTo>
                  <a:lnTo>
                    <a:pt x="1799" y="140"/>
                  </a:lnTo>
                  <a:lnTo>
                    <a:pt x="1783" y="140"/>
                  </a:lnTo>
                  <a:lnTo>
                    <a:pt x="1783" y="223"/>
                  </a:lnTo>
                  <a:lnTo>
                    <a:pt x="1748" y="223"/>
                  </a:lnTo>
                  <a:lnTo>
                    <a:pt x="1748" y="2"/>
                  </a:lnTo>
                  <a:lnTo>
                    <a:pt x="1799" y="2"/>
                  </a:lnTo>
                  <a:lnTo>
                    <a:pt x="1806" y="2"/>
                  </a:lnTo>
                  <a:lnTo>
                    <a:pt x="1811" y="3"/>
                  </a:lnTo>
                  <a:lnTo>
                    <a:pt x="1817" y="4"/>
                  </a:lnTo>
                  <a:lnTo>
                    <a:pt x="1822" y="6"/>
                  </a:lnTo>
                  <a:lnTo>
                    <a:pt x="1827" y="8"/>
                  </a:lnTo>
                  <a:lnTo>
                    <a:pt x="1831" y="10"/>
                  </a:lnTo>
                  <a:lnTo>
                    <a:pt x="1835" y="13"/>
                  </a:lnTo>
                  <a:lnTo>
                    <a:pt x="1838" y="16"/>
                  </a:lnTo>
                  <a:lnTo>
                    <a:pt x="1841" y="20"/>
                  </a:lnTo>
                  <a:lnTo>
                    <a:pt x="1844" y="24"/>
                  </a:lnTo>
                  <a:lnTo>
                    <a:pt x="1846" y="28"/>
                  </a:lnTo>
                  <a:lnTo>
                    <a:pt x="1848" y="33"/>
                  </a:lnTo>
                  <a:lnTo>
                    <a:pt x="1850" y="44"/>
                  </a:lnTo>
                  <a:lnTo>
                    <a:pt x="1851" y="50"/>
                  </a:lnTo>
                  <a:lnTo>
                    <a:pt x="1851" y="57"/>
                  </a:lnTo>
                  <a:close/>
                  <a:moveTo>
                    <a:pt x="1783" y="34"/>
                  </a:moveTo>
                  <a:lnTo>
                    <a:pt x="1783" y="109"/>
                  </a:lnTo>
                  <a:lnTo>
                    <a:pt x="1799" y="109"/>
                  </a:lnTo>
                  <a:lnTo>
                    <a:pt x="1803" y="108"/>
                  </a:lnTo>
                  <a:lnTo>
                    <a:pt x="1807" y="108"/>
                  </a:lnTo>
                  <a:lnTo>
                    <a:pt x="1810" y="106"/>
                  </a:lnTo>
                  <a:lnTo>
                    <a:pt x="1812" y="104"/>
                  </a:lnTo>
                  <a:lnTo>
                    <a:pt x="1814" y="101"/>
                  </a:lnTo>
                  <a:lnTo>
                    <a:pt x="1815" y="98"/>
                  </a:lnTo>
                  <a:lnTo>
                    <a:pt x="1816" y="95"/>
                  </a:lnTo>
                  <a:lnTo>
                    <a:pt x="1816" y="93"/>
                  </a:lnTo>
                  <a:lnTo>
                    <a:pt x="1816" y="88"/>
                  </a:lnTo>
                  <a:lnTo>
                    <a:pt x="1816" y="55"/>
                  </a:lnTo>
                  <a:lnTo>
                    <a:pt x="1816" y="49"/>
                  </a:lnTo>
                  <a:lnTo>
                    <a:pt x="1815" y="45"/>
                  </a:lnTo>
                  <a:lnTo>
                    <a:pt x="1814" y="41"/>
                  </a:lnTo>
                  <a:lnTo>
                    <a:pt x="1812" y="38"/>
                  </a:lnTo>
                  <a:lnTo>
                    <a:pt x="1810" y="36"/>
                  </a:lnTo>
                  <a:lnTo>
                    <a:pt x="1807" y="35"/>
                  </a:lnTo>
                  <a:lnTo>
                    <a:pt x="1803" y="34"/>
                  </a:lnTo>
                  <a:lnTo>
                    <a:pt x="1799" y="34"/>
                  </a:lnTo>
                  <a:lnTo>
                    <a:pt x="1783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51089607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3B478-B18C-4E34-AA30-96F90024D574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7" name="Round Same Side Corner Rectangle 16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8" name="Freeform 6"/>
            <p:cNvSpPr>
              <a:spLocks noChangeAspect="1" noEditPoints="1"/>
            </p:cNvSpPr>
            <p:nvPr userDrawn="1"/>
          </p:nvSpPr>
          <p:spPr bwMode="auto">
            <a:xfrm>
              <a:off x="8908139" y="6472998"/>
              <a:ext cx="1865548" cy="212400"/>
            </a:xfrm>
            <a:custGeom>
              <a:avLst/>
              <a:gdLst>
                <a:gd name="T0" fmla="*/ 1899 w 1985"/>
                <a:gd name="T1" fmla="*/ 2 h 226"/>
                <a:gd name="T2" fmla="*/ 67 w 1985"/>
                <a:gd name="T3" fmla="*/ 143 h 226"/>
                <a:gd name="T4" fmla="*/ 59 w 1985"/>
                <a:gd name="T5" fmla="*/ 2 h 226"/>
                <a:gd name="T6" fmla="*/ 99 w 1985"/>
                <a:gd name="T7" fmla="*/ 26 h 226"/>
                <a:gd name="T8" fmla="*/ 95 w 1985"/>
                <a:gd name="T9" fmla="*/ 104 h 226"/>
                <a:gd name="T10" fmla="*/ 99 w 1985"/>
                <a:gd name="T11" fmla="*/ 133 h 226"/>
                <a:gd name="T12" fmla="*/ 106 w 1985"/>
                <a:gd name="T13" fmla="*/ 217 h 226"/>
                <a:gd name="T14" fmla="*/ 68 w 1985"/>
                <a:gd name="T15" fmla="*/ 89 h 226"/>
                <a:gd name="T16" fmla="*/ 52 w 1985"/>
                <a:gd name="T17" fmla="*/ 34 h 226"/>
                <a:gd name="T18" fmla="*/ 168 w 1985"/>
                <a:gd name="T19" fmla="*/ 153 h 226"/>
                <a:gd name="T20" fmla="*/ 316 w 1985"/>
                <a:gd name="T21" fmla="*/ 183 h 226"/>
                <a:gd name="T22" fmla="*/ 493 w 1985"/>
                <a:gd name="T23" fmla="*/ 223 h 226"/>
                <a:gd name="T24" fmla="*/ 668 w 1985"/>
                <a:gd name="T25" fmla="*/ 11 h 226"/>
                <a:gd name="T26" fmla="*/ 652 w 1985"/>
                <a:gd name="T27" fmla="*/ 62 h 226"/>
                <a:gd name="T28" fmla="*/ 631 w 1985"/>
                <a:gd name="T29" fmla="*/ 31 h 226"/>
                <a:gd name="T30" fmla="*/ 623 w 1985"/>
                <a:gd name="T31" fmla="*/ 75 h 226"/>
                <a:gd name="T32" fmla="*/ 682 w 1985"/>
                <a:gd name="T33" fmla="*/ 149 h 226"/>
                <a:gd name="T34" fmla="*/ 675 w 1985"/>
                <a:gd name="T35" fmla="*/ 208 h 226"/>
                <a:gd name="T36" fmla="*/ 621 w 1985"/>
                <a:gd name="T37" fmla="*/ 225 h 226"/>
                <a:gd name="T38" fmla="*/ 583 w 1985"/>
                <a:gd name="T39" fmla="*/ 188 h 226"/>
                <a:gd name="T40" fmla="*/ 622 w 1985"/>
                <a:gd name="T41" fmla="*/ 191 h 226"/>
                <a:gd name="T42" fmla="*/ 650 w 1985"/>
                <a:gd name="T43" fmla="*/ 178 h 226"/>
                <a:gd name="T44" fmla="*/ 604 w 1985"/>
                <a:gd name="T45" fmla="*/ 108 h 226"/>
                <a:gd name="T46" fmla="*/ 583 w 1985"/>
                <a:gd name="T47" fmla="*/ 43 h 226"/>
                <a:gd name="T48" fmla="*/ 616 w 1985"/>
                <a:gd name="T49" fmla="*/ 2 h 226"/>
                <a:gd name="T50" fmla="*/ 713 w 1985"/>
                <a:gd name="T51" fmla="*/ 223 h 226"/>
                <a:gd name="T52" fmla="*/ 950 w 1985"/>
                <a:gd name="T53" fmla="*/ 65 h 226"/>
                <a:gd name="T54" fmla="*/ 1051 w 1985"/>
                <a:gd name="T55" fmla="*/ 223 h 226"/>
                <a:gd name="T56" fmla="*/ 1170 w 1985"/>
                <a:gd name="T57" fmla="*/ 14 h 226"/>
                <a:gd name="T58" fmla="*/ 1150 w 1985"/>
                <a:gd name="T59" fmla="*/ 53 h 226"/>
                <a:gd name="T60" fmla="*/ 1125 w 1985"/>
                <a:gd name="T61" fmla="*/ 32 h 226"/>
                <a:gd name="T62" fmla="*/ 1126 w 1985"/>
                <a:gd name="T63" fmla="*/ 82 h 226"/>
                <a:gd name="T64" fmla="*/ 1181 w 1985"/>
                <a:gd name="T65" fmla="*/ 154 h 226"/>
                <a:gd name="T66" fmla="*/ 1170 w 1985"/>
                <a:gd name="T67" fmla="*/ 211 h 226"/>
                <a:gd name="T68" fmla="*/ 1114 w 1985"/>
                <a:gd name="T69" fmla="*/ 224 h 226"/>
                <a:gd name="T70" fmla="*/ 1080 w 1985"/>
                <a:gd name="T71" fmla="*/ 183 h 226"/>
                <a:gd name="T72" fmla="*/ 1123 w 1985"/>
                <a:gd name="T73" fmla="*/ 193 h 226"/>
                <a:gd name="T74" fmla="*/ 1148 w 1985"/>
                <a:gd name="T75" fmla="*/ 172 h 226"/>
                <a:gd name="T76" fmla="*/ 1096 w 1985"/>
                <a:gd name="T77" fmla="*/ 101 h 226"/>
                <a:gd name="T78" fmla="*/ 1082 w 1985"/>
                <a:gd name="T79" fmla="*/ 37 h 226"/>
                <a:gd name="T80" fmla="*/ 1120 w 1985"/>
                <a:gd name="T81" fmla="*/ 0 h 226"/>
                <a:gd name="T82" fmla="*/ 1326 w 1985"/>
                <a:gd name="T83" fmla="*/ 2 h 226"/>
                <a:gd name="T84" fmla="*/ 1376 w 1985"/>
                <a:gd name="T85" fmla="*/ 2 h 226"/>
                <a:gd name="T86" fmla="*/ 1522 w 1985"/>
                <a:gd name="T87" fmla="*/ 186 h 226"/>
                <a:gd name="T88" fmla="*/ 1552 w 1985"/>
                <a:gd name="T89" fmla="*/ 186 h 226"/>
                <a:gd name="T90" fmla="*/ 1583 w 1985"/>
                <a:gd name="T91" fmla="*/ 199 h 226"/>
                <a:gd name="T92" fmla="*/ 1536 w 1985"/>
                <a:gd name="T93" fmla="*/ 226 h 226"/>
                <a:gd name="T94" fmla="*/ 1489 w 1985"/>
                <a:gd name="T95" fmla="*/ 199 h 226"/>
                <a:gd name="T96" fmla="*/ 1722 w 1985"/>
                <a:gd name="T97" fmla="*/ 98 h 226"/>
                <a:gd name="T98" fmla="*/ 1688 w 1985"/>
                <a:gd name="T99" fmla="*/ 138 h 226"/>
                <a:gd name="T100" fmla="*/ 1688 w 1985"/>
                <a:gd name="T101" fmla="*/ 4 h 226"/>
                <a:gd name="T102" fmla="*/ 1722 w 1985"/>
                <a:gd name="T103" fmla="*/ 50 h 226"/>
                <a:gd name="T104" fmla="*/ 1687 w 1985"/>
                <a:gd name="T105" fmla="*/ 95 h 226"/>
                <a:gd name="T106" fmla="*/ 1671 w 1985"/>
                <a:gd name="T107" fmla="*/ 34 h 226"/>
                <a:gd name="T108" fmla="*/ 1838 w 1985"/>
                <a:gd name="T109" fmla="*/ 126 h 226"/>
                <a:gd name="T110" fmla="*/ 1748 w 1985"/>
                <a:gd name="T111" fmla="*/ 223 h 226"/>
                <a:gd name="T112" fmla="*/ 1841 w 1985"/>
                <a:gd name="T113" fmla="*/ 20 h 226"/>
                <a:gd name="T114" fmla="*/ 1807 w 1985"/>
                <a:gd name="T115" fmla="*/ 108 h 226"/>
                <a:gd name="T116" fmla="*/ 1814 w 1985"/>
                <a:gd name="T117" fmla="*/ 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5" h="226">
                  <a:moveTo>
                    <a:pt x="1906" y="153"/>
                  </a:moveTo>
                  <a:lnTo>
                    <a:pt x="1939" y="153"/>
                  </a:lnTo>
                  <a:lnTo>
                    <a:pt x="1922" y="41"/>
                  </a:lnTo>
                  <a:lnTo>
                    <a:pt x="1906" y="153"/>
                  </a:lnTo>
                  <a:close/>
                  <a:moveTo>
                    <a:pt x="1985" y="223"/>
                  </a:moveTo>
                  <a:lnTo>
                    <a:pt x="1950" y="223"/>
                  </a:lnTo>
                  <a:lnTo>
                    <a:pt x="1944" y="183"/>
                  </a:lnTo>
                  <a:lnTo>
                    <a:pt x="1901" y="183"/>
                  </a:lnTo>
                  <a:lnTo>
                    <a:pt x="1895" y="223"/>
                  </a:lnTo>
                  <a:lnTo>
                    <a:pt x="1863" y="223"/>
                  </a:lnTo>
                  <a:lnTo>
                    <a:pt x="1899" y="2"/>
                  </a:lnTo>
                  <a:lnTo>
                    <a:pt x="1950" y="2"/>
                  </a:lnTo>
                  <a:lnTo>
                    <a:pt x="1985" y="223"/>
                  </a:lnTo>
                  <a:close/>
                  <a:moveTo>
                    <a:pt x="73" y="223"/>
                  </a:moveTo>
                  <a:lnTo>
                    <a:pt x="72" y="219"/>
                  </a:lnTo>
                  <a:lnTo>
                    <a:pt x="71" y="214"/>
                  </a:lnTo>
                  <a:lnTo>
                    <a:pt x="70" y="207"/>
                  </a:lnTo>
                  <a:lnTo>
                    <a:pt x="70" y="196"/>
                  </a:lnTo>
                  <a:lnTo>
                    <a:pt x="70" y="161"/>
                  </a:lnTo>
                  <a:lnTo>
                    <a:pt x="69" y="154"/>
                  </a:lnTo>
                  <a:lnTo>
                    <a:pt x="68" y="148"/>
                  </a:lnTo>
                  <a:lnTo>
                    <a:pt x="67" y="143"/>
                  </a:lnTo>
                  <a:lnTo>
                    <a:pt x="64" y="140"/>
                  </a:lnTo>
                  <a:lnTo>
                    <a:pt x="61" y="137"/>
                  </a:lnTo>
                  <a:lnTo>
                    <a:pt x="57" y="135"/>
                  </a:lnTo>
                  <a:lnTo>
                    <a:pt x="52" y="134"/>
                  </a:lnTo>
                  <a:lnTo>
                    <a:pt x="47" y="133"/>
                  </a:lnTo>
                  <a:lnTo>
                    <a:pt x="35" y="133"/>
                  </a:lnTo>
                  <a:lnTo>
                    <a:pt x="35" y="223"/>
                  </a:lnTo>
                  <a:lnTo>
                    <a:pt x="0" y="223"/>
                  </a:lnTo>
                  <a:lnTo>
                    <a:pt x="0" y="2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65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6" y="5"/>
                  </a:lnTo>
                  <a:lnTo>
                    <a:pt x="80" y="7"/>
                  </a:lnTo>
                  <a:lnTo>
                    <a:pt x="85" y="9"/>
                  </a:lnTo>
                  <a:lnTo>
                    <a:pt x="88" y="12"/>
                  </a:lnTo>
                  <a:lnTo>
                    <a:pt x="92" y="15"/>
                  </a:lnTo>
                  <a:lnTo>
                    <a:pt x="95" y="18"/>
                  </a:lnTo>
                  <a:lnTo>
                    <a:pt x="97" y="22"/>
                  </a:lnTo>
                  <a:lnTo>
                    <a:pt x="99" y="26"/>
                  </a:lnTo>
                  <a:lnTo>
                    <a:pt x="101" y="31"/>
                  </a:lnTo>
                  <a:lnTo>
                    <a:pt x="102" y="36"/>
                  </a:lnTo>
                  <a:lnTo>
                    <a:pt x="103" y="41"/>
                  </a:lnTo>
                  <a:lnTo>
                    <a:pt x="104" y="47"/>
                  </a:lnTo>
                  <a:lnTo>
                    <a:pt x="104" y="53"/>
                  </a:lnTo>
                  <a:lnTo>
                    <a:pt x="104" y="70"/>
                  </a:lnTo>
                  <a:lnTo>
                    <a:pt x="104" y="78"/>
                  </a:lnTo>
                  <a:lnTo>
                    <a:pt x="103" y="86"/>
                  </a:lnTo>
                  <a:lnTo>
                    <a:pt x="101" y="93"/>
                  </a:lnTo>
                  <a:lnTo>
                    <a:pt x="99" y="99"/>
                  </a:lnTo>
                  <a:lnTo>
                    <a:pt x="95" y="104"/>
                  </a:lnTo>
                  <a:lnTo>
                    <a:pt x="93" y="106"/>
                  </a:lnTo>
                  <a:lnTo>
                    <a:pt x="91" y="108"/>
                  </a:lnTo>
                  <a:lnTo>
                    <a:pt x="89" y="110"/>
                  </a:lnTo>
                  <a:lnTo>
                    <a:pt x="87" y="112"/>
                  </a:lnTo>
                  <a:lnTo>
                    <a:pt x="84" y="114"/>
                  </a:lnTo>
                  <a:lnTo>
                    <a:pt x="81" y="115"/>
                  </a:lnTo>
                  <a:lnTo>
                    <a:pt x="87" y="118"/>
                  </a:lnTo>
                  <a:lnTo>
                    <a:pt x="92" y="122"/>
                  </a:lnTo>
                  <a:lnTo>
                    <a:pt x="96" y="127"/>
                  </a:lnTo>
                  <a:lnTo>
                    <a:pt x="98" y="130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2" y="139"/>
                  </a:lnTo>
                  <a:lnTo>
                    <a:pt x="103" y="143"/>
                  </a:lnTo>
                  <a:lnTo>
                    <a:pt x="103" y="146"/>
                  </a:lnTo>
                  <a:lnTo>
                    <a:pt x="104" y="154"/>
                  </a:lnTo>
                  <a:lnTo>
                    <a:pt x="104" y="162"/>
                  </a:lnTo>
                  <a:lnTo>
                    <a:pt x="104" y="196"/>
                  </a:lnTo>
                  <a:lnTo>
                    <a:pt x="105" y="204"/>
                  </a:lnTo>
                  <a:lnTo>
                    <a:pt x="105" y="211"/>
                  </a:lnTo>
                  <a:lnTo>
                    <a:pt x="105" y="214"/>
                  </a:lnTo>
                  <a:lnTo>
                    <a:pt x="106" y="217"/>
                  </a:lnTo>
                  <a:lnTo>
                    <a:pt x="108" y="223"/>
                  </a:lnTo>
                  <a:lnTo>
                    <a:pt x="73" y="223"/>
                  </a:lnTo>
                  <a:close/>
                  <a:moveTo>
                    <a:pt x="35" y="34"/>
                  </a:moveTo>
                  <a:lnTo>
                    <a:pt x="35" y="102"/>
                  </a:lnTo>
                  <a:lnTo>
                    <a:pt x="48" y="102"/>
                  </a:lnTo>
                  <a:lnTo>
                    <a:pt x="53" y="101"/>
                  </a:lnTo>
                  <a:lnTo>
                    <a:pt x="57" y="100"/>
                  </a:lnTo>
                  <a:lnTo>
                    <a:pt x="61" y="99"/>
                  </a:lnTo>
                  <a:lnTo>
                    <a:pt x="64" y="97"/>
                  </a:lnTo>
                  <a:lnTo>
                    <a:pt x="66" y="93"/>
                  </a:lnTo>
                  <a:lnTo>
                    <a:pt x="68" y="89"/>
                  </a:lnTo>
                  <a:lnTo>
                    <a:pt x="69" y="84"/>
                  </a:lnTo>
                  <a:lnTo>
                    <a:pt x="69" y="78"/>
                  </a:lnTo>
                  <a:lnTo>
                    <a:pt x="69" y="56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5" y="39"/>
                  </a:lnTo>
                  <a:lnTo>
                    <a:pt x="63" y="37"/>
                  </a:lnTo>
                  <a:lnTo>
                    <a:pt x="60" y="35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35" y="34"/>
                  </a:lnTo>
                  <a:close/>
                  <a:moveTo>
                    <a:pt x="248" y="223"/>
                  </a:moveTo>
                  <a:lnTo>
                    <a:pt x="212" y="223"/>
                  </a:lnTo>
                  <a:lnTo>
                    <a:pt x="206" y="183"/>
                  </a:lnTo>
                  <a:lnTo>
                    <a:pt x="164" y="183"/>
                  </a:lnTo>
                  <a:lnTo>
                    <a:pt x="158" y="223"/>
                  </a:lnTo>
                  <a:lnTo>
                    <a:pt x="126" y="223"/>
                  </a:lnTo>
                  <a:lnTo>
                    <a:pt x="161" y="2"/>
                  </a:lnTo>
                  <a:lnTo>
                    <a:pt x="212" y="2"/>
                  </a:lnTo>
                  <a:lnTo>
                    <a:pt x="248" y="223"/>
                  </a:lnTo>
                  <a:close/>
                  <a:moveTo>
                    <a:pt x="168" y="153"/>
                  </a:moveTo>
                  <a:lnTo>
                    <a:pt x="202" y="153"/>
                  </a:lnTo>
                  <a:lnTo>
                    <a:pt x="185" y="41"/>
                  </a:lnTo>
                  <a:lnTo>
                    <a:pt x="168" y="153"/>
                  </a:lnTo>
                  <a:close/>
                  <a:moveTo>
                    <a:pt x="316" y="183"/>
                  </a:moveTo>
                  <a:lnTo>
                    <a:pt x="343" y="2"/>
                  </a:lnTo>
                  <a:lnTo>
                    <a:pt x="375" y="2"/>
                  </a:lnTo>
                  <a:lnTo>
                    <a:pt x="340" y="223"/>
                  </a:lnTo>
                  <a:lnTo>
                    <a:pt x="289" y="223"/>
                  </a:lnTo>
                  <a:lnTo>
                    <a:pt x="254" y="2"/>
                  </a:lnTo>
                  <a:lnTo>
                    <a:pt x="290" y="2"/>
                  </a:lnTo>
                  <a:lnTo>
                    <a:pt x="316" y="183"/>
                  </a:lnTo>
                  <a:close/>
                  <a:moveTo>
                    <a:pt x="398" y="2"/>
                  </a:moveTo>
                  <a:lnTo>
                    <a:pt x="433" y="2"/>
                  </a:lnTo>
                  <a:lnTo>
                    <a:pt x="433" y="223"/>
                  </a:lnTo>
                  <a:lnTo>
                    <a:pt x="398" y="223"/>
                  </a:lnTo>
                  <a:lnTo>
                    <a:pt x="398" y="2"/>
                  </a:lnTo>
                  <a:close/>
                  <a:moveTo>
                    <a:pt x="456" y="2"/>
                  </a:moveTo>
                  <a:lnTo>
                    <a:pt x="564" y="2"/>
                  </a:lnTo>
                  <a:lnTo>
                    <a:pt x="564" y="34"/>
                  </a:lnTo>
                  <a:lnTo>
                    <a:pt x="527" y="34"/>
                  </a:lnTo>
                  <a:lnTo>
                    <a:pt x="527" y="223"/>
                  </a:lnTo>
                  <a:lnTo>
                    <a:pt x="493" y="223"/>
                  </a:lnTo>
                  <a:lnTo>
                    <a:pt x="493" y="34"/>
                  </a:lnTo>
                  <a:lnTo>
                    <a:pt x="456" y="34"/>
                  </a:lnTo>
                  <a:lnTo>
                    <a:pt x="456" y="2"/>
                  </a:lnTo>
                  <a:close/>
                  <a:moveTo>
                    <a:pt x="634" y="0"/>
                  </a:moveTo>
                  <a:lnTo>
                    <a:pt x="640" y="0"/>
                  </a:lnTo>
                  <a:lnTo>
                    <a:pt x="645" y="0"/>
                  </a:lnTo>
                  <a:lnTo>
                    <a:pt x="651" y="2"/>
                  </a:lnTo>
                  <a:lnTo>
                    <a:pt x="656" y="3"/>
                  </a:lnTo>
                  <a:lnTo>
                    <a:pt x="660" y="5"/>
                  </a:lnTo>
                  <a:lnTo>
                    <a:pt x="665" y="8"/>
                  </a:lnTo>
                  <a:lnTo>
                    <a:pt x="668" y="11"/>
                  </a:lnTo>
                  <a:lnTo>
                    <a:pt x="672" y="14"/>
                  </a:lnTo>
                  <a:lnTo>
                    <a:pt x="675" y="18"/>
                  </a:lnTo>
                  <a:lnTo>
                    <a:pt x="677" y="22"/>
                  </a:lnTo>
                  <a:lnTo>
                    <a:pt x="680" y="27"/>
                  </a:lnTo>
                  <a:lnTo>
                    <a:pt x="681" y="32"/>
                  </a:lnTo>
                  <a:lnTo>
                    <a:pt x="683" y="37"/>
                  </a:lnTo>
                  <a:lnTo>
                    <a:pt x="684" y="43"/>
                  </a:lnTo>
                  <a:lnTo>
                    <a:pt x="685" y="49"/>
                  </a:lnTo>
                  <a:lnTo>
                    <a:pt x="685" y="55"/>
                  </a:lnTo>
                  <a:lnTo>
                    <a:pt x="685" y="62"/>
                  </a:lnTo>
                  <a:lnTo>
                    <a:pt x="652" y="62"/>
                  </a:lnTo>
                  <a:lnTo>
                    <a:pt x="652" y="53"/>
                  </a:lnTo>
                  <a:lnTo>
                    <a:pt x="652" y="47"/>
                  </a:lnTo>
                  <a:lnTo>
                    <a:pt x="651" y="43"/>
                  </a:lnTo>
                  <a:lnTo>
                    <a:pt x="650" y="41"/>
                  </a:lnTo>
                  <a:lnTo>
                    <a:pt x="649" y="39"/>
                  </a:lnTo>
                  <a:lnTo>
                    <a:pt x="647" y="36"/>
                  </a:lnTo>
                  <a:lnTo>
                    <a:pt x="645" y="34"/>
                  </a:lnTo>
                  <a:lnTo>
                    <a:pt x="642" y="32"/>
                  </a:lnTo>
                  <a:lnTo>
                    <a:pt x="638" y="31"/>
                  </a:lnTo>
                  <a:lnTo>
                    <a:pt x="634" y="31"/>
                  </a:lnTo>
                  <a:lnTo>
                    <a:pt x="631" y="31"/>
                  </a:lnTo>
                  <a:lnTo>
                    <a:pt x="627" y="32"/>
                  </a:lnTo>
                  <a:lnTo>
                    <a:pt x="624" y="34"/>
                  </a:lnTo>
                  <a:lnTo>
                    <a:pt x="622" y="36"/>
                  </a:lnTo>
                  <a:lnTo>
                    <a:pt x="620" y="39"/>
                  </a:lnTo>
                  <a:lnTo>
                    <a:pt x="618" y="43"/>
                  </a:lnTo>
                  <a:lnTo>
                    <a:pt x="617" y="47"/>
                  </a:lnTo>
                  <a:lnTo>
                    <a:pt x="617" y="53"/>
                  </a:lnTo>
                  <a:lnTo>
                    <a:pt x="617" y="57"/>
                  </a:lnTo>
                  <a:lnTo>
                    <a:pt x="618" y="61"/>
                  </a:lnTo>
                  <a:lnTo>
                    <a:pt x="620" y="68"/>
                  </a:lnTo>
                  <a:lnTo>
                    <a:pt x="623" y="75"/>
                  </a:lnTo>
                  <a:lnTo>
                    <a:pt x="628" y="82"/>
                  </a:lnTo>
                  <a:lnTo>
                    <a:pt x="633" y="88"/>
                  </a:lnTo>
                  <a:lnTo>
                    <a:pt x="639" y="93"/>
                  </a:lnTo>
                  <a:lnTo>
                    <a:pt x="651" y="105"/>
                  </a:lnTo>
                  <a:lnTo>
                    <a:pt x="657" y="111"/>
                  </a:lnTo>
                  <a:lnTo>
                    <a:pt x="664" y="117"/>
                  </a:lnTo>
                  <a:lnTo>
                    <a:pt x="669" y="124"/>
                  </a:lnTo>
                  <a:lnTo>
                    <a:pt x="674" y="132"/>
                  </a:lnTo>
                  <a:lnTo>
                    <a:pt x="679" y="140"/>
                  </a:lnTo>
                  <a:lnTo>
                    <a:pt x="681" y="144"/>
                  </a:lnTo>
                  <a:lnTo>
                    <a:pt x="682" y="149"/>
                  </a:lnTo>
                  <a:lnTo>
                    <a:pt x="683" y="154"/>
                  </a:lnTo>
                  <a:lnTo>
                    <a:pt x="684" y="159"/>
                  </a:lnTo>
                  <a:lnTo>
                    <a:pt x="685" y="164"/>
                  </a:lnTo>
                  <a:lnTo>
                    <a:pt x="685" y="170"/>
                  </a:lnTo>
                  <a:lnTo>
                    <a:pt x="685" y="177"/>
                  </a:lnTo>
                  <a:lnTo>
                    <a:pt x="684" y="183"/>
                  </a:lnTo>
                  <a:lnTo>
                    <a:pt x="683" y="188"/>
                  </a:lnTo>
                  <a:lnTo>
                    <a:pt x="682" y="194"/>
                  </a:lnTo>
                  <a:lnTo>
                    <a:pt x="680" y="199"/>
                  </a:lnTo>
                  <a:lnTo>
                    <a:pt x="678" y="203"/>
                  </a:lnTo>
                  <a:lnTo>
                    <a:pt x="675" y="208"/>
                  </a:lnTo>
                  <a:lnTo>
                    <a:pt x="672" y="211"/>
                  </a:lnTo>
                  <a:lnTo>
                    <a:pt x="668" y="215"/>
                  </a:lnTo>
                  <a:lnTo>
                    <a:pt x="665" y="218"/>
                  </a:lnTo>
                  <a:lnTo>
                    <a:pt x="660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5" y="225"/>
                  </a:lnTo>
                  <a:lnTo>
                    <a:pt x="639" y="226"/>
                  </a:lnTo>
                  <a:lnTo>
                    <a:pt x="633" y="226"/>
                  </a:lnTo>
                  <a:lnTo>
                    <a:pt x="627" y="226"/>
                  </a:lnTo>
                  <a:lnTo>
                    <a:pt x="621" y="225"/>
                  </a:lnTo>
                  <a:lnTo>
                    <a:pt x="616" y="224"/>
                  </a:lnTo>
                  <a:lnTo>
                    <a:pt x="611" y="222"/>
                  </a:lnTo>
                  <a:lnTo>
                    <a:pt x="606" y="220"/>
                  </a:lnTo>
                  <a:lnTo>
                    <a:pt x="602" y="218"/>
                  </a:lnTo>
                  <a:lnTo>
                    <a:pt x="598" y="215"/>
                  </a:lnTo>
                  <a:lnTo>
                    <a:pt x="594" y="211"/>
                  </a:lnTo>
                  <a:lnTo>
                    <a:pt x="591" y="208"/>
                  </a:lnTo>
                  <a:lnTo>
                    <a:pt x="589" y="203"/>
                  </a:lnTo>
                  <a:lnTo>
                    <a:pt x="587" y="199"/>
                  </a:lnTo>
                  <a:lnTo>
                    <a:pt x="585" y="194"/>
                  </a:lnTo>
                  <a:lnTo>
                    <a:pt x="583" y="188"/>
                  </a:lnTo>
                  <a:lnTo>
                    <a:pt x="582" y="183"/>
                  </a:lnTo>
                  <a:lnTo>
                    <a:pt x="582" y="177"/>
                  </a:lnTo>
                  <a:lnTo>
                    <a:pt x="581" y="170"/>
                  </a:lnTo>
                  <a:lnTo>
                    <a:pt x="581" y="157"/>
                  </a:lnTo>
                  <a:lnTo>
                    <a:pt x="614" y="157"/>
                  </a:lnTo>
                  <a:lnTo>
                    <a:pt x="614" y="172"/>
                  </a:lnTo>
                  <a:lnTo>
                    <a:pt x="615" y="178"/>
                  </a:lnTo>
                  <a:lnTo>
                    <a:pt x="616" y="182"/>
                  </a:lnTo>
                  <a:lnTo>
                    <a:pt x="617" y="186"/>
                  </a:lnTo>
                  <a:lnTo>
                    <a:pt x="619" y="189"/>
                  </a:lnTo>
                  <a:lnTo>
                    <a:pt x="622" y="191"/>
                  </a:lnTo>
                  <a:lnTo>
                    <a:pt x="625" y="193"/>
                  </a:lnTo>
                  <a:lnTo>
                    <a:pt x="628" y="194"/>
                  </a:lnTo>
                  <a:lnTo>
                    <a:pt x="632" y="194"/>
                  </a:lnTo>
                  <a:lnTo>
                    <a:pt x="636" y="194"/>
                  </a:lnTo>
                  <a:lnTo>
                    <a:pt x="640" y="193"/>
                  </a:lnTo>
                  <a:lnTo>
                    <a:pt x="643" y="191"/>
                  </a:lnTo>
                  <a:lnTo>
                    <a:pt x="644" y="190"/>
                  </a:lnTo>
                  <a:lnTo>
                    <a:pt x="645" y="189"/>
                  </a:lnTo>
                  <a:lnTo>
                    <a:pt x="647" y="186"/>
                  </a:lnTo>
                  <a:lnTo>
                    <a:pt x="649" y="182"/>
                  </a:lnTo>
                  <a:lnTo>
                    <a:pt x="650" y="178"/>
                  </a:lnTo>
                  <a:lnTo>
                    <a:pt x="650" y="172"/>
                  </a:lnTo>
                  <a:lnTo>
                    <a:pt x="650" y="168"/>
                  </a:lnTo>
                  <a:lnTo>
                    <a:pt x="649" y="164"/>
                  </a:lnTo>
                  <a:lnTo>
                    <a:pt x="647" y="157"/>
                  </a:lnTo>
                  <a:lnTo>
                    <a:pt x="644" y="150"/>
                  </a:lnTo>
                  <a:lnTo>
                    <a:pt x="640" y="144"/>
                  </a:lnTo>
                  <a:lnTo>
                    <a:pt x="635" y="138"/>
                  </a:lnTo>
                  <a:lnTo>
                    <a:pt x="629" y="132"/>
                  </a:lnTo>
                  <a:lnTo>
                    <a:pt x="616" y="120"/>
                  </a:lnTo>
                  <a:lnTo>
                    <a:pt x="610" y="114"/>
                  </a:lnTo>
                  <a:lnTo>
                    <a:pt x="604" y="108"/>
                  </a:lnTo>
                  <a:lnTo>
                    <a:pt x="598" y="101"/>
                  </a:lnTo>
                  <a:lnTo>
                    <a:pt x="593" y="94"/>
                  </a:lnTo>
                  <a:lnTo>
                    <a:pt x="589" y="86"/>
                  </a:lnTo>
                  <a:lnTo>
                    <a:pt x="587" y="81"/>
                  </a:lnTo>
                  <a:lnTo>
                    <a:pt x="585" y="76"/>
                  </a:lnTo>
                  <a:lnTo>
                    <a:pt x="584" y="72"/>
                  </a:lnTo>
                  <a:lnTo>
                    <a:pt x="583" y="66"/>
                  </a:lnTo>
                  <a:lnTo>
                    <a:pt x="583" y="61"/>
                  </a:lnTo>
                  <a:lnTo>
                    <a:pt x="582" y="55"/>
                  </a:lnTo>
                  <a:lnTo>
                    <a:pt x="583" y="49"/>
                  </a:lnTo>
                  <a:lnTo>
                    <a:pt x="583" y="43"/>
                  </a:lnTo>
                  <a:lnTo>
                    <a:pt x="584" y="37"/>
                  </a:lnTo>
                  <a:lnTo>
                    <a:pt x="586" y="32"/>
                  </a:lnTo>
                  <a:lnTo>
                    <a:pt x="587" y="27"/>
                  </a:lnTo>
                  <a:lnTo>
                    <a:pt x="590" y="22"/>
                  </a:lnTo>
                  <a:lnTo>
                    <a:pt x="592" y="18"/>
                  </a:lnTo>
                  <a:lnTo>
                    <a:pt x="595" y="14"/>
                  </a:lnTo>
                  <a:lnTo>
                    <a:pt x="599" y="11"/>
                  </a:lnTo>
                  <a:lnTo>
                    <a:pt x="602" y="8"/>
                  </a:lnTo>
                  <a:lnTo>
                    <a:pt x="607" y="5"/>
                  </a:lnTo>
                  <a:lnTo>
                    <a:pt x="611" y="3"/>
                  </a:lnTo>
                  <a:lnTo>
                    <a:pt x="616" y="2"/>
                  </a:lnTo>
                  <a:lnTo>
                    <a:pt x="622" y="0"/>
                  </a:lnTo>
                  <a:lnTo>
                    <a:pt x="627" y="0"/>
                  </a:lnTo>
                  <a:lnTo>
                    <a:pt x="634" y="0"/>
                  </a:lnTo>
                  <a:close/>
                  <a:moveTo>
                    <a:pt x="748" y="95"/>
                  </a:moveTo>
                  <a:lnTo>
                    <a:pt x="795" y="95"/>
                  </a:lnTo>
                  <a:lnTo>
                    <a:pt x="795" y="127"/>
                  </a:lnTo>
                  <a:lnTo>
                    <a:pt x="748" y="127"/>
                  </a:lnTo>
                  <a:lnTo>
                    <a:pt x="748" y="192"/>
                  </a:lnTo>
                  <a:lnTo>
                    <a:pt x="808" y="192"/>
                  </a:lnTo>
                  <a:lnTo>
                    <a:pt x="808" y="223"/>
                  </a:lnTo>
                  <a:lnTo>
                    <a:pt x="713" y="223"/>
                  </a:lnTo>
                  <a:lnTo>
                    <a:pt x="713" y="2"/>
                  </a:lnTo>
                  <a:lnTo>
                    <a:pt x="808" y="2"/>
                  </a:lnTo>
                  <a:lnTo>
                    <a:pt x="808" y="34"/>
                  </a:lnTo>
                  <a:lnTo>
                    <a:pt x="748" y="34"/>
                  </a:lnTo>
                  <a:lnTo>
                    <a:pt x="748" y="95"/>
                  </a:lnTo>
                  <a:close/>
                  <a:moveTo>
                    <a:pt x="911" y="159"/>
                  </a:moveTo>
                  <a:lnTo>
                    <a:pt x="934" y="2"/>
                  </a:lnTo>
                  <a:lnTo>
                    <a:pt x="983" y="2"/>
                  </a:lnTo>
                  <a:lnTo>
                    <a:pt x="983" y="223"/>
                  </a:lnTo>
                  <a:lnTo>
                    <a:pt x="950" y="223"/>
                  </a:lnTo>
                  <a:lnTo>
                    <a:pt x="950" y="65"/>
                  </a:lnTo>
                  <a:lnTo>
                    <a:pt x="926" y="223"/>
                  </a:lnTo>
                  <a:lnTo>
                    <a:pt x="893" y="223"/>
                  </a:lnTo>
                  <a:lnTo>
                    <a:pt x="867" y="67"/>
                  </a:lnTo>
                  <a:lnTo>
                    <a:pt x="867" y="223"/>
                  </a:lnTo>
                  <a:lnTo>
                    <a:pt x="837" y="223"/>
                  </a:lnTo>
                  <a:lnTo>
                    <a:pt x="837" y="2"/>
                  </a:lnTo>
                  <a:lnTo>
                    <a:pt x="885" y="2"/>
                  </a:lnTo>
                  <a:lnTo>
                    <a:pt x="911" y="159"/>
                  </a:lnTo>
                  <a:close/>
                  <a:moveTo>
                    <a:pt x="1017" y="2"/>
                  </a:moveTo>
                  <a:lnTo>
                    <a:pt x="1051" y="2"/>
                  </a:lnTo>
                  <a:lnTo>
                    <a:pt x="1051" y="223"/>
                  </a:lnTo>
                  <a:lnTo>
                    <a:pt x="1017" y="223"/>
                  </a:lnTo>
                  <a:lnTo>
                    <a:pt x="1017" y="2"/>
                  </a:lnTo>
                  <a:close/>
                  <a:moveTo>
                    <a:pt x="1131" y="0"/>
                  </a:moveTo>
                  <a:lnTo>
                    <a:pt x="1138" y="0"/>
                  </a:lnTo>
                  <a:lnTo>
                    <a:pt x="1143" y="0"/>
                  </a:lnTo>
                  <a:lnTo>
                    <a:pt x="1149" y="2"/>
                  </a:lnTo>
                  <a:lnTo>
                    <a:pt x="1154" y="3"/>
                  </a:lnTo>
                  <a:lnTo>
                    <a:pt x="1158" y="5"/>
                  </a:lnTo>
                  <a:lnTo>
                    <a:pt x="1162" y="8"/>
                  </a:lnTo>
                  <a:lnTo>
                    <a:pt x="1166" y="11"/>
                  </a:lnTo>
                  <a:lnTo>
                    <a:pt x="1170" y="14"/>
                  </a:lnTo>
                  <a:lnTo>
                    <a:pt x="1173" y="18"/>
                  </a:lnTo>
                  <a:lnTo>
                    <a:pt x="1175" y="22"/>
                  </a:lnTo>
                  <a:lnTo>
                    <a:pt x="1178" y="27"/>
                  </a:lnTo>
                  <a:lnTo>
                    <a:pt x="1179" y="32"/>
                  </a:lnTo>
                  <a:lnTo>
                    <a:pt x="1181" y="37"/>
                  </a:lnTo>
                  <a:lnTo>
                    <a:pt x="1182" y="43"/>
                  </a:lnTo>
                  <a:lnTo>
                    <a:pt x="1182" y="49"/>
                  </a:lnTo>
                  <a:lnTo>
                    <a:pt x="1183" y="55"/>
                  </a:lnTo>
                  <a:lnTo>
                    <a:pt x="1183" y="62"/>
                  </a:lnTo>
                  <a:lnTo>
                    <a:pt x="1150" y="62"/>
                  </a:lnTo>
                  <a:lnTo>
                    <a:pt x="1150" y="53"/>
                  </a:lnTo>
                  <a:lnTo>
                    <a:pt x="1149" y="47"/>
                  </a:lnTo>
                  <a:lnTo>
                    <a:pt x="1149" y="43"/>
                  </a:lnTo>
                  <a:lnTo>
                    <a:pt x="1148" y="41"/>
                  </a:lnTo>
                  <a:lnTo>
                    <a:pt x="1147" y="39"/>
                  </a:lnTo>
                  <a:lnTo>
                    <a:pt x="1145" y="36"/>
                  </a:lnTo>
                  <a:lnTo>
                    <a:pt x="1143" y="34"/>
                  </a:lnTo>
                  <a:lnTo>
                    <a:pt x="1140" y="32"/>
                  </a:lnTo>
                  <a:lnTo>
                    <a:pt x="1136" y="31"/>
                  </a:lnTo>
                  <a:lnTo>
                    <a:pt x="1132" y="31"/>
                  </a:lnTo>
                  <a:lnTo>
                    <a:pt x="1128" y="31"/>
                  </a:lnTo>
                  <a:lnTo>
                    <a:pt x="1125" y="32"/>
                  </a:lnTo>
                  <a:lnTo>
                    <a:pt x="1122" y="34"/>
                  </a:lnTo>
                  <a:lnTo>
                    <a:pt x="1120" y="36"/>
                  </a:lnTo>
                  <a:lnTo>
                    <a:pt x="1118" y="39"/>
                  </a:lnTo>
                  <a:lnTo>
                    <a:pt x="1116" y="43"/>
                  </a:lnTo>
                  <a:lnTo>
                    <a:pt x="1115" y="47"/>
                  </a:lnTo>
                  <a:lnTo>
                    <a:pt x="1115" y="53"/>
                  </a:lnTo>
                  <a:lnTo>
                    <a:pt x="1115" y="57"/>
                  </a:lnTo>
                  <a:lnTo>
                    <a:pt x="1116" y="61"/>
                  </a:lnTo>
                  <a:lnTo>
                    <a:pt x="1118" y="68"/>
                  </a:lnTo>
                  <a:lnTo>
                    <a:pt x="1121" y="75"/>
                  </a:lnTo>
                  <a:lnTo>
                    <a:pt x="1126" y="82"/>
                  </a:lnTo>
                  <a:lnTo>
                    <a:pt x="1131" y="88"/>
                  </a:lnTo>
                  <a:lnTo>
                    <a:pt x="1136" y="93"/>
                  </a:lnTo>
                  <a:lnTo>
                    <a:pt x="1149" y="105"/>
                  </a:lnTo>
                  <a:lnTo>
                    <a:pt x="1155" y="111"/>
                  </a:lnTo>
                  <a:lnTo>
                    <a:pt x="1161" y="117"/>
                  </a:lnTo>
                  <a:lnTo>
                    <a:pt x="1167" y="124"/>
                  </a:lnTo>
                  <a:lnTo>
                    <a:pt x="1172" y="132"/>
                  </a:lnTo>
                  <a:lnTo>
                    <a:pt x="1177" y="140"/>
                  </a:lnTo>
                  <a:lnTo>
                    <a:pt x="1178" y="144"/>
                  </a:lnTo>
                  <a:lnTo>
                    <a:pt x="1180" y="149"/>
                  </a:lnTo>
                  <a:lnTo>
                    <a:pt x="1181" y="154"/>
                  </a:lnTo>
                  <a:lnTo>
                    <a:pt x="1182" y="159"/>
                  </a:lnTo>
                  <a:lnTo>
                    <a:pt x="1183" y="164"/>
                  </a:lnTo>
                  <a:lnTo>
                    <a:pt x="1183" y="170"/>
                  </a:lnTo>
                  <a:lnTo>
                    <a:pt x="1183" y="177"/>
                  </a:lnTo>
                  <a:lnTo>
                    <a:pt x="1182" y="183"/>
                  </a:lnTo>
                  <a:lnTo>
                    <a:pt x="1181" y="188"/>
                  </a:lnTo>
                  <a:lnTo>
                    <a:pt x="1180" y="194"/>
                  </a:lnTo>
                  <a:lnTo>
                    <a:pt x="1178" y="199"/>
                  </a:lnTo>
                  <a:lnTo>
                    <a:pt x="1176" y="203"/>
                  </a:lnTo>
                  <a:lnTo>
                    <a:pt x="1173" y="208"/>
                  </a:lnTo>
                  <a:lnTo>
                    <a:pt x="1170" y="211"/>
                  </a:lnTo>
                  <a:lnTo>
                    <a:pt x="1166" y="215"/>
                  </a:lnTo>
                  <a:lnTo>
                    <a:pt x="1162" y="218"/>
                  </a:lnTo>
                  <a:lnTo>
                    <a:pt x="1158" y="220"/>
                  </a:lnTo>
                  <a:lnTo>
                    <a:pt x="1154" y="222"/>
                  </a:lnTo>
                  <a:lnTo>
                    <a:pt x="1149" y="224"/>
                  </a:lnTo>
                  <a:lnTo>
                    <a:pt x="1143" y="225"/>
                  </a:lnTo>
                  <a:lnTo>
                    <a:pt x="1137" y="226"/>
                  </a:lnTo>
                  <a:lnTo>
                    <a:pt x="1131" y="226"/>
                  </a:lnTo>
                  <a:lnTo>
                    <a:pt x="1125" y="226"/>
                  </a:lnTo>
                  <a:lnTo>
                    <a:pt x="1119" y="225"/>
                  </a:lnTo>
                  <a:lnTo>
                    <a:pt x="1114" y="224"/>
                  </a:lnTo>
                  <a:lnTo>
                    <a:pt x="1109" y="222"/>
                  </a:lnTo>
                  <a:lnTo>
                    <a:pt x="1104" y="220"/>
                  </a:lnTo>
                  <a:lnTo>
                    <a:pt x="1100" y="218"/>
                  </a:lnTo>
                  <a:lnTo>
                    <a:pt x="1096" y="215"/>
                  </a:lnTo>
                  <a:lnTo>
                    <a:pt x="1092" y="211"/>
                  </a:lnTo>
                  <a:lnTo>
                    <a:pt x="1089" y="208"/>
                  </a:lnTo>
                  <a:lnTo>
                    <a:pt x="1087" y="203"/>
                  </a:lnTo>
                  <a:lnTo>
                    <a:pt x="1084" y="199"/>
                  </a:lnTo>
                  <a:lnTo>
                    <a:pt x="1083" y="194"/>
                  </a:lnTo>
                  <a:lnTo>
                    <a:pt x="1081" y="188"/>
                  </a:lnTo>
                  <a:lnTo>
                    <a:pt x="1080" y="183"/>
                  </a:lnTo>
                  <a:lnTo>
                    <a:pt x="1079" y="177"/>
                  </a:lnTo>
                  <a:lnTo>
                    <a:pt x="1079" y="170"/>
                  </a:lnTo>
                  <a:lnTo>
                    <a:pt x="1079" y="157"/>
                  </a:lnTo>
                  <a:lnTo>
                    <a:pt x="1112" y="157"/>
                  </a:lnTo>
                  <a:lnTo>
                    <a:pt x="1112" y="172"/>
                  </a:lnTo>
                  <a:lnTo>
                    <a:pt x="1112" y="178"/>
                  </a:lnTo>
                  <a:lnTo>
                    <a:pt x="1113" y="182"/>
                  </a:lnTo>
                  <a:lnTo>
                    <a:pt x="1115" y="186"/>
                  </a:lnTo>
                  <a:lnTo>
                    <a:pt x="1117" y="189"/>
                  </a:lnTo>
                  <a:lnTo>
                    <a:pt x="1120" y="191"/>
                  </a:lnTo>
                  <a:lnTo>
                    <a:pt x="1123" y="193"/>
                  </a:lnTo>
                  <a:lnTo>
                    <a:pt x="1126" y="194"/>
                  </a:lnTo>
                  <a:lnTo>
                    <a:pt x="1130" y="194"/>
                  </a:lnTo>
                  <a:lnTo>
                    <a:pt x="1134" y="194"/>
                  </a:lnTo>
                  <a:lnTo>
                    <a:pt x="1138" y="193"/>
                  </a:lnTo>
                  <a:lnTo>
                    <a:pt x="1141" y="191"/>
                  </a:lnTo>
                  <a:lnTo>
                    <a:pt x="1142" y="190"/>
                  </a:lnTo>
                  <a:lnTo>
                    <a:pt x="1143" y="189"/>
                  </a:lnTo>
                  <a:lnTo>
                    <a:pt x="1145" y="186"/>
                  </a:lnTo>
                  <a:lnTo>
                    <a:pt x="1147" y="182"/>
                  </a:lnTo>
                  <a:lnTo>
                    <a:pt x="1148" y="178"/>
                  </a:lnTo>
                  <a:lnTo>
                    <a:pt x="1148" y="172"/>
                  </a:lnTo>
                  <a:lnTo>
                    <a:pt x="1148" y="168"/>
                  </a:lnTo>
                  <a:lnTo>
                    <a:pt x="1147" y="164"/>
                  </a:lnTo>
                  <a:lnTo>
                    <a:pt x="1145" y="157"/>
                  </a:lnTo>
                  <a:lnTo>
                    <a:pt x="1142" y="150"/>
                  </a:lnTo>
                  <a:lnTo>
                    <a:pt x="1138" y="144"/>
                  </a:lnTo>
                  <a:lnTo>
                    <a:pt x="1132" y="138"/>
                  </a:lnTo>
                  <a:lnTo>
                    <a:pt x="1127" y="132"/>
                  </a:lnTo>
                  <a:lnTo>
                    <a:pt x="1114" y="120"/>
                  </a:lnTo>
                  <a:lnTo>
                    <a:pt x="1108" y="114"/>
                  </a:lnTo>
                  <a:lnTo>
                    <a:pt x="1102" y="108"/>
                  </a:lnTo>
                  <a:lnTo>
                    <a:pt x="1096" y="101"/>
                  </a:lnTo>
                  <a:lnTo>
                    <a:pt x="1091" y="94"/>
                  </a:lnTo>
                  <a:lnTo>
                    <a:pt x="1086" y="86"/>
                  </a:lnTo>
                  <a:lnTo>
                    <a:pt x="1085" y="81"/>
                  </a:lnTo>
                  <a:lnTo>
                    <a:pt x="1083" y="76"/>
                  </a:lnTo>
                  <a:lnTo>
                    <a:pt x="1082" y="72"/>
                  </a:lnTo>
                  <a:lnTo>
                    <a:pt x="1081" y="66"/>
                  </a:lnTo>
                  <a:lnTo>
                    <a:pt x="1080" y="61"/>
                  </a:lnTo>
                  <a:lnTo>
                    <a:pt x="1080" y="55"/>
                  </a:lnTo>
                  <a:lnTo>
                    <a:pt x="1080" y="49"/>
                  </a:lnTo>
                  <a:lnTo>
                    <a:pt x="1081" y="43"/>
                  </a:lnTo>
                  <a:lnTo>
                    <a:pt x="1082" y="37"/>
                  </a:lnTo>
                  <a:lnTo>
                    <a:pt x="1083" y="32"/>
                  </a:lnTo>
                  <a:lnTo>
                    <a:pt x="1085" y="27"/>
                  </a:lnTo>
                  <a:lnTo>
                    <a:pt x="1088" y="22"/>
                  </a:lnTo>
                  <a:lnTo>
                    <a:pt x="1090" y="18"/>
                  </a:lnTo>
                  <a:lnTo>
                    <a:pt x="1093" y="14"/>
                  </a:lnTo>
                  <a:lnTo>
                    <a:pt x="1097" y="11"/>
                  </a:lnTo>
                  <a:lnTo>
                    <a:pt x="1100" y="8"/>
                  </a:lnTo>
                  <a:lnTo>
                    <a:pt x="1105" y="5"/>
                  </a:lnTo>
                  <a:lnTo>
                    <a:pt x="1109" y="3"/>
                  </a:lnTo>
                  <a:lnTo>
                    <a:pt x="1114" y="2"/>
                  </a:lnTo>
                  <a:lnTo>
                    <a:pt x="1120" y="0"/>
                  </a:lnTo>
                  <a:lnTo>
                    <a:pt x="1125" y="0"/>
                  </a:lnTo>
                  <a:lnTo>
                    <a:pt x="1131" y="0"/>
                  </a:lnTo>
                  <a:close/>
                  <a:moveTo>
                    <a:pt x="1256" y="135"/>
                  </a:moveTo>
                  <a:lnTo>
                    <a:pt x="1245" y="155"/>
                  </a:lnTo>
                  <a:lnTo>
                    <a:pt x="1245" y="223"/>
                  </a:lnTo>
                  <a:lnTo>
                    <a:pt x="1211" y="223"/>
                  </a:lnTo>
                  <a:lnTo>
                    <a:pt x="1211" y="2"/>
                  </a:lnTo>
                  <a:lnTo>
                    <a:pt x="1245" y="2"/>
                  </a:lnTo>
                  <a:lnTo>
                    <a:pt x="1245" y="98"/>
                  </a:lnTo>
                  <a:lnTo>
                    <a:pt x="1291" y="2"/>
                  </a:lnTo>
                  <a:lnTo>
                    <a:pt x="1326" y="2"/>
                  </a:lnTo>
                  <a:lnTo>
                    <a:pt x="1277" y="101"/>
                  </a:lnTo>
                  <a:lnTo>
                    <a:pt x="1326" y="223"/>
                  </a:lnTo>
                  <a:lnTo>
                    <a:pt x="1290" y="223"/>
                  </a:lnTo>
                  <a:lnTo>
                    <a:pt x="1256" y="135"/>
                  </a:lnTo>
                  <a:close/>
                  <a:moveTo>
                    <a:pt x="1462" y="223"/>
                  </a:moveTo>
                  <a:lnTo>
                    <a:pt x="1427" y="223"/>
                  </a:lnTo>
                  <a:lnTo>
                    <a:pt x="1421" y="183"/>
                  </a:lnTo>
                  <a:lnTo>
                    <a:pt x="1378" y="183"/>
                  </a:lnTo>
                  <a:lnTo>
                    <a:pt x="1372" y="223"/>
                  </a:lnTo>
                  <a:lnTo>
                    <a:pt x="1340" y="223"/>
                  </a:lnTo>
                  <a:lnTo>
                    <a:pt x="1376" y="2"/>
                  </a:lnTo>
                  <a:lnTo>
                    <a:pt x="1426" y="2"/>
                  </a:lnTo>
                  <a:lnTo>
                    <a:pt x="1462" y="223"/>
                  </a:lnTo>
                  <a:close/>
                  <a:moveTo>
                    <a:pt x="1383" y="153"/>
                  </a:moveTo>
                  <a:lnTo>
                    <a:pt x="1416" y="153"/>
                  </a:lnTo>
                  <a:lnTo>
                    <a:pt x="1399" y="41"/>
                  </a:lnTo>
                  <a:lnTo>
                    <a:pt x="1383" y="153"/>
                  </a:lnTo>
                  <a:close/>
                  <a:moveTo>
                    <a:pt x="1519" y="2"/>
                  </a:moveTo>
                  <a:lnTo>
                    <a:pt x="1519" y="173"/>
                  </a:lnTo>
                  <a:lnTo>
                    <a:pt x="1519" y="178"/>
                  </a:lnTo>
                  <a:lnTo>
                    <a:pt x="1520" y="183"/>
                  </a:lnTo>
                  <a:lnTo>
                    <a:pt x="1522" y="186"/>
                  </a:lnTo>
                  <a:lnTo>
                    <a:pt x="1524" y="189"/>
                  </a:lnTo>
                  <a:lnTo>
                    <a:pt x="1526" y="192"/>
                  </a:lnTo>
                  <a:lnTo>
                    <a:pt x="1530" y="193"/>
                  </a:lnTo>
                  <a:lnTo>
                    <a:pt x="1533" y="194"/>
                  </a:lnTo>
                  <a:lnTo>
                    <a:pt x="1537" y="194"/>
                  </a:lnTo>
                  <a:lnTo>
                    <a:pt x="1541" y="194"/>
                  </a:lnTo>
                  <a:lnTo>
                    <a:pt x="1545" y="193"/>
                  </a:lnTo>
                  <a:lnTo>
                    <a:pt x="1548" y="192"/>
                  </a:lnTo>
                  <a:lnTo>
                    <a:pt x="1549" y="191"/>
                  </a:lnTo>
                  <a:lnTo>
                    <a:pt x="1550" y="189"/>
                  </a:lnTo>
                  <a:lnTo>
                    <a:pt x="1552" y="186"/>
                  </a:lnTo>
                  <a:lnTo>
                    <a:pt x="1554" y="183"/>
                  </a:lnTo>
                  <a:lnTo>
                    <a:pt x="1555" y="178"/>
                  </a:lnTo>
                  <a:lnTo>
                    <a:pt x="1555" y="173"/>
                  </a:lnTo>
                  <a:lnTo>
                    <a:pt x="1555" y="2"/>
                  </a:lnTo>
                  <a:lnTo>
                    <a:pt x="1588" y="2"/>
                  </a:lnTo>
                  <a:lnTo>
                    <a:pt x="1588" y="171"/>
                  </a:lnTo>
                  <a:lnTo>
                    <a:pt x="1588" y="177"/>
                  </a:lnTo>
                  <a:lnTo>
                    <a:pt x="1587" y="183"/>
                  </a:lnTo>
                  <a:lnTo>
                    <a:pt x="1586" y="189"/>
                  </a:lnTo>
                  <a:lnTo>
                    <a:pt x="1585" y="194"/>
                  </a:lnTo>
                  <a:lnTo>
                    <a:pt x="1583" y="199"/>
                  </a:lnTo>
                  <a:lnTo>
                    <a:pt x="1581" y="204"/>
                  </a:lnTo>
                  <a:lnTo>
                    <a:pt x="1578" y="208"/>
                  </a:lnTo>
                  <a:lnTo>
                    <a:pt x="1575" y="212"/>
                  </a:lnTo>
                  <a:lnTo>
                    <a:pt x="1571" y="215"/>
                  </a:lnTo>
                  <a:lnTo>
                    <a:pt x="1567" y="218"/>
                  </a:lnTo>
                  <a:lnTo>
                    <a:pt x="1563" y="220"/>
                  </a:lnTo>
                  <a:lnTo>
                    <a:pt x="1559" y="222"/>
                  </a:lnTo>
                  <a:lnTo>
                    <a:pt x="1554" y="224"/>
                  </a:lnTo>
                  <a:lnTo>
                    <a:pt x="1548" y="225"/>
                  </a:lnTo>
                  <a:lnTo>
                    <a:pt x="1542" y="226"/>
                  </a:lnTo>
                  <a:lnTo>
                    <a:pt x="1536" y="226"/>
                  </a:lnTo>
                  <a:lnTo>
                    <a:pt x="1530" y="226"/>
                  </a:lnTo>
                  <a:lnTo>
                    <a:pt x="1524" y="225"/>
                  </a:lnTo>
                  <a:lnTo>
                    <a:pt x="1519" y="224"/>
                  </a:lnTo>
                  <a:lnTo>
                    <a:pt x="1514" y="222"/>
                  </a:lnTo>
                  <a:lnTo>
                    <a:pt x="1509" y="220"/>
                  </a:lnTo>
                  <a:lnTo>
                    <a:pt x="1505" y="218"/>
                  </a:lnTo>
                  <a:lnTo>
                    <a:pt x="1501" y="215"/>
                  </a:lnTo>
                  <a:lnTo>
                    <a:pt x="1497" y="212"/>
                  </a:lnTo>
                  <a:lnTo>
                    <a:pt x="1494" y="208"/>
                  </a:lnTo>
                  <a:lnTo>
                    <a:pt x="1492" y="204"/>
                  </a:lnTo>
                  <a:lnTo>
                    <a:pt x="1489" y="199"/>
                  </a:lnTo>
                  <a:lnTo>
                    <a:pt x="1488" y="194"/>
                  </a:lnTo>
                  <a:lnTo>
                    <a:pt x="1486" y="189"/>
                  </a:lnTo>
                  <a:lnTo>
                    <a:pt x="1485" y="183"/>
                  </a:lnTo>
                  <a:lnTo>
                    <a:pt x="1484" y="177"/>
                  </a:lnTo>
                  <a:lnTo>
                    <a:pt x="1484" y="171"/>
                  </a:lnTo>
                  <a:lnTo>
                    <a:pt x="1484" y="2"/>
                  </a:lnTo>
                  <a:lnTo>
                    <a:pt x="1519" y="2"/>
                  </a:lnTo>
                  <a:close/>
                  <a:moveTo>
                    <a:pt x="1722" y="57"/>
                  </a:moveTo>
                  <a:lnTo>
                    <a:pt x="1722" y="85"/>
                  </a:lnTo>
                  <a:lnTo>
                    <a:pt x="1722" y="92"/>
                  </a:lnTo>
                  <a:lnTo>
                    <a:pt x="1722" y="98"/>
                  </a:lnTo>
                  <a:lnTo>
                    <a:pt x="1721" y="104"/>
                  </a:lnTo>
                  <a:lnTo>
                    <a:pt x="1719" y="109"/>
                  </a:lnTo>
                  <a:lnTo>
                    <a:pt x="1717" y="114"/>
                  </a:lnTo>
                  <a:lnTo>
                    <a:pt x="1715" y="118"/>
                  </a:lnTo>
                  <a:lnTo>
                    <a:pt x="1713" y="122"/>
                  </a:lnTo>
                  <a:lnTo>
                    <a:pt x="1710" y="126"/>
                  </a:lnTo>
                  <a:lnTo>
                    <a:pt x="1706" y="129"/>
                  </a:lnTo>
                  <a:lnTo>
                    <a:pt x="1702" y="132"/>
                  </a:lnTo>
                  <a:lnTo>
                    <a:pt x="1698" y="135"/>
                  </a:lnTo>
                  <a:lnTo>
                    <a:pt x="1693" y="137"/>
                  </a:lnTo>
                  <a:lnTo>
                    <a:pt x="1688" y="138"/>
                  </a:lnTo>
                  <a:lnTo>
                    <a:pt x="1683" y="139"/>
                  </a:lnTo>
                  <a:lnTo>
                    <a:pt x="1677" y="140"/>
                  </a:lnTo>
                  <a:lnTo>
                    <a:pt x="1671" y="140"/>
                  </a:lnTo>
                  <a:lnTo>
                    <a:pt x="1654" y="140"/>
                  </a:lnTo>
                  <a:lnTo>
                    <a:pt x="1654" y="223"/>
                  </a:lnTo>
                  <a:lnTo>
                    <a:pt x="1619" y="223"/>
                  </a:lnTo>
                  <a:lnTo>
                    <a:pt x="1619" y="2"/>
                  </a:lnTo>
                  <a:lnTo>
                    <a:pt x="1671" y="2"/>
                  </a:lnTo>
                  <a:lnTo>
                    <a:pt x="1677" y="2"/>
                  </a:lnTo>
                  <a:lnTo>
                    <a:pt x="1683" y="3"/>
                  </a:lnTo>
                  <a:lnTo>
                    <a:pt x="1688" y="4"/>
                  </a:lnTo>
                  <a:lnTo>
                    <a:pt x="1693" y="6"/>
                  </a:lnTo>
                  <a:lnTo>
                    <a:pt x="1698" y="8"/>
                  </a:lnTo>
                  <a:lnTo>
                    <a:pt x="1702" y="10"/>
                  </a:lnTo>
                  <a:lnTo>
                    <a:pt x="1706" y="13"/>
                  </a:lnTo>
                  <a:lnTo>
                    <a:pt x="1710" y="16"/>
                  </a:lnTo>
                  <a:lnTo>
                    <a:pt x="1713" y="20"/>
                  </a:lnTo>
                  <a:lnTo>
                    <a:pt x="1715" y="24"/>
                  </a:lnTo>
                  <a:lnTo>
                    <a:pt x="1717" y="28"/>
                  </a:lnTo>
                  <a:lnTo>
                    <a:pt x="1719" y="33"/>
                  </a:lnTo>
                  <a:lnTo>
                    <a:pt x="1722" y="44"/>
                  </a:lnTo>
                  <a:lnTo>
                    <a:pt x="1722" y="50"/>
                  </a:lnTo>
                  <a:lnTo>
                    <a:pt x="1722" y="57"/>
                  </a:lnTo>
                  <a:close/>
                  <a:moveTo>
                    <a:pt x="1654" y="34"/>
                  </a:moveTo>
                  <a:lnTo>
                    <a:pt x="1654" y="109"/>
                  </a:lnTo>
                  <a:lnTo>
                    <a:pt x="1671" y="109"/>
                  </a:lnTo>
                  <a:lnTo>
                    <a:pt x="1675" y="108"/>
                  </a:lnTo>
                  <a:lnTo>
                    <a:pt x="1678" y="108"/>
                  </a:lnTo>
                  <a:lnTo>
                    <a:pt x="1681" y="106"/>
                  </a:lnTo>
                  <a:lnTo>
                    <a:pt x="1683" y="104"/>
                  </a:lnTo>
                  <a:lnTo>
                    <a:pt x="1685" y="101"/>
                  </a:lnTo>
                  <a:lnTo>
                    <a:pt x="1687" y="98"/>
                  </a:lnTo>
                  <a:lnTo>
                    <a:pt x="1687" y="95"/>
                  </a:lnTo>
                  <a:lnTo>
                    <a:pt x="1687" y="93"/>
                  </a:lnTo>
                  <a:lnTo>
                    <a:pt x="1688" y="88"/>
                  </a:lnTo>
                  <a:lnTo>
                    <a:pt x="1688" y="55"/>
                  </a:lnTo>
                  <a:lnTo>
                    <a:pt x="1687" y="49"/>
                  </a:lnTo>
                  <a:lnTo>
                    <a:pt x="1687" y="45"/>
                  </a:lnTo>
                  <a:lnTo>
                    <a:pt x="1685" y="41"/>
                  </a:lnTo>
                  <a:lnTo>
                    <a:pt x="1683" y="38"/>
                  </a:lnTo>
                  <a:lnTo>
                    <a:pt x="1681" y="36"/>
                  </a:lnTo>
                  <a:lnTo>
                    <a:pt x="1678" y="35"/>
                  </a:lnTo>
                  <a:lnTo>
                    <a:pt x="1675" y="34"/>
                  </a:lnTo>
                  <a:lnTo>
                    <a:pt x="1671" y="34"/>
                  </a:lnTo>
                  <a:lnTo>
                    <a:pt x="1654" y="34"/>
                  </a:lnTo>
                  <a:close/>
                  <a:moveTo>
                    <a:pt x="1851" y="57"/>
                  </a:moveTo>
                  <a:lnTo>
                    <a:pt x="1851" y="85"/>
                  </a:lnTo>
                  <a:lnTo>
                    <a:pt x="1851" y="92"/>
                  </a:lnTo>
                  <a:lnTo>
                    <a:pt x="1850" y="98"/>
                  </a:lnTo>
                  <a:lnTo>
                    <a:pt x="1849" y="104"/>
                  </a:lnTo>
                  <a:lnTo>
                    <a:pt x="1848" y="109"/>
                  </a:lnTo>
                  <a:lnTo>
                    <a:pt x="1846" y="114"/>
                  </a:lnTo>
                  <a:lnTo>
                    <a:pt x="1844" y="118"/>
                  </a:lnTo>
                  <a:lnTo>
                    <a:pt x="1841" y="122"/>
                  </a:lnTo>
                  <a:lnTo>
                    <a:pt x="1838" y="126"/>
                  </a:lnTo>
                  <a:lnTo>
                    <a:pt x="1835" y="129"/>
                  </a:lnTo>
                  <a:lnTo>
                    <a:pt x="1831" y="132"/>
                  </a:lnTo>
                  <a:lnTo>
                    <a:pt x="1827" y="135"/>
                  </a:lnTo>
                  <a:lnTo>
                    <a:pt x="1822" y="137"/>
                  </a:lnTo>
                  <a:lnTo>
                    <a:pt x="1817" y="138"/>
                  </a:lnTo>
                  <a:lnTo>
                    <a:pt x="1811" y="139"/>
                  </a:lnTo>
                  <a:lnTo>
                    <a:pt x="1806" y="140"/>
                  </a:lnTo>
                  <a:lnTo>
                    <a:pt x="1799" y="140"/>
                  </a:lnTo>
                  <a:lnTo>
                    <a:pt x="1783" y="140"/>
                  </a:lnTo>
                  <a:lnTo>
                    <a:pt x="1783" y="223"/>
                  </a:lnTo>
                  <a:lnTo>
                    <a:pt x="1748" y="223"/>
                  </a:lnTo>
                  <a:lnTo>
                    <a:pt x="1748" y="2"/>
                  </a:lnTo>
                  <a:lnTo>
                    <a:pt x="1799" y="2"/>
                  </a:lnTo>
                  <a:lnTo>
                    <a:pt x="1806" y="2"/>
                  </a:lnTo>
                  <a:lnTo>
                    <a:pt x="1811" y="3"/>
                  </a:lnTo>
                  <a:lnTo>
                    <a:pt x="1817" y="4"/>
                  </a:lnTo>
                  <a:lnTo>
                    <a:pt x="1822" y="6"/>
                  </a:lnTo>
                  <a:lnTo>
                    <a:pt x="1827" y="8"/>
                  </a:lnTo>
                  <a:lnTo>
                    <a:pt x="1831" y="10"/>
                  </a:lnTo>
                  <a:lnTo>
                    <a:pt x="1835" y="13"/>
                  </a:lnTo>
                  <a:lnTo>
                    <a:pt x="1838" y="16"/>
                  </a:lnTo>
                  <a:lnTo>
                    <a:pt x="1841" y="20"/>
                  </a:lnTo>
                  <a:lnTo>
                    <a:pt x="1844" y="24"/>
                  </a:lnTo>
                  <a:lnTo>
                    <a:pt x="1846" y="28"/>
                  </a:lnTo>
                  <a:lnTo>
                    <a:pt x="1848" y="33"/>
                  </a:lnTo>
                  <a:lnTo>
                    <a:pt x="1850" y="44"/>
                  </a:lnTo>
                  <a:lnTo>
                    <a:pt x="1851" y="50"/>
                  </a:lnTo>
                  <a:lnTo>
                    <a:pt x="1851" y="57"/>
                  </a:lnTo>
                  <a:close/>
                  <a:moveTo>
                    <a:pt x="1783" y="34"/>
                  </a:moveTo>
                  <a:lnTo>
                    <a:pt x="1783" y="109"/>
                  </a:lnTo>
                  <a:lnTo>
                    <a:pt x="1799" y="109"/>
                  </a:lnTo>
                  <a:lnTo>
                    <a:pt x="1803" y="108"/>
                  </a:lnTo>
                  <a:lnTo>
                    <a:pt x="1807" y="108"/>
                  </a:lnTo>
                  <a:lnTo>
                    <a:pt x="1810" y="106"/>
                  </a:lnTo>
                  <a:lnTo>
                    <a:pt x="1812" y="104"/>
                  </a:lnTo>
                  <a:lnTo>
                    <a:pt x="1814" y="101"/>
                  </a:lnTo>
                  <a:lnTo>
                    <a:pt x="1815" y="98"/>
                  </a:lnTo>
                  <a:lnTo>
                    <a:pt x="1816" y="95"/>
                  </a:lnTo>
                  <a:lnTo>
                    <a:pt x="1816" y="93"/>
                  </a:lnTo>
                  <a:lnTo>
                    <a:pt x="1816" y="88"/>
                  </a:lnTo>
                  <a:lnTo>
                    <a:pt x="1816" y="55"/>
                  </a:lnTo>
                  <a:lnTo>
                    <a:pt x="1816" y="49"/>
                  </a:lnTo>
                  <a:lnTo>
                    <a:pt x="1815" y="45"/>
                  </a:lnTo>
                  <a:lnTo>
                    <a:pt x="1814" y="41"/>
                  </a:lnTo>
                  <a:lnTo>
                    <a:pt x="1812" y="38"/>
                  </a:lnTo>
                  <a:lnTo>
                    <a:pt x="1810" y="36"/>
                  </a:lnTo>
                  <a:lnTo>
                    <a:pt x="1807" y="35"/>
                  </a:lnTo>
                  <a:lnTo>
                    <a:pt x="1803" y="34"/>
                  </a:lnTo>
                  <a:lnTo>
                    <a:pt x="1799" y="34"/>
                  </a:lnTo>
                  <a:lnTo>
                    <a:pt x="1783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23310523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D160C0-AFB4-4D20-B9C2-6F802304A111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7" name="Round Same Side Corner Rectangle 16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8" name="Freeform 6"/>
            <p:cNvSpPr>
              <a:spLocks noChangeAspect="1" noEditPoints="1"/>
            </p:cNvSpPr>
            <p:nvPr userDrawn="1"/>
          </p:nvSpPr>
          <p:spPr bwMode="auto">
            <a:xfrm>
              <a:off x="8908139" y="6472998"/>
              <a:ext cx="1865548" cy="212400"/>
            </a:xfrm>
            <a:custGeom>
              <a:avLst/>
              <a:gdLst>
                <a:gd name="T0" fmla="*/ 1899 w 1985"/>
                <a:gd name="T1" fmla="*/ 2 h 226"/>
                <a:gd name="T2" fmla="*/ 67 w 1985"/>
                <a:gd name="T3" fmla="*/ 143 h 226"/>
                <a:gd name="T4" fmla="*/ 59 w 1985"/>
                <a:gd name="T5" fmla="*/ 2 h 226"/>
                <a:gd name="T6" fmla="*/ 99 w 1985"/>
                <a:gd name="T7" fmla="*/ 26 h 226"/>
                <a:gd name="T8" fmla="*/ 95 w 1985"/>
                <a:gd name="T9" fmla="*/ 104 h 226"/>
                <a:gd name="T10" fmla="*/ 99 w 1985"/>
                <a:gd name="T11" fmla="*/ 133 h 226"/>
                <a:gd name="T12" fmla="*/ 106 w 1985"/>
                <a:gd name="T13" fmla="*/ 217 h 226"/>
                <a:gd name="T14" fmla="*/ 68 w 1985"/>
                <a:gd name="T15" fmla="*/ 89 h 226"/>
                <a:gd name="T16" fmla="*/ 52 w 1985"/>
                <a:gd name="T17" fmla="*/ 34 h 226"/>
                <a:gd name="T18" fmla="*/ 168 w 1985"/>
                <a:gd name="T19" fmla="*/ 153 h 226"/>
                <a:gd name="T20" fmla="*/ 316 w 1985"/>
                <a:gd name="T21" fmla="*/ 183 h 226"/>
                <a:gd name="T22" fmla="*/ 493 w 1985"/>
                <a:gd name="T23" fmla="*/ 223 h 226"/>
                <a:gd name="T24" fmla="*/ 668 w 1985"/>
                <a:gd name="T25" fmla="*/ 11 h 226"/>
                <a:gd name="T26" fmla="*/ 652 w 1985"/>
                <a:gd name="T27" fmla="*/ 62 h 226"/>
                <a:gd name="T28" fmla="*/ 631 w 1985"/>
                <a:gd name="T29" fmla="*/ 31 h 226"/>
                <a:gd name="T30" fmla="*/ 623 w 1985"/>
                <a:gd name="T31" fmla="*/ 75 h 226"/>
                <a:gd name="T32" fmla="*/ 682 w 1985"/>
                <a:gd name="T33" fmla="*/ 149 h 226"/>
                <a:gd name="T34" fmla="*/ 675 w 1985"/>
                <a:gd name="T35" fmla="*/ 208 h 226"/>
                <a:gd name="T36" fmla="*/ 621 w 1985"/>
                <a:gd name="T37" fmla="*/ 225 h 226"/>
                <a:gd name="T38" fmla="*/ 583 w 1985"/>
                <a:gd name="T39" fmla="*/ 188 h 226"/>
                <a:gd name="T40" fmla="*/ 622 w 1985"/>
                <a:gd name="T41" fmla="*/ 191 h 226"/>
                <a:gd name="T42" fmla="*/ 650 w 1985"/>
                <a:gd name="T43" fmla="*/ 178 h 226"/>
                <a:gd name="T44" fmla="*/ 604 w 1985"/>
                <a:gd name="T45" fmla="*/ 108 h 226"/>
                <a:gd name="T46" fmla="*/ 583 w 1985"/>
                <a:gd name="T47" fmla="*/ 43 h 226"/>
                <a:gd name="T48" fmla="*/ 616 w 1985"/>
                <a:gd name="T49" fmla="*/ 2 h 226"/>
                <a:gd name="T50" fmla="*/ 713 w 1985"/>
                <a:gd name="T51" fmla="*/ 223 h 226"/>
                <a:gd name="T52" fmla="*/ 950 w 1985"/>
                <a:gd name="T53" fmla="*/ 65 h 226"/>
                <a:gd name="T54" fmla="*/ 1051 w 1985"/>
                <a:gd name="T55" fmla="*/ 223 h 226"/>
                <a:gd name="T56" fmla="*/ 1170 w 1985"/>
                <a:gd name="T57" fmla="*/ 14 h 226"/>
                <a:gd name="T58" fmla="*/ 1150 w 1985"/>
                <a:gd name="T59" fmla="*/ 53 h 226"/>
                <a:gd name="T60" fmla="*/ 1125 w 1985"/>
                <a:gd name="T61" fmla="*/ 32 h 226"/>
                <a:gd name="T62" fmla="*/ 1126 w 1985"/>
                <a:gd name="T63" fmla="*/ 82 h 226"/>
                <a:gd name="T64" fmla="*/ 1181 w 1985"/>
                <a:gd name="T65" fmla="*/ 154 h 226"/>
                <a:gd name="T66" fmla="*/ 1170 w 1985"/>
                <a:gd name="T67" fmla="*/ 211 h 226"/>
                <a:gd name="T68" fmla="*/ 1114 w 1985"/>
                <a:gd name="T69" fmla="*/ 224 h 226"/>
                <a:gd name="T70" fmla="*/ 1080 w 1985"/>
                <a:gd name="T71" fmla="*/ 183 h 226"/>
                <a:gd name="T72" fmla="*/ 1123 w 1985"/>
                <a:gd name="T73" fmla="*/ 193 h 226"/>
                <a:gd name="T74" fmla="*/ 1148 w 1985"/>
                <a:gd name="T75" fmla="*/ 172 h 226"/>
                <a:gd name="T76" fmla="*/ 1096 w 1985"/>
                <a:gd name="T77" fmla="*/ 101 h 226"/>
                <a:gd name="T78" fmla="*/ 1082 w 1985"/>
                <a:gd name="T79" fmla="*/ 37 h 226"/>
                <a:gd name="T80" fmla="*/ 1120 w 1985"/>
                <a:gd name="T81" fmla="*/ 0 h 226"/>
                <a:gd name="T82" fmla="*/ 1326 w 1985"/>
                <a:gd name="T83" fmla="*/ 2 h 226"/>
                <a:gd name="T84" fmla="*/ 1376 w 1985"/>
                <a:gd name="T85" fmla="*/ 2 h 226"/>
                <a:gd name="T86" fmla="*/ 1522 w 1985"/>
                <a:gd name="T87" fmla="*/ 186 h 226"/>
                <a:gd name="T88" fmla="*/ 1552 w 1985"/>
                <a:gd name="T89" fmla="*/ 186 h 226"/>
                <a:gd name="T90" fmla="*/ 1583 w 1985"/>
                <a:gd name="T91" fmla="*/ 199 h 226"/>
                <a:gd name="T92" fmla="*/ 1536 w 1985"/>
                <a:gd name="T93" fmla="*/ 226 h 226"/>
                <a:gd name="T94" fmla="*/ 1489 w 1985"/>
                <a:gd name="T95" fmla="*/ 199 h 226"/>
                <a:gd name="T96" fmla="*/ 1722 w 1985"/>
                <a:gd name="T97" fmla="*/ 98 h 226"/>
                <a:gd name="T98" fmla="*/ 1688 w 1985"/>
                <a:gd name="T99" fmla="*/ 138 h 226"/>
                <a:gd name="T100" fmla="*/ 1688 w 1985"/>
                <a:gd name="T101" fmla="*/ 4 h 226"/>
                <a:gd name="T102" fmla="*/ 1722 w 1985"/>
                <a:gd name="T103" fmla="*/ 50 h 226"/>
                <a:gd name="T104" fmla="*/ 1687 w 1985"/>
                <a:gd name="T105" fmla="*/ 95 h 226"/>
                <a:gd name="T106" fmla="*/ 1671 w 1985"/>
                <a:gd name="T107" fmla="*/ 34 h 226"/>
                <a:gd name="T108" fmla="*/ 1838 w 1985"/>
                <a:gd name="T109" fmla="*/ 126 h 226"/>
                <a:gd name="T110" fmla="*/ 1748 w 1985"/>
                <a:gd name="T111" fmla="*/ 223 h 226"/>
                <a:gd name="T112" fmla="*/ 1841 w 1985"/>
                <a:gd name="T113" fmla="*/ 20 h 226"/>
                <a:gd name="T114" fmla="*/ 1807 w 1985"/>
                <a:gd name="T115" fmla="*/ 108 h 226"/>
                <a:gd name="T116" fmla="*/ 1814 w 1985"/>
                <a:gd name="T117" fmla="*/ 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5" h="226">
                  <a:moveTo>
                    <a:pt x="1906" y="153"/>
                  </a:moveTo>
                  <a:lnTo>
                    <a:pt x="1939" y="153"/>
                  </a:lnTo>
                  <a:lnTo>
                    <a:pt x="1922" y="41"/>
                  </a:lnTo>
                  <a:lnTo>
                    <a:pt x="1906" y="153"/>
                  </a:lnTo>
                  <a:close/>
                  <a:moveTo>
                    <a:pt x="1985" y="223"/>
                  </a:moveTo>
                  <a:lnTo>
                    <a:pt x="1950" y="223"/>
                  </a:lnTo>
                  <a:lnTo>
                    <a:pt x="1944" y="183"/>
                  </a:lnTo>
                  <a:lnTo>
                    <a:pt x="1901" y="183"/>
                  </a:lnTo>
                  <a:lnTo>
                    <a:pt x="1895" y="223"/>
                  </a:lnTo>
                  <a:lnTo>
                    <a:pt x="1863" y="223"/>
                  </a:lnTo>
                  <a:lnTo>
                    <a:pt x="1899" y="2"/>
                  </a:lnTo>
                  <a:lnTo>
                    <a:pt x="1950" y="2"/>
                  </a:lnTo>
                  <a:lnTo>
                    <a:pt x="1985" y="223"/>
                  </a:lnTo>
                  <a:close/>
                  <a:moveTo>
                    <a:pt x="73" y="223"/>
                  </a:moveTo>
                  <a:lnTo>
                    <a:pt x="72" y="219"/>
                  </a:lnTo>
                  <a:lnTo>
                    <a:pt x="71" y="214"/>
                  </a:lnTo>
                  <a:lnTo>
                    <a:pt x="70" y="207"/>
                  </a:lnTo>
                  <a:lnTo>
                    <a:pt x="70" y="196"/>
                  </a:lnTo>
                  <a:lnTo>
                    <a:pt x="70" y="161"/>
                  </a:lnTo>
                  <a:lnTo>
                    <a:pt x="69" y="154"/>
                  </a:lnTo>
                  <a:lnTo>
                    <a:pt x="68" y="148"/>
                  </a:lnTo>
                  <a:lnTo>
                    <a:pt x="67" y="143"/>
                  </a:lnTo>
                  <a:lnTo>
                    <a:pt x="64" y="140"/>
                  </a:lnTo>
                  <a:lnTo>
                    <a:pt x="61" y="137"/>
                  </a:lnTo>
                  <a:lnTo>
                    <a:pt x="57" y="135"/>
                  </a:lnTo>
                  <a:lnTo>
                    <a:pt x="52" y="134"/>
                  </a:lnTo>
                  <a:lnTo>
                    <a:pt x="47" y="133"/>
                  </a:lnTo>
                  <a:lnTo>
                    <a:pt x="35" y="133"/>
                  </a:lnTo>
                  <a:lnTo>
                    <a:pt x="35" y="223"/>
                  </a:lnTo>
                  <a:lnTo>
                    <a:pt x="0" y="223"/>
                  </a:lnTo>
                  <a:lnTo>
                    <a:pt x="0" y="2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65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6" y="5"/>
                  </a:lnTo>
                  <a:lnTo>
                    <a:pt x="80" y="7"/>
                  </a:lnTo>
                  <a:lnTo>
                    <a:pt x="85" y="9"/>
                  </a:lnTo>
                  <a:lnTo>
                    <a:pt x="88" y="12"/>
                  </a:lnTo>
                  <a:lnTo>
                    <a:pt x="92" y="15"/>
                  </a:lnTo>
                  <a:lnTo>
                    <a:pt x="95" y="18"/>
                  </a:lnTo>
                  <a:lnTo>
                    <a:pt x="97" y="22"/>
                  </a:lnTo>
                  <a:lnTo>
                    <a:pt x="99" y="26"/>
                  </a:lnTo>
                  <a:lnTo>
                    <a:pt x="101" y="31"/>
                  </a:lnTo>
                  <a:lnTo>
                    <a:pt x="102" y="36"/>
                  </a:lnTo>
                  <a:lnTo>
                    <a:pt x="103" y="41"/>
                  </a:lnTo>
                  <a:lnTo>
                    <a:pt x="104" y="47"/>
                  </a:lnTo>
                  <a:lnTo>
                    <a:pt x="104" y="53"/>
                  </a:lnTo>
                  <a:lnTo>
                    <a:pt x="104" y="70"/>
                  </a:lnTo>
                  <a:lnTo>
                    <a:pt x="104" y="78"/>
                  </a:lnTo>
                  <a:lnTo>
                    <a:pt x="103" y="86"/>
                  </a:lnTo>
                  <a:lnTo>
                    <a:pt x="101" y="93"/>
                  </a:lnTo>
                  <a:lnTo>
                    <a:pt x="99" y="99"/>
                  </a:lnTo>
                  <a:lnTo>
                    <a:pt x="95" y="104"/>
                  </a:lnTo>
                  <a:lnTo>
                    <a:pt x="93" y="106"/>
                  </a:lnTo>
                  <a:lnTo>
                    <a:pt x="91" y="108"/>
                  </a:lnTo>
                  <a:lnTo>
                    <a:pt x="89" y="110"/>
                  </a:lnTo>
                  <a:lnTo>
                    <a:pt x="87" y="112"/>
                  </a:lnTo>
                  <a:lnTo>
                    <a:pt x="84" y="114"/>
                  </a:lnTo>
                  <a:lnTo>
                    <a:pt x="81" y="115"/>
                  </a:lnTo>
                  <a:lnTo>
                    <a:pt x="87" y="118"/>
                  </a:lnTo>
                  <a:lnTo>
                    <a:pt x="92" y="122"/>
                  </a:lnTo>
                  <a:lnTo>
                    <a:pt x="96" y="127"/>
                  </a:lnTo>
                  <a:lnTo>
                    <a:pt x="98" y="130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2" y="139"/>
                  </a:lnTo>
                  <a:lnTo>
                    <a:pt x="103" y="143"/>
                  </a:lnTo>
                  <a:lnTo>
                    <a:pt x="103" y="146"/>
                  </a:lnTo>
                  <a:lnTo>
                    <a:pt x="104" y="154"/>
                  </a:lnTo>
                  <a:lnTo>
                    <a:pt x="104" y="162"/>
                  </a:lnTo>
                  <a:lnTo>
                    <a:pt x="104" y="196"/>
                  </a:lnTo>
                  <a:lnTo>
                    <a:pt x="105" y="204"/>
                  </a:lnTo>
                  <a:lnTo>
                    <a:pt x="105" y="211"/>
                  </a:lnTo>
                  <a:lnTo>
                    <a:pt x="105" y="214"/>
                  </a:lnTo>
                  <a:lnTo>
                    <a:pt x="106" y="217"/>
                  </a:lnTo>
                  <a:lnTo>
                    <a:pt x="108" y="223"/>
                  </a:lnTo>
                  <a:lnTo>
                    <a:pt x="73" y="223"/>
                  </a:lnTo>
                  <a:close/>
                  <a:moveTo>
                    <a:pt x="35" y="34"/>
                  </a:moveTo>
                  <a:lnTo>
                    <a:pt x="35" y="102"/>
                  </a:lnTo>
                  <a:lnTo>
                    <a:pt x="48" y="102"/>
                  </a:lnTo>
                  <a:lnTo>
                    <a:pt x="53" y="101"/>
                  </a:lnTo>
                  <a:lnTo>
                    <a:pt x="57" y="100"/>
                  </a:lnTo>
                  <a:lnTo>
                    <a:pt x="61" y="99"/>
                  </a:lnTo>
                  <a:lnTo>
                    <a:pt x="64" y="97"/>
                  </a:lnTo>
                  <a:lnTo>
                    <a:pt x="66" y="93"/>
                  </a:lnTo>
                  <a:lnTo>
                    <a:pt x="68" y="89"/>
                  </a:lnTo>
                  <a:lnTo>
                    <a:pt x="69" y="84"/>
                  </a:lnTo>
                  <a:lnTo>
                    <a:pt x="69" y="78"/>
                  </a:lnTo>
                  <a:lnTo>
                    <a:pt x="69" y="56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5" y="39"/>
                  </a:lnTo>
                  <a:lnTo>
                    <a:pt x="63" y="37"/>
                  </a:lnTo>
                  <a:lnTo>
                    <a:pt x="60" y="35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35" y="34"/>
                  </a:lnTo>
                  <a:close/>
                  <a:moveTo>
                    <a:pt x="248" y="223"/>
                  </a:moveTo>
                  <a:lnTo>
                    <a:pt x="212" y="223"/>
                  </a:lnTo>
                  <a:lnTo>
                    <a:pt x="206" y="183"/>
                  </a:lnTo>
                  <a:lnTo>
                    <a:pt x="164" y="183"/>
                  </a:lnTo>
                  <a:lnTo>
                    <a:pt x="158" y="223"/>
                  </a:lnTo>
                  <a:lnTo>
                    <a:pt x="126" y="223"/>
                  </a:lnTo>
                  <a:lnTo>
                    <a:pt x="161" y="2"/>
                  </a:lnTo>
                  <a:lnTo>
                    <a:pt x="212" y="2"/>
                  </a:lnTo>
                  <a:lnTo>
                    <a:pt x="248" y="223"/>
                  </a:lnTo>
                  <a:close/>
                  <a:moveTo>
                    <a:pt x="168" y="153"/>
                  </a:moveTo>
                  <a:lnTo>
                    <a:pt x="202" y="153"/>
                  </a:lnTo>
                  <a:lnTo>
                    <a:pt x="185" y="41"/>
                  </a:lnTo>
                  <a:lnTo>
                    <a:pt x="168" y="153"/>
                  </a:lnTo>
                  <a:close/>
                  <a:moveTo>
                    <a:pt x="316" y="183"/>
                  </a:moveTo>
                  <a:lnTo>
                    <a:pt x="343" y="2"/>
                  </a:lnTo>
                  <a:lnTo>
                    <a:pt x="375" y="2"/>
                  </a:lnTo>
                  <a:lnTo>
                    <a:pt x="340" y="223"/>
                  </a:lnTo>
                  <a:lnTo>
                    <a:pt x="289" y="223"/>
                  </a:lnTo>
                  <a:lnTo>
                    <a:pt x="254" y="2"/>
                  </a:lnTo>
                  <a:lnTo>
                    <a:pt x="290" y="2"/>
                  </a:lnTo>
                  <a:lnTo>
                    <a:pt x="316" y="183"/>
                  </a:lnTo>
                  <a:close/>
                  <a:moveTo>
                    <a:pt x="398" y="2"/>
                  </a:moveTo>
                  <a:lnTo>
                    <a:pt x="433" y="2"/>
                  </a:lnTo>
                  <a:lnTo>
                    <a:pt x="433" y="223"/>
                  </a:lnTo>
                  <a:lnTo>
                    <a:pt x="398" y="223"/>
                  </a:lnTo>
                  <a:lnTo>
                    <a:pt x="398" y="2"/>
                  </a:lnTo>
                  <a:close/>
                  <a:moveTo>
                    <a:pt x="456" y="2"/>
                  </a:moveTo>
                  <a:lnTo>
                    <a:pt x="564" y="2"/>
                  </a:lnTo>
                  <a:lnTo>
                    <a:pt x="564" y="34"/>
                  </a:lnTo>
                  <a:lnTo>
                    <a:pt x="527" y="34"/>
                  </a:lnTo>
                  <a:lnTo>
                    <a:pt x="527" y="223"/>
                  </a:lnTo>
                  <a:lnTo>
                    <a:pt x="493" y="223"/>
                  </a:lnTo>
                  <a:lnTo>
                    <a:pt x="493" y="34"/>
                  </a:lnTo>
                  <a:lnTo>
                    <a:pt x="456" y="34"/>
                  </a:lnTo>
                  <a:lnTo>
                    <a:pt x="456" y="2"/>
                  </a:lnTo>
                  <a:close/>
                  <a:moveTo>
                    <a:pt x="634" y="0"/>
                  </a:moveTo>
                  <a:lnTo>
                    <a:pt x="640" y="0"/>
                  </a:lnTo>
                  <a:lnTo>
                    <a:pt x="645" y="0"/>
                  </a:lnTo>
                  <a:lnTo>
                    <a:pt x="651" y="2"/>
                  </a:lnTo>
                  <a:lnTo>
                    <a:pt x="656" y="3"/>
                  </a:lnTo>
                  <a:lnTo>
                    <a:pt x="660" y="5"/>
                  </a:lnTo>
                  <a:lnTo>
                    <a:pt x="665" y="8"/>
                  </a:lnTo>
                  <a:lnTo>
                    <a:pt x="668" y="11"/>
                  </a:lnTo>
                  <a:lnTo>
                    <a:pt x="672" y="14"/>
                  </a:lnTo>
                  <a:lnTo>
                    <a:pt x="675" y="18"/>
                  </a:lnTo>
                  <a:lnTo>
                    <a:pt x="677" y="22"/>
                  </a:lnTo>
                  <a:lnTo>
                    <a:pt x="680" y="27"/>
                  </a:lnTo>
                  <a:lnTo>
                    <a:pt x="681" y="32"/>
                  </a:lnTo>
                  <a:lnTo>
                    <a:pt x="683" y="37"/>
                  </a:lnTo>
                  <a:lnTo>
                    <a:pt x="684" y="43"/>
                  </a:lnTo>
                  <a:lnTo>
                    <a:pt x="685" y="49"/>
                  </a:lnTo>
                  <a:lnTo>
                    <a:pt x="685" y="55"/>
                  </a:lnTo>
                  <a:lnTo>
                    <a:pt x="685" y="62"/>
                  </a:lnTo>
                  <a:lnTo>
                    <a:pt x="652" y="62"/>
                  </a:lnTo>
                  <a:lnTo>
                    <a:pt x="652" y="53"/>
                  </a:lnTo>
                  <a:lnTo>
                    <a:pt x="652" y="47"/>
                  </a:lnTo>
                  <a:lnTo>
                    <a:pt x="651" y="43"/>
                  </a:lnTo>
                  <a:lnTo>
                    <a:pt x="650" y="41"/>
                  </a:lnTo>
                  <a:lnTo>
                    <a:pt x="649" y="39"/>
                  </a:lnTo>
                  <a:lnTo>
                    <a:pt x="647" y="36"/>
                  </a:lnTo>
                  <a:lnTo>
                    <a:pt x="645" y="34"/>
                  </a:lnTo>
                  <a:lnTo>
                    <a:pt x="642" y="32"/>
                  </a:lnTo>
                  <a:lnTo>
                    <a:pt x="638" y="31"/>
                  </a:lnTo>
                  <a:lnTo>
                    <a:pt x="634" y="31"/>
                  </a:lnTo>
                  <a:lnTo>
                    <a:pt x="631" y="31"/>
                  </a:lnTo>
                  <a:lnTo>
                    <a:pt x="627" y="32"/>
                  </a:lnTo>
                  <a:lnTo>
                    <a:pt x="624" y="34"/>
                  </a:lnTo>
                  <a:lnTo>
                    <a:pt x="622" y="36"/>
                  </a:lnTo>
                  <a:lnTo>
                    <a:pt x="620" y="39"/>
                  </a:lnTo>
                  <a:lnTo>
                    <a:pt x="618" y="43"/>
                  </a:lnTo>
                  <a:lnTo>
                    <a:pt x="617" y="47"/>
                  </a:lnTo>
                  <a:lnTo>
                    <a:pt x="617" y="53"/>
                  </a:lnTo>
                  <a:lnTo>
                    <a:pt x="617" y="57"/>
                  </a:lnTo>
                  <a:lnTo>
                    <a:pt x="618" y="61"/>
                  </a:lnTo>
                  <a:lnTo>
                    <a:pt x="620" y="68"/>
                  </a:lnTo>
                  <a:lnTo>
                    <a:pt x="623" y="75"/>
                  </a:lnTo>
                  <a:lnTo>
                    <a:pt x="628" y="82"/>
                  </a:lnTo>
                  <a:lnTo>
                    <a:pt x="633" y="88"/>
                  </a:lnTo>
                  <a:lnTo>
                    <a:pt x="639" y="93"/>
                  </a:lnTo>
                  <a:lnTo>
                    <a:pt x="651" y="105"/>
                  </a:lnTo>
                  <a:lnTo>
                    <a:pt x="657" y="111"/>
                  </a:lnTo>
                  <a:lnTo>
                    <a:pt x="664" y="117"/>
                  </a:lnTo>
                  <a:lnTo>
                    <a:pt x="669" y="124"/>
                  </a:lnTo>
                  <a:lnTo>
                    <a:pt x="674" y="132"/>
                  </a:lnTo>
                  <a:lnTo>
                    <a:pt x="679" y="140"/>
                  </a:lnTo>
                  <a:lnTo>
                    <a:pt x="681" y="144"/>
                  </a:lnTo>
                  <a:lnTo>
                    <a:pt x="682" y="149"/>
                  </a:lnTo>
                  <a:lnTo>
                    <a:pt x="683" y="154"/>
                  </a:lnTo>
                  <a:lnTo>
                    <a:pt x="684" y="159"/>
                  </a:lnTo>
                  <a:lnTo>
                    <a:pt x="685" y="164"/>
                  </a:lnTo>
                  <a:lnTo>
                    <a:pt x="685" y="170"/>
                  </a:lnTo>
                  <a:lnTo>
                    <a:pt x="685" y="177"/>
                  </a:lnTo>
                  <a:lnTo>
                    <a:pt x="684" y="183"/>
                  </a:lnTo>
                  <a:lnTo>
                    <a:pt x="683" y="188"/>
                  </a:lnTo>
                  <a:lnTo>
                    <a:pt x="682" y="194"/>
                  </a:lnTo>
                  <a:lnTo>
                    <a:pt x="680" y="199"/>
                  </a:lnTo>
                  <a:lnTo>
                    <a:pt x="678" y="203"/>
                  </a:lnTo>
                  <a:lnTo>
                    <a:pt x="675" y="208"/>
                  </a:lnTo>
                  <a:lnTo>
                    <a:pt x="672" y="211"/>
                  </a:lnTo>
                  <a:lnTo>
                    <a:pt x="668" y="215"/>
                  </a:lnTo>
                  <a:lnTo>
                    <a:pt x="665" y="218"/>
                  </a:lnTo>
                  <a:lnTo>
                    <a:pt x="660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5" y="225"/>
                  </a:lnTo>
                  <a:lnTo>
                    <a:pt x="639" y="226"/>
                  </a:lnTo>
                  <a:lnTo>
                    <a:pt x="633" y="226"/>
                  </a:lnTo>
                  <a:lnTo>
                    <a:pt x="627" y="226"/>
                  </a:lnTo>
                  <a:lnTo>
                    <a:pt x="621" y="225"/>
                  </a:lnTo>
                  <a:lnTo>
                    <a:pt x="616" y="224"/>
                  </a:lnTo>
                  <a:lnTo>
                    <a:pt x="611" y="222"/>
                  </a:lnTo>
                  <a:lnTo>
                    <a:pt x="606" y="220"/>
                  </a:lnTo>
                  <a:lnTo>
                    <a:pt x="602" y="218"/>
                  </a:lnTo>
                  <a:lnTo>
                    <a:pt x="598" y="215"/>
                  </a:lnTo>
                  <a:lnTo>
                    <a:pt x="594" y="211"/>
                  </a:lnTo>
                  <a:lnTo>
                    <a:pt x="591" y="208"/>
                  </a:lnTo>
                  <a:lnTo>
                    <a:pt x="589" y="203"/>
                  </a:lnTo>
                  <a:lnTo>
                    <a:pt x="587" y="199"/>
                  </a:lnTo>
                  <a:lnTo>
                    <a:pt x="585" y="194"/>
                  </a:lnTo>
                  <a:lnTo>
                    <a:pt x="583" y="188"/>
                  </a:lnTo>
                  <a:lnTo>
                    <a:pt x="582" y="183"/>
                  </a:lnTo>
                  <a:lnTo>
                    <a:pt x="582" y="177"/>
                  </a:lnTo>
                  <a:lnTo>
                    <a:pt x="581" y="170"/>
                  </a:lnTo>
                  <a:lnTo>
                    <a:pt x="581" y="157"/>
                  </a:lnTo>
                  <a:lnTo>
                    <a:pt x="614" y="157"/>
                  </a:lnTo>
                  <a:lnTo>
                    <a:pt x="614" y="172"/>
                  </a:lnTo>
                  <a:lnTo>
                    <a:pt x="615" y="178"/>
                  </a:lnTo>
                  <a:lnTo>
                    <a:pt x="616" y="182"/>
                  </a:lnTo>
                  <a:lnTo>
                    <a:pt x="617" y="186"/>
                  </a:lnTo>
                  <a:lnTo>
                    <a:pt x="619" y="189"/>
                  </a:lnTo>
                  <a:lnTo>
                    <a:pt x="622" y="191"/>
                  </a:lnTo>
                  <a:lnTo>
                    <a:pt x="625" y="193"/>
                  </a:lnTo>
                  <a:lnTo>
                    <a:pt x="628" y="194"/>
                  </a:lnTo>
                  <a:lnTo>
                    <a:pt x="632" y="194"/>
                  </a:lnTo>
                  <a:lnTo>
                    <a:pt x="636" y="194"/>
                  </a:lnTo>
                  <a:lnTo>
                    <a:pt x="640" y="193"/>
                  </a:lnTo>
                  <a:lnTo>
                    <a:pt x="643" y="191"/>
                  </a:lnTo>
                  <a:lnTo>
                    <a:pt x="644" y="190"/>
                  </a:lnTo>
                  <a:lnTo>
                    <a:pt x="645" y="189"/>
                  </a:lnTo>
                  <a:lnTo>
                    <a:pt x="647" y="186"/>
                  </a:lnTo>
                  <a:lnTo>
                    <a:pt x="649" y="182"/>
                  </a:lnTo>
                  <a:lnTo>
                    <a:pt x="650" y="178"/>
                  </a:lnTo>
                  <a:lnTo>
                    <a:pt x="650" y="172"/>
                  </a:lnTo>
                  <a:lnTo>
                    <a:pt x="650" y="168"/>
                  </a:lnTo>
                  <a:lnTo>
                    <a:pt x="649" y="164"/>
                  </a:lnTo>
                  <a:lnTo>
                    <a:pt x="647" y="157"/>
                  </a:lnTo>
                  <a:lnTo>
                    <a:pt x="644" y="150"/>
                  </a:lnTo>
                  <a:lnTo>
                    <a:pt x="640" y="144"/>
                  </a:lnTo>
                  <a:lnTo>
                    <a:pt x="635" y="138"/>
                  </a:lnTo>
                  <a:lnTo>
                    <a:pt x="629" y="132"/>
                  </a:lnTo>
                  <a:lnTo>
                    <a:pt x="616" y="120"/>
                  </a:lnTo>
                  <a:lnTo>
                    <a:pt x="610" y="114"/>
                  </a:lnTo>
                  <a:lnTo>
                    <a:pt x="604" y="108"/>
                  </a:lnTo>
                  <a:lnTo>
                    <a:pt x="598" y="101"/>
                  </a:lnTo>
                  <a:lnTo>
                    <a:pt x="593" y="94"/>
                  </a:lnTo>
                  <a:lnTo>
                    <a:pt x="589" y="86"/>
                  </a:lnTo>
                  <a:lnTo>
                    <a:pt x="587" y="81"/>
                  </a:lnTo>
                  <a:lnTo>
                    <a:pt x="585" y="76"/>
                  </a:lnTo>
                  <a:lnTo>
                    <a:pt x="584" y="72"/>
                  </a:lnTo>
                  <a:lnTo>
                    <a:pt x="583" y="66"/>
                  </a:lnTo>
                  <a:lnTo>
                    <a:pt x="583" y="61"/>
                  </a:lnTo>
                  <a:lnTo>
                    <a:pt x="582" y="55"/>
                  </a:lnTo>
                  <a:lnTo>
                    <a:pt x="583" y="49"/>
                  </a:lnTo>
                  <a:lnTo>
                    <a:pt x="583" y="43"/>
                  </a:lnTo>
                  <a:lnTo>
                    <a:pt x="584" y="37"/>
                  </a:lnTo>
                  <a:lnTo>
                    <a:pt x="586" y="32"/>
                  </a:lnTo>
                  <a:lnTo>
                    <a:pt x="587" y="27"/>
                  </a:lnTo>
                  <a:lnTo>
                    <a:pt x="590" y="22"/>
                  </a:lnTo>
                  <a:lnTo>
                    <a:pt x="592" y="18"/>
                  </a:lnTo>
                  <a:lnTo>
                    <a:pt x="595" y="14"/>
                  </a:lnTo>
                  <a:lnTo>
                    <a:pt x="599" y="11"/>
                  </a:lnTo>
                  <a:lnTo>
                    <a:pt x="602" y="8"/>
                  </a:lnTo>
                  <a:lnTo>
                    <a:pt x="607" y="5"/>
                  </a:lnTo>
                  <a:lnTo>
                    <a:pt x="611" y="3"/>
                  </a:lnTo>
                  <a:lnTo>
                    <a:pt x="616" y="2"/>
                  </a:lnTo>
                  <a:lnTo>
                    <a:pt x="622" y="0"/>
                  </a:lnTo>
                  <a:lnTo>
                    <a:pt x="627" y="0"/>
                  </a:lnTo>
                  <a:lnTo>
                    <a:pt x="634" y="0"/>
                  </a:lnTo>
                  <a:close/>
                  <a:moveTo>
                    <a:pt x="748" y="95"/>
                  </a:moveTo>
                  <a:lnTo>
                    <a:pt x="795" y="95"/>
                  </a:lnTo>
                  <a:lnTo>
                    <a:pt x="795" y="127"/>
                  </a:lnTo>
                  <a:lnTo>
                    <a:pt x="748" y="127"/>
                  </a:lnTo>
                  <a:lnTo>
                    <a:pt x="748" y="192"/>
                  </a:lnTo>
                  <a:lnTo>
                    <a:pt x="808" y="192"/>
                  </a:lnTo>
                  <a:lnTo>
                    <a:pt x="808" y="223"/>
                  </a:lnTo>
                  <a:lnTo>
                    <a:pt x="713" y="223"/>
                  </a:lnTo>
                  <a:lnTo>
                    <a:pt x="713" y="2"/>
                  </a:lnTo>
                  <a:lnTo>
                    <a:pt x="808" y="2"/>
                  </a:lnTo>
                  <a:lnTo>
                    <a:pt x="808" y="34"/>
                  </a:lnTo>
                  <a:lnTo>
                    <a:pt x="748" y="34"/>
                  </a:lnTo>
                  <a:lnTo>
                    <a:pt x="748" y="95"/>
                  </a:lnTo>
                  <a:close/>
                  <a:moveTo>
                    <a:pt x="911" y="159"/>
                  </a:moveTo>
                  <a:lnTo>
                    <a:pt x="934" y="2"/>
                  </a:lnTo>
                  <a:lnTo>
                    <a:pt x="983" y="2"/>
                  </a:lnTo>
                  <a:lnTo>
                    <a:pt x="983" y="223"/>
                  </a:lnTo>
                  <a:lnTo>
                    <a:pt x="950" y="223"/>
                  </a:lnTo>
                  <a:lnTo>
                    <a:pt x="950" y="65"/>
                  </a:lnTo>
                  <a:lnTo>
                    <a:pt x="926" y="223"/>
                  </a:lnTo>
                  <a:lnTo>
                    <a:pt x="893" y="223"/>
                  </a:lnTo>
                  <a:lnTo>
                    <a:pt x="867" y="67"/>
                  </a:lnTo>
                  <a:lnTo>
                    <a:pt x="867" y="223"/>
                  </a:lnTo>
                  <a:lnTo>
                    <a:pt x="837" y="223"/>
                  </a:lnTo>
                  <a:lnTo>
                    <a:pt x="837" y="2"/>
                  </a:lnTo>
                  <a:lnTo>
                    <a:pt x="885" y="2"/>
                  </a:lnTo>
                  <a:lnTo>
                    <a:pt x="911" y="159"/>
                  </a:lnTo>
                  <a:close/>
                  <a:moveTo>
                    <a:pt x="1017" y="2"/>
                  </a:moveTo>
                  <a:lnTo>
                    <a:pt x="1051" y="2"/>
                  </a:lnTo>
                  <a:lnTo>
                    <a:pt x="1051" y="223"/>
                  </a:lnTo>
                  <a:lnTo>
                    <a:pt x="1017" y="223"/>
                  </a:lnTo>
                  <a:lnTo>
                    <a:pt x="1017" y="2"/>
                  </a:lnTo>
                  <a:close/>
                  <a:moveTo>
                    <a:pt x="1131" y="0"/>
                  </a:moveTo>
                  <a:lnTo>
                    <a:pt x="1138" y="0"/>
                  </a:lnTo>
                  <a:lnTo>
                    <a:pt x="1143" y="0"/>
                  </a:lnTo>
                  <a:lnTo>
                    <a:pt x="1149" y="2"/>
                  </a:lnTo>
                  <a:lnTo>
                    <a:pt x="1154" y="3"/>
                  </a:lnTo>
                  <a:lnTo>
                    <a:pt x="1158" y="5"/>
                  </a:lnTo>
                  <a:lnTo>
                    <a:pt x="1162" y="8"/>
                  </a:lnTo>
                  <a:lnTo>
                    <a:pt x="1166" y="11"/>
                  </a:lnTo>
                  <a:lnTo>
                    <a:pt x="1170" y="14"/>
                  </a:lnTo>
                  <a:lnTo>
                    <a:pt x="1173" y="18"/>
                  </a:lnTo>
                  <a:lnTo>
                    <a:pt x="1175" y="22"/>
                  </a:lnTo>
                  <a:lnTo>
                    <a:pt x="1178" y="27"/>
                  </a:lnTo>
                  <a:lnTo>
                    <a:pt x="1179" y="32"/>
                  </a:lnTo>
                  <a:lnTo>
                    <a:pt x="1181" y="37"/>
                  </a:lnTo>
                  <a:lnTo>
                    <a:pt x="1182" y="43"/>
                  </a:lnTo>
                  <a:lnTo>
                    <a:pt x="1182" y="49"/>
                  </a:lnTo>
                  <a:lnTo>
                    <a:pt x="1183" y="55"/>
                  </a:lnTo>
                  <a:lnTo>
                    <a:pt x="1183" y="62"/>
                  </a:lnTo>
                  <a:lnTo>
                    <a:pt x="1150" y="62"/>
                  </a:lnTo>
                  <a:lnTo>
                    <a:pt x="1150" y="53"/>
                  </a:lnTo>
                  <a:lnTo>
                    <a:pt x="1149" y="47"/>
                  </a:lnTo>
                  <a:lnTo>
                    <a:pt x="1149" y="43"/>
                  </a:lnTo>
                  <a:lnTo>
                    <a:pt x="1148" y="41"/>
                  </a:lnTo>
                  <a:lnTo>
                    <a:pt x="1147" y="39"/>
                  </a:lnTo>
                  <a:lnTo>
                    <a:pt x="1145" y="36"/>
                  </a:lnTo>
                  <a:lnTo>
                    <a:pt x="1143" y="34"/>
                  </a:lnTo>
                  <a:lnTo>
                    <a:pt x="1140" y="32"/>
                  </a:lnTo>
                  <a:lnTo>
                    <a:pt x="1136" y="31"/>
                  </a:lnTo>
                  <a:lnTo>
                    <a:pt x="1132" y="31"/>
                  </a:lnTo>
                  <a:lnTo>
                    <a:pt x="1128" y="31"/>
                  </a:lnTo>
                  <a:lnTo>
                    <a:pt x="1125" y="32"/>
                  </a:lnTo>
                  <a:lnTo>
                    <a:pt x="1122" y="34"/>
                  </a:lnTo>
                  <a:lnTo>
                    <a:pt x="1120" y="36"/>
                  </a:lnTo>
                  <a:lnTo>
                    <a:pt x="1118" y="39"/>
                  </a:lnTo>
                  <a:lnTo>
                    <a:pt x="1116" y="43"/>
                  </a:lnTo>
                  <a:lnTo>
                    <a:pt x="1115" y="47"/>
                  </a:lnTo>
                  <a:lnTo>
                    <a:pt x="1115" y="53"/>
                  </a:lnTo>
                  <a:lnTo>
                    <a:pt x="1115" y="57"/>
                  </a:lnTo>
                  <a:lnTo>
                    <a:pt x="1116" y="61"/>
                  </a:lnTo>
                  <a:lnTo>
                    <a:pt x="1118" y="68"/>
                  </a:lnTo>
                  <a:lnTo>
                    <a:pt x="1121" y="75"/>
                  </a:lnTo>
                  <a:lnTo>
                    <a:pt x="1126" y="82"/>
                  </a:lnTo>
                  <a:lnTo>
                    <a:pt x="1131" y="88"/>
                  </a:lnTo>
                  <a:lnTo>
                    <a:pt x="1136" y="93"/>
                  </a:lnTo>
                  <a:lnTo>
                    <a:pt x="1149" y="105"/>
                  </a:lnTo>
                  <a:lnTo>
                    <a:pt x="1155" y="111"/>
                  </a:lnTo>
                  <a:lnTo>
                    <a:pt x="1161" y="117"/>
                  </a:lnTo>
                  <a:lnTo>
                    <a:pt x="1167" y="124"/>
                  </a:lnTo>
                  <a:lnTo>
                    <a:pt x="1172" y="132"/>
                  </a:lnTo>
                  <a:lnTo>
                    <a:pt x="1177" y="140"/>
                  </a:lnTo>
                  <a:lnTo>
                    <a:pt x="1178" y="144"/>
                  </a:lnTo>
                  <a:lnTo>
                    <a:pt x="1180" y="149"/>
                  </a:lnTo>
                  <a:lnTo>
                    <a:pt x="1181" y="154"/>
                  </a:lnTo>
                  <a:lnTo>
                    <a:pt x="1182" y="159"/>
                  </a:lnTo>
                  <a:lnTo>
                    <a:pt x="1183" y="164"/>
                  </a:lnTo>
                  <a:lnTo>
                    <a:pt x="1183" y="170"/>
                  </a:lnTo>
                  <a:lnTo>
                    <a:pt x="1183" y="177"/>
                  </a:lnTo>
                  <a:lnTo>
                    <a:pt x="1182" y="183"/>
                  </a:lnTo>
                  <a:lnTo>
                    <a:pt x="1181" y="188"/>
                  </a:lnTo>
                  <a:lnTo>
                    <a:pt x="1180" y="194"/>
                  </a:lnTo>
                  <a:lnTo>
                    <a:pt x="1178" y="199"/>
                  </a:lnTo>
                  <a:lnTo>
                    <a:pt x="1176" y="203"/>
                  </a:lnTo>
                  <a:lnTo>
                    <a:pt x="1173" y="208"/>
                  </a:lnTo>
                  <a:lnTo>
                    <a:pt x="1170" y="211"/>
                  </a:lnTo>
                  <a:lnTo>
                    <a:pt x="1166" y="215"/>
                  </a:lnTo>
                  <a:lnTo>
                    <a:pt x="1162" y="218"/>
                  </a:lnTo>
                  <a:lnTo>
                    <a:pt x="1158" y="220"/>
                  </a:lnTo>
                  <a:lnTo>
                    <a:pt x="1154" y="222"/>
                  </a:lnTo>
                  <a:lnTo>
                    <a:pt x="1149" y="224"/>
                  </a:lnTo>
                  <a:lnTo>
                    <a:pt x="1143" y="225"/>
                  </a:lnTo>
                  <a:lnTo>
                    <a:pt x="1137" y="226"/>
                  </a:lnTo>
                  <a:lnTo>
                    <a:pt x="1131" y="226"/>
                  </a:lnTo>
                  <a:lnTo>
                    <a:pt x="1125" y="226"/>
                  </a:lnTo>
                  <a:lnTo>
                    <a:pt x="1119" y="225"/>
                  </a:lnTo>
                  <a:lnTo>
                    <a:pt x="1114" y="224"/>
                  </a:lnTo>
                  <a:lnTo>
                    <a:pt x="1109" y="222"/>
                  </a:lnTo>
                  <a:lnTo>
                    <a:pt x="1104" y="220"/>
                  </a:lnTo>
                  <a:lnTo>
                    <a:pt x="1100" y="218"/>
                  </a:lnTo>
                  <a:lnTo>
                    <a:pt x="1096" y="215"/>
                  </a:lnTo>
                  <a:lnTo>
                    <a:pt x="1092" y="211"/>
                  </a:lnTo>
                  <a:lnTo>
                    <a:pt x="1089" y="208"/>
                  </a:lnTo>
                  <a:lnTo>
                    <a:pt x="1087" y="203"/>
                  </a:lnTo>
                  <a:lnTo>
                    <a:pt x="1084" y="199"/>
                  </a:lnTo>
                  <a:lnTo>
                    <a:pt x="1083" y="194"/>
                  </a:lnTo>
                  <a:lnTo>
                    <a:pt x="1081" y="188"/>
                  </a:lnTo>
                  <a:lnTo>
                    <a:pt x="1080" y="183"/>
                  </a:lnTo>
                  <a:lnTo>
                    <a:pt x="1079" y="177"/>
                  </a:lnTo>
                  <a:lnTo>
                    <a:pt x="1079" y="170"/>
                  </a:lnTo>
                  <a:lnTo>
                    <a:pt x="1079" y="157"/>
                  </a:lnTo>
                  <a:lnTo>
                    <a:pt x="1112" y="157"/>
                  </a:lnTo>
                  <a:lnTo>
                    <a:pt x="1112" y="172"/>
                  </a:lnTo>
                  <a:lnTo>
                    <a:pt x="1112" y="178"/>
                  </a:lnTo>
                  <a:lnTo>
                    <a:pt x="1113" y="182"/>
                  </a:lnTo>
                  <a:lnTo>
                    <a:pt x="1115" y="186"/>
                  </a:lnTo>
                  <a:lnTo>
                    <a:pt x="1117" y="189"/>
                  </a:lnTo>
                  <a:lnTo>
                    <a:pt x="1120" y="191"/>
                  </a:lnTo>
                  <a:lnTo>
                    <a:pt x="1123" y="193"/>
                  </a:lnTo>
                  <a:lnTo>
                    <a:pt x="1126" y="194"/>
                  </a:lnTo>
                  <a:lnTo>
                    <a:pt x="1130" y="194"/>
                  </a:lnTo>
                  <a:lnTo>
                    <a:pt x="1134" y="194"/>
                  </a:lnTo>
                  <a:lnTo>
                    <a:pt x="1138" y="193"/>
                  </a:lnTo>
                  <a:lnTo>
                    <a:pt x="1141" y="191"/>
                  </a:lnTo>
                  <a:lnTo>
                    <a:pt x="1142" y="190"/>
                  </a:lnTo>
                  <a:lnTo>
                    <a:pt x="1143" y="189"/>
                  </a:lnTo>
                  <a:lnTo>
                    <a:pt x="1145" y="186"/>
                  </a:lnTo>
                  <a:lnTo>
                    <a:pt x="1147" y="182"/>
                  </a:lnTo>
                  <a:lnTo>
                    <a:pt x="1148" y="178"/>
                  </a:lnTo>
                  <a:lnTo>
                    <a:pt x="1148" y="172"/>
                  </a:lnTo>
                  <a:lnTo>
                    <a:pt x="1148" y="168"/>
                  </a:lnTo>
                  <a:lnTo>
                    <a:pt x="1147" y="164"/>
                  </a:lnTo>
                  <a:lnTo>
                    <a:pt x="1145" y="157"/>
                  </a:lnTo>
                  <a:lnTo>
                    <a:pt x="1142" y="150"/>
                  </a:lnTo>
                  <a:lnTo>
                    <a:pt x="1138" y="144"/>
                  </a:lnTo>
                  <a:lnTo>
                    <a:pt x="1132" y="138"/>
                  </a:lnTo>
                  <a:lnTo>
                    <a:pt x="1127" y="132"/>
                  </a:lnTo>
                  <a:lnTo>
                    <a:pt x="1114" y="120"/>
                  </a:lnTo>
                  <a:lnTo>
                    <a:pt x="1108" y="114"/>
                  </a:lnTo>
                  <a:lnTo>
                    <a:pt x="1102" y="108"/>
                  </a:lnTo>
                  <a:lnTo>
                    <a:pt x="1096" y="101"/>
                  </a:lnTo>
                  <a:lnTo>
                    <a:pt x="1091" y="94"/>
                  </a:lnTo>
                  <a:lnTo>
                    <a:pt x="1086" y="86"/>
                  </a:lnTo>
                  <a:lnTo>
                    <a:pt x="1085" y="81"/>
                  </a:lnTo>
                  <a:lnTo>
                    <a:pt x="1083" y="76"/>
                  </a:lnTo>
                  <a:lnTo>
                    <a:pt x="1082" y="72"/>
                  </a:lnTo>
                  <a:lnTo>
                    <a:pt x="1081" y="66"/>
                  </a:lnTo>
                  <a:lnTo>
                    <a:pt x="1080" y="61"/>
                  </a:lnTo>
                  <a:lnTo>
                    <a:pt x="1080" y="55"/>
                  </a:lnTo>
                  <a:lnTo>
                    <a:pt x="1080" y="49"/>
                  </a:lnTo>
                  <a:lnTo>
                    <a:pt x="1081" y="43"/>
                  </a:lnTo>
                  <a:lnTo>
                    <a:pt x="1082" y="37"/>
                  </a:lnTo>
                  <a:lnTo>
                    <a:pt x="1083" y="32"/>
                  </a:lnTo>
                  <a:lnTo>
                    <a:pt x="1085" y="27"/>
                  </a:lnTo>
                  <a:lnTo>
                    <a:pt x="1088" y="22"/>
                  </a:lnTo>
                  <a:lnTo>
                    <a:pt x="1090" y="18"/>
                  </a:lnTo>
                  <a:lnTo>
                    <a:pt x="1093" y="14"/>
                  </a:lnTo>
                  <a:lnTo>
                    <a:pt x="1097" y="11"/>
                  </a:lnTo>
                  <a:lnTo>
                    <a:pt x="1100" y="8"/>
                  </a:lnTo>
                  <a:lnTo>
                    <a:pt x="1105" y="5"/>
                  </a:lnTo>
                  <a:lnTo>
                    <a:pt x="1109" y="3"/>
                  </a:lnTo>
                  <a:lnTo>
                    <a:pt x="1114" y="2"/>
                  </a:lnTo>
                  <a:lnTo>
                    <a:pt x="1120" y="0"/>
                  </a:lnTo>
                  <a:lnTo>
                    <a:pt x="1125" y="0"/>
                  </a:lnTo>
                  <a:lnTo>
                    <a:pt x="1131" y="0"/>
                  </a:lnTo>
                  <a:close/>
                  <a:moveTo>
                    <a:pt x="1256" y="135"/>
                  </a:moveTo>
                  <a:lnTo>
                    <a:pt x="1245" y="155"/>
                  </a:lnTo>
                  <a:lnTo>
                    <a:pt x="1245" y="223"/>
                  </a:lnTo>
                  <a:lnTo>
                    <a:pt x="1211" y="223"/>
                  </a:lnTo>
                  <a:lnTo>
                    <a:pt x="1211" y="2"/>
                  </a:lnTo>
                  <a:lnTo>
                    <a:pt x="1245" y="2"/>
                  </a:lnTo>
                  <a:lnTo>
                    <a:pt x="1245" y="98"/>
                  </a:lnTo>
                  <a:lnTo>
                    <a:pt x="1291" y="2"/>
                  </a:lnTo>
                  <a:lnTo>
                    <a:pt x="1326" y="2"/>
                  </a:lnTo>
                  <a:lnTo>
                    <a:pt x="1277" y="101"/>
                  </a:lnTo>
                  <a:lnTo>
                    <a:pt x="1326" y="223"/>
                  </a:lnTo>
                  <a:lnTo>
                    <a:pt x="1290" y="223"/>
                  </a:lnTo>
                  <a:lnTo>
                    <a:pt x="1256" y="135"/>
                  </a:lnTo>
                  <a:close/>
                  <a:moveTo>
                    <a:pt x="1462" y="223"/>
                  </a:moveTo>
                  <a:lnTo>
                    <a:pt x="1427" y="223"/>
                  </a:lnTo>
                  <a:lnTo>
                    <a:pt x="1421" y="183"/>
                  </a:lnTo>
                  <a:lnTo>
                    <a:pt x="1378" y="183"/>
                  </a:lnTo>
                  <a:lnTo>
                    <a:pt x="1372" y="223"/>
                  </a:lnTo>
                  <a:lnTo>
                    <a:pt x="1340" y="223"/>
                  </a:lnTo>
                  <a:lnTo>
                    <a:pt x="1376" y="2"/>
                  </a:lnTo>
                  <a:lnTo>
                    <a:pt x="1426" y="2"/>
                  </a:lnTo>
                  <a:lnTo>
                    <a:pt x="1462" y="223"/>
                  </a:lnTo>
                  <a:close/>
                  <a:moveTo>
                    <a:pt x="1383" y="153"/>
                  </a:moveTo>
                  <a:lnTo>
                    <a:pt x="1416" y="153"/>
                  </a:lnTo>
                  <a:lnTo>
                    <a:pt x="1399" y="41"/>
                  </a:lnTo>
                  <a:lnTo>
                    <a:pt x="1383" y="153"/>
                  </a:lnTo>
                  <a:close/>
                  <a:moveTo>
                    <a:pt x="1519" y="2"/>
                  </a:moveTo>
                  <a:lnTo>
                    <a:pt x="1519" y="173"/>
                  </a:lnTo>
                  <a:lnTo>
                    <a:pt x="1519" y="178"/>
                  </a:lnTo>
                  <a:lnTo>
                    <a:pt x="1520" y="183"/>
                  </a:lnTo>
                  <a:lnTo>
                    <a:pt x="1522" y="186"/>
                  </a:lnTo>
                  <a:lnTo>
                    <a:pt x="1524" y="189"/>
                  </a:lnTo>
                  <a:lnTo>
                    <a:pt x="1526" y="192"/>
                  </a:lnTo>
                  <a:lnTo>
                    <a:pt x="1530" y="193"/>
                  </a:lnTo>
                  <a:lnTo>
                    <a:pt x="1533" y="194"/>
                  </a:lnTo>
                  <a:lnTo>
                    <a:pt x="1537" y="194"/>
                  </a:lnTo>
                  <a:lnTo>
                    <a:pt x="1541" y="194"/>
                  </a:lnTo>
                  <a:lnTo>
                    <a:pt x="1545" y="193"/>
                  </a:lnTo>
                  <a:lnTo>
                    <a:pt x="1548" y="192"/>
                  </a:lnTo>
                  <a:lnTo>
                    <a:pt x="1549" y="191"/>
                  </a:lnTo>
                  <a:lnTo>
                    <a:pt x="1550" y="189"/>
                  </a:lnTo>
                  <a:lnTo>
                    <a:pt x="1552" y="186"/>
                  </a:lnTo>
                  <a:lnTo>
                    <a:pt x="1554" y="183"/>
                  </a:lnTo>
                  <a:lnTo>
                    <a:pt x="1555" y="178"/>
                  </a:lnTo>
                  <a:lnTo>
                    <a:pt x="1555" y="173"/>
                  </a:lnTo>
                  <a:lnTo>
                    <a:pt x="1555" y="2"/>
                  </a:lnTo>
                  <a:lnTo>
                    <a:pt x="1588" y="2"/>
                  </a:lnTo>
                  <a:lnTo>
                    <a:pt x="1588" y="171"/>
                  </a:lnTo>
                  <a:lnTo>
                    <a:pt x="1588" y="177"/>
                  </a:lnTo>
                  <a:lnTo>
                    <a:pt x="1587" y="183"/>
                  </a:lnTo>
                  <a:lnTo>
                    <a:pt x="1586" y="189"/>
                  </a:lnTo>
                  <a:lnTo>
                    <a:pt x="1585" y="194"/>
                  </a:lnTo>
                  <a:lnTo>
                    <a:pt x="1583" y="199"/>
                  </a:lnTo>
                  <a:lnTo>
                    <a:pt x="1581" y="204"/>
                  </a:lnTo>
                  <a:lnTo>
                    <a:pt x="1578" y="208"/>
                  </a:lnTo>
                  <a:lnTo>
                    <a:pt x="1575" y="212"/>
                  </a:lnTo>
                  <a:lnTo>
                    <a:pt x="1571" y="215"/>
                  </a:lnTo>
                  <a:lnTo>
                    <a:pt x="1567" y="218"/>
                  </a:lnTo>
                  <a:lnTo>
                    <a:pt x="1563" y="220"/>
                  </a:lnTo>
                  <a:lnTo>
                    <a:pt x="1559" y="222"/>
                  </a:lnTo>
                  <a:lnTo>
                    <a:pt x="1554" y="224"/>
                  </a:lnTo>
                  <a:lnTo>
                    <a:pt x="1548" y="225"/>
                  </a:lnTo>
                  <a:lnTo>
                    <a:pt x="1542" y="226"/>
                  </a:lnTo>
                  <a:lnTo>
                    <a:pt x="1536" y="226"/>
                  </a:lnTo>
                  <a:lnTo>
                    <a:pt x="1530" y="226"/>
                  </a:lnTo>
                  <a:lnTo>
                    <a:pt x="1524" y="225"/>
                  </a:lnTo>
                  <a:lnTo>
                    <a:pt x="1519" y="224"/>
                  </a:lnTo>
                  <a:lnTo>
                    <a:pt x="1514" y="222"/>
                  </a:lnTo>
                  <a:lnTo>
                    <a:pt x="1509" y="220"/>
                  </a:lnTo>
                  <a:lnTo>
                    <a:pt x="1505" y="218"/>
                  </a:lnTo>
                  <a:lnTo>
                    <a:pt x="1501" y="215"/>
                  </a:lnTo>
                  <a:lnTo>
                    <a:pt x="1497" y="212"/>
                  </a:lnTo>
                  <a:lnTo>
                    <a:pt x="1494" y="208"/>
                  </a:lnTo>
                  <a:lnTo>
                    <a:pt x="1492" y="204"/>
                  </a:lnTo>
                  <a:lnTo>
                    <a:pt x="1489" y="199"/>
                  </a:lnTo>
                  <a:lnTo>
                    <a:pt x="1488" y="194"/>
                  </a:lnTo>
                  <a:lnTo>
                    <a:pt x="1486" y="189"/>
                  </a:lnTo>
                  <a:lnTo>
                    <a:pt x="1485" y="183"/>
                  </a:lnTo>
                  <a:lnTo>
                    <a:pt x="1484" y="177"/>
                  </a:lnTo>
                  <a:lnTo>
                    <a:pt x="1484" y="171"/>
                  </a:lnTo>
                  <a:lnTo>
                    <a:pt x="1484" y="2"/>
                  </a:lnTo>
                  <a:lnTo>
                    <a:pt x="1519" y="2"/>
                  </a:lnTo>
                  <a:close/>
                  <a:moveTo>
                    <a:pt x="1722" y="57"/>
                  </a:moveTo>
                  <a:lnTo>
                    <a:pt x="1722" y="85"/>
                  </a:lnTo>
                  <a:lnTo>
                    <a:pt x="1722" y="92"/>
                  </a:lnTo>
                  <a:lnTo>
                    <a:pt x="1722" y="98"/>
                  </a:lnTo>
                  <a:lnTo>
                    <a:pt x="1721" y="104"/>
                  </a:lnTo>
                  <a:lnTo>
                    <a:pt x="1719" y="109"/>
                  </a:lnTo>
                  <a:lnTo>
                    <a:pt x="1717" y="114"/>
                  </a:lnTo>
                  <a:lnTo>
                    <a:pt x="1715" y="118"/>
                  </a:lnTo>
                  <a:lnTo>
                    <a:pt x="1713" y="122"/>
                  </a:lnTo>
                  <a:lnTo>
                    <a:pt x="1710" y="126"/>
                  </a:lnTo>
                  <a:lnTo>
                    <a:pt x="1706" y="129"/>
                  </a:lnTo>
                  <a:lnTo>
                    <a:pt x="1702" y="132"/>
                  </a:lnTo>
                  <a:lnTo>
                    <a:pt x="1698" y="135"/>
                  </a:lnTo>
                  <a:lnTo>
                    <a:pt x="1693" y="137"/>
                  </a:lnTo>
                  <a:lnTo>
                    <a:pt x="1688" y="138"/>
                  </a:lnTo>
                  <a:lnTo>
                    <a:pt x="1683" y="139"/>
                  </a:lnTo>
                  <a:lnTo>
                    <a:pt x="1677" y="140"/>
                  </a:lnTo>
                  <a:lnTo>
                    <a:pt x="1671" y="140"/>
                  </a:lnTo>
                  <a:lnTo>
                    <a:pt x="1654" y="140"/>
                  </a:lnTo>
                  <a:lnTo>
                    <a:pt x="1654" y="223"/>
                  </a:lnTo>
                  <a:lnTo>
                    <a:pt x="1619" y="223"/>
                  </a:lnTo>
                  <a:lnTo>
                    <a:pt x="1619" y="2"/>
                  </a:lnTo>
                  <a:lnTo>
                    <a:pt x="1671" y="2"/>
                  </a:lnTo>
                  <a:lnTo>
                    <a:pt x="1677" y="2"/>
                  </a:lnTo>
                  <a:lnTo>
                    <a:pt x="1683" y="3"/>
                  </a:lnTo>
                  <a:lnTo>
                    <a:pt x="1688" y="4"/>
                  </a:lnTo>
                  <a:lnTo>
                    <a:pt x="1693" y="6"/>
                  </a:lnTo>
                  <a:lnTo>
                    <a:pt x="1698" y="8"/>
                  </a:lnTo>
                  <a:lnTo>
                    <a:pt x="1702" y="10"/>
                  </a:lnTo>
                  <a:lnTo>
                    <a:pt x="1706" y="13"/>
                  </a:lnTo>
                  <a:lnTo>
                    <a:pt x="1710" y="16"/>
                  </a:lnTo>
                  <a:lnTo>
                    <a:pt x="1713" y="20"/>
                  </a:lnTo>
                  <a:lnTo>
                    <a:pt x="1715" y="24"/>
                  </a:lnTo>
                  <a:lnTo>
                    <a:pt x="1717" y="28"/>
                  </a:lnTo>
                  <a:lnTo>
                    <a:pt x="1719" y="33"/>
                  </a:lnTo>
                  <a:lnTo>
                    <a:pt x="1722" y="44"/>
                  </a:lnTo>
                  <a:lnTo>
                    <a:pt x="1722" y="50"/>
                  </a:lnTo>
                  <a:lnTo>
                    <a:pt x="1722" y="57"/>
                  </a:lnTo>
                  <a:close/>
                  <a:moveTo>
                    <a:pt x="1654" y="34"/>
                  </a:moveTo>
                  <a:lnTo>
                    <a:pt x="1654" y="109"/>
                  </a:lnTo>
                  <a:lnTo>
                    <a:pt x="1671" y="109"/>
                  </a:lnTo>
                  <a:lnTo>
                    <a:pt x="1675" y="108"/>
                  </a:lnTo>
                  <a:lnTo>
                    <a:pt x="1678" y="108"/>
                  </a:lnTo>
                  <a:lnTo>
                    <a:pt x="1681" y="106"/>
                  </a:lnTo>
                  <a:lnTo>
                    <a:pt x="1683" y="104"/>
                  </a:lnTo>
                  <a:lnTo>
                    <a:pt x="1685" y="101"/>
                  </a:lnTo>
                  <a:lnTo>
                    <a:pt x="1687" y="98"/>
                  </a:lnTo>
                  <a:lnTo>
                    <a:pt x="1687" y="95"/>
                  </a:lnTo>
                  <a:lnTo>
                    <a:pt x="1687" y="93"/>
                  </a:lnTo>
                  <a:lnTo>
                    <a:pt x="1688" y="88"/>
                  </a:lnTo>
                  <a:lnTo>
                    <a:pt x="1688" y="55"/>
                  </a:lnTo>
                  <a:lnTo>
                    <a:pt x="1687" y="49"/>
                  </a:lnTo>
                  <a:lnTo>
                    <a:pt x="1687" y="45"/>
                  </a:lnTo>
                  <a:lnTo>
                    <a:pt x="1685" y="41"/>
                  </a:lnTo>
                  <a:lnTo>
                    <a:pt x="1683" y="38"/>
                  </a:lnTo>
                  <a:lnTo>
                    <a:pt x="1681" y="36"/>
                  </a:lnTo>
                  <a:lnTo>
                    <a:pt x="1678" y="35"/>
                  </a:lnTo>
                  <a:lnTo>
                    <a:pt x="1675" y="34"/>
                  </a:lnTo>
                  <a:lnTo>
                    <a:pt x="1671" y="34"/>
                  </a:lnTo>
                  <a:lnTo>
                    <a:pt x="1654" y="34"/>
                  </a:lnTo>
                  <a:close/>
                  <a:moveTo>
                    <a:pt x="1851" y="57"/>
                  </a:moveTo>
                  <a:lnTo>
                    <a:pt x="1851" y="85"/>
                  </a:lnTo>
                  <a:lnTo>
                    <a:pt x="1851" y="92"/>
                  </a:lnTo>
                  <a:lnTo>
                    <a:pt x="1850" y="98"/>
                  </a:lnTo>
                  <a:lnTo>
                    <a:pt x="1849" y="104"/>
                  </a:lnTo>
                  <a:lnTo>
                    <a:pt x="1848" y="109"/>
                  </a:lnTo>
                  <a:lnTo>
                    <a:pt x="1846" y="114"/>
                  </a:lnTo>
                  <a:lnTo>
                    <a:pt x="1844" y="118"/>
                  </a:lnTo>
                  <a:lnTo>
                    <a:pt x="1841" y="122"/>
                  </a:lnTo>
                  <a:lnTo>
                    <a:pt x="1838" y="126"/>
                  </a:lnTo>
                  <a:lnTo>
                    <a:pt x="1835" y="129"/>
                  </a:lnTo>
                  <a:lnTo>
                    <a:pt x="1831" y="132"/>
                  </a:lnTo>
                  <a:lnTo>
                    <a:pt x="1827" y="135"/>
                  </a:lnTo>
                  <a:lnTo>
                    <a:pt x="1822" y="137"/>
                  </a:lnTo>
                  <a:lnTo>
                    <a:pt x="1817" y="138"/>
                  </a:lnTo>
                  <a:lnTo>
                    <a:pt x="1811" y="139"/>
                  </a:lnTo>
                  <a:lnTo>
                    <a:pt x="1806" y="140"/>
                  </a:lnTo>
                  <a:lnTo>
                    <a:pt x="1799" y="140"/>
                  </a:lnTo>
                  <a:lnTo>
                    <a:pt x="1783" y="140"/>
                  </a:lnTo>
                  <a:lnTo>
                    <a:pt x="1783" y="223"/>
                  </a:lnTo>
                  <a:lnTo>
                    <a:pt x="1748" y="223"/>
                  </a:lnTo>
                  <a:lnTo>
                    <a:pt x="1748" y="2"/>
                  </a:lnTo>
                  <a:lnTo>
                    <a:pt x="1799" y="2"/>
                  </a:lnTo>
                  <a:lnTo>
                    <a:pt x="1806" y="2"/>
                  </a:lnTo>
                  <a:lnTo>
                    <a:pt x="1811" y="3"/>
                  </a:lnTo>
                  <a:lnTo>
                    <a:pt x="1817" y="4"/>
                  </a:lnTo>
                  <a:lnTo>
                    <a:pt x="1822" y="6"/>
                  </a:lnTo>
                  <a:lnTo>
                    <a:pt x="1827" y="8"/>
                  </a:lnTo>
                  <a:lnTo>
                    <a:pt x="1831" y="10"/>
                  </a:lnTo>
                  <a:lnTo>
                    <a:pt x="1835" y="13"/>
                  </a:lnTo>
                  <a:lnTo>
                    <a:pt x="1838" y="16"/>
                  </a:lnTo>
                  <a:lnTo>
                    <a:pt x="1841" y="20"/>
                  </a:lnTo>
                  <a:lnTo>
                    <a:pt x="1844" y="24"/>
                  </a:lnTo>
                  <a:lnTo>
                    <a:pt x="1846" y="28"/>
                  </a:lnTo>
                  <a:lnTo>
                    <a:pt x="1848" y="33"/>
                  </a:lnTo>
                  <a:lnTo>
                    <a:pt x="1850" y="44"/>
                  </a:lnTo>
                  <a:lnTo>
                    <a:pt x="1851" y="50"/>
                  </a:lnTo>
                  <a:lnTo>
                    <a:pt x="1851" y="57"/>
                  </a:lnTo>
                  <a:close/>
                  <a:moveTo>
                    <a:pt x="1783" y="34"/>
                  </a:moveTo>
                  <a:lnTo>
                    <a:pt x="1783" y="109"/>
                  </a:lnTo>
                  <a:lnTo>
                    <a:pt x="1799" y="109"/>
                  </a:lnTo>
                  <a:lnTo>
                    <a:pt x="1803" y="108"/>
                  </a:lnTo>
                  <a:lnTo>
                    <a:pt x="1807" y="108"/>
                  </a:lnTo>
                  <a:lnTo>
                    <a:pt x="1810" y="106"/>
                  </a:lnTo>
                  <a:lnTo>
                    <a:pt x="1812" y="104"/>
                  </a:lnTo>
                  <a:lnTo>
                    <a:pt x="1814" y="101"/>
                  </a:lnTo>
                  <a:lnTo>
                    <a:pt x="1815" y="98"/>
                  </a:lnTo>
                  <a:lnTo>
                    <a:pt x="1816" y="95"/>
                  </a:lnTo>
                  <a:lnTo>
                    <a:pt x="1816" y="93"/>
                  </a:lnTo>
                  <a:lnTo>
                    <a:pt x="1816" y="88"/>
                  </a:lnTo>
                  <a:lnTo>
                    <a:pt x="1816" y="55"/>
                  </a:lnTo>
                  <a:lnTo>
                    <a:pt x="1816" y="49"/>
                  </a:lnTo>
                  <a:lnTo>
                    <a:pt x="1815" y="45"/>
                  </a:lnTo>
                  <a:lnTo>
                    <a:pt x="1814" y="41"/>
                  </a:lnTo>
                  <a:lnTo>
                    <a:pt x="1812" y="38"/>
                  </a:lnTo>
                  <a:lnTo>
                    <a:pt x="1810" y="36"/>
                  </a:lnTo>
                  <a:lnTo>
                    <a:pt x="1807" y="35"/>
                  </a:lnTo>
                  <a:lnTo>
                    <a:pt x="1803" y="34"/>
                  </a:lnTo>
                  <a:lnTo>
                    <a:pt x="1799" y="34"/>
                  </a:lnTo>
                  <a:lnTo>
                    <a:pt x="1783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0696034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238D5F-EED3-431D-A5ED-F495081B3B43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5931940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A97E38-6A98-4458-B2AB-0310B0FB4A4A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9038024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756B5-8E12-42CF-A6BD-1F3B91B0F1E1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769570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954A000-0930-4E63-BF32-37F105FF8B6B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5425033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77B3604-A02E-4A97-A33A-574DCAA3C8BD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6"/>
            <p:cNvSpPr>
              <a:spLocks noChangeAspect="1" noEditPoints="1"/>
            </p:cNvSpPr>
            <p:nvPr userDrawn="1"/>
          </p:nvSpPr>
          <p:spPr bwMode="auto">
            <a:xfrm>
              <a:off x="8908139" y="6472998"/>
              <a:ext cx="1865548" cy="212400"/>
            </a:xfrm>
            <a:custGeom>
              <a:avLst/>
              <a:gdLst>
                <a:gd name="T0" fmla="*/ 1899 w 1985"/>
                <a:gd name="T1" fmla="*/ 2 h 226"/>
                <a:gd name="T2" fmla="*/ 67 w 1985"/>
                <a:gd name="T3" fmla="*/ 143 h 226"/>
                <a:gd name="T4" fmla="*/ 59 w 1985"/>
                <a:gd name="T5" fmla="*/ 2 h 226"/>
                <a:gd name="T6" fmla="*/ 99 w 1985"/>
                <a:gd name="T7" fmla="*/ 26 h 226"/>
                <a:gd name="T8" fmla="*/ 95 w 1985"/>
                <a:gd name="T9" fmla="*/ 104 h 226"/>
                <a:gd name="T10" fmla="*/ 99 w 1985"/>
                <a:gd name="T11" fmla="*/ 133 h 226"/>
                <a:gd name="T12" fmla="*/ 106 w 1985"/>
                <a:gd name="T13" fmla="*/ 217 h 226"/>
                <a:gd name="T14" fmla="*/ 68 w 1985"/>
                <a:gd name="T15" fmla="*/ 89 h 226"/>
                <a:gd name="T16" fmla="*/ 52 w 1985"/>
                <a:gd name="T17" fmla="*/ 34 h 226"/>
                <a:gd name="T18" fmla="*/ 168 w 1985"/>
                <a:gd name="T19" fmla="*/ 153 h 226"/>
                <a:gd name="T20" fmla="*/ 316 w 1985"/>
                <a:gd name="T21" fmla="*/ 183 h 226"/>
                <a:gd name="T22" fmla="*/ 493 w 1985"/>
                <a:gd name="T23" fmla="*/ 223 h 226"/>
                <a:gd name="T24" fmla="*/ 668 w 1985"/>
                <a:gd name="T25" fmla="*/ 11 h 226"/>
                <a:gd name="T26" fmla="*/ 652 w 1985"/>
                <a:gd name="T27" fmla="*/ 62 h 226"/>
                <a:gd name="T28" fmla="*/ 631 w 1985"/>
                <a:gd name="T29" fmla="*/ 31 h 226"/>
                <a:gd name="T30" fmla="*/ 623 w 1985"/>
                <a:gd name="T31" fmla="*/ 75 h 226"/>
                <a:gd name="T32" fmla="*/ 682 w 1985"/>
                <a:gd name="T33" fmla="*/ 149 h 226"/>
                <a:gd name="T34" fmla="*/ 675 w 1985"/>
                <a:gd name="T35" fmla="*/ 208 h 226"/>
                <a:gd name="T36" fmla="*/ 621 w 1985"/>
                <a:gd name="T37" fmla="*/ 225 h 226"/>
                <a:gd name="T38" fmla="*/ 583 w 1985"/>
                <a:gd name="T39" fmla="*/ 188 h 226"/>
                <a:gd name="T40" fmla="*/ 622 w 1985"/>
                <a:gd name="T41" fmla="*/ 191 h 226"/>
                <a:gd name="T42" fmla="*/ 650 w 1985"/>
                <a:gd name="T43" fmla="*/ 178 h 226"/>
                <a:gd name="T44" fmla="*/ 604 w 1985"/>
                <a:gd name="T45" fmla="*/ 108 h 226"/>
                <a:gd name="T46" fmla="*/ 583 w 1985"/>
                <a:gd name="T47" fmla="*/ 43 h 226"/>
                <a:gd name="T48" fmla="*/ 616 w 1985"/>
                <a:gd name="T49" fmla="*/ 2 h 226"/>
                <a:gd name="T50" fmla="*/ 713 w 1985"/>
                <a:gd name="T51" fmla="*/ 223 h 226"/>
                <a:gd name="T52" fmla="*/ 950 w 1985"/>
                <a:gd name="T53" fmla="*/ 65 h 226"/>
                <a:gd name="T54" fmla="*/ 1051 w 1985"/>
                <a:gd name="T55" fmla="*/ 223 h 226"/>
                <a:gd name="T56" fmla="*/ 1170 w 1985"/>
                <a:gd name="T57" fmla="*/ 14 h 226"/>
                <a:gd name="T58" fmla="*/ 1150 w 1985"/>
                <a:gd name="T59" fmla="*/ 53 h 226"/>
                <a:gd name="T60" fmla="*/ 1125 w 1985"/>
                <a:gd name="T61" fmla="*/ 32 h 226"/>
                <a:gd name="T62" fmla="*/ 1126 w 1985"/>
                <a:gd name="T63" fmla="*/ 82 h 226"/>
                <a:gd name="T64" fmla="*/ 1181 w 1985"/>
                <a:gd name="T65" fmla="*/ 154 h 226"/>
                <a:gd name="T66" fmla="*/ 1170 w 1985"/>
                <a:gd name="T67" fmla="*/ 211 h 226"/>
                <a:gd name="T68" fmla="*/ 1114 w 1985"/>
                <a:gd name="T69" fmla="*/ 224 h 226"/>
                <a:gd name="T70" fmla="*/ 1080 w 1985"/>
                <a:gd name="T71" fmla="*/ 183 h 226"/>
                <a:gd name="T72" fmla="*/ 1123 w 1985"/>
                <a:gd name="T73" fmla="*/ 193 h 226"/>
                <a:gd name="T74" fmla="*/ 1148 w 1985"/>
                <a:gd name="T75" fmla="*/ 172 h 226"/>
                <a:gd name="T76" fmla="*/ 1096 w 1985"/>
                <a:gd name="T77" fmla="*/ 101 h 226"/>
                <a:gd name="T78" fmla="*/ 1082 w 1985"/>
                <a:gd name="T79" fmla="*/ 37 h 226"/>
                <a:gd name="T80" fmla="*/ 1120 w 1985"/>
                <a:gd name="T81" fmla="*/ 0 h 226"/>
                <a:gd name="T82" fmla="*/ 1326 w 1985"/>
                <a:gd name="T83" fmla="*/ 2 h 226"/>
                <a:gd name="T84" fmla="*/ 1376 w 1985"/>
                <a:gd name="T85" fmla="*/ 2 h 226"/>
                <a:gd name="T86" fmla="*/ 1522 w 1985"/>
                <a:gd name="T87" fmla="*/ 186 h 226"/>
                <a:gd name="T88" fmla="*/ 1552 w 1985"/>
                <a:gd name="T89" fmla="*/ 186 h 226"/>
                <a:gd name="T90" fmla="*/ 1583 w 1985"/>
                <a:gd name="T91" fmla="*/ 199 h 226"/>
                <a:gd name="T92" fmla="*/ 1536 w 1985"/>
                <a:gd name="T93" fmla="*/ 226 h 226"/>
                <a:gd name="T94" fmla="*/ 1489 w 1985"/>
                <a:gd name="T95" fmla="*/ 199 h 226"/>
                <a:gd name="T96" fmla="*/ 1722 w 1985"/>
                <a:gd name="T97" fmla="*/ 98 h 226"/>
                <a:gd name="T98" fmla="*/ 1688 w 1985"/>
                <a:gd name="T99" fmla="*/ 138 h 226"/>
                <a:gd name="T100" fmla="*/ 1688 w 1985"/>
                <a:gd name="T101" fmla="*/ 4 h 226"/>
                <a:gd name="T102" fmla="*/ 1722 w 1985"/>
                <a:gd name="T103" fmla="*/ 50 h 226"/>
                <a:gd name="T104" fmla="*/ 1687 w 1985"/>
                <a:gd name="T105" fmla="*/ 95 h 226"/>
                <a:gd name="T106" fmla="*/ 1671 w 1985"/>
                <a:gd name="T107" fmla="*/ 34 h 226"/>
                <a:gd name="T108" fmla="*/ 1838 w 1985"/>
                <a:gd name="T109" fmla="*/ 126 h 226"/>
                <a:gd name="T110" fmla="*/ 1748 w 1985"/>
                <a:gd name="T111" fmla="*/ 223 h 226"/>
                <a:gd name="T112" fmla="*/ 1841 w 1985"/>
                <a:gd name="T113" fmla="*/ 20 h 226"/>
                <a:gd name="T114" fmla="*/ 1807 w 1985"/>
                <a:gd name="T115" fmla="*/ 108 h 226"/>
                <a:gd name="T116" fmla="*/ 1814 w 1985"/>
                <a:gd name="T117" fmla="*/ 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5" h="226">
                  <a:moveTo>
                    <a:pt x="1906" y="153"/>
                  </a:moveTo>
                  <a:lnTo>
                    <a:pt x="1939" y="153"/>
                  </a:lnTo>
                  <a:lnTo>
                    <a:pt x="1922" y="41"/>
                  </a:lnTo>
                  <a:lnTo>
                    <a:pt x="1906" y="153"/>
                  </a:lnTo>
                  <a:close/>
                  <a:moveTo>
                    <a:pt x="1985" y="223"/>
                  </a:moveTo>
                  <a:lnTo>
                    <a:pt x="1950" y="223"/>
                  </a:lnTo>
                  <a:lnTo>
                    <a:pt x="1944" y="183"/>
                  </a:lnTo>
                  <a:lnTo>
                    <a:pt x="1901" y="183"/>
                  </a:lnTo>
                  <a:lnTo>
                    <a:pt x="1895" y="223"/>
                  </a:lnTo>
                  <a:lnTo>
                    <a:pt x="1863" y="223"/>
                  </a:lnTo>
                  <a:lnTo>
                    <a:pt x="1899" y="2"/>
                  </a:lnTo>
                  <a:lnTo>
                    <a:pt x="1950" y="2"/>
                  </a:lnTo>
                  <a:lnTo>
                    <a:pt x="1985" y="223"/>
                  </a:lnTo>
                  <a:close/>
                  <a:moveTo>
                    <a:pt x="73" y="223"/>
                  </a:moveTo>
                  <a:lnTo>
                    <a:pt x="72" y="219"/>
                  </a:lnTo>
                  <a:lnTo>
                    <a:pt x="71" y="214"/>
                  </a:lnTo>
                  <a:lnTo>
                    <a:pt x="70" y="207"/>
                  </a:lnTo>
                  <a:lnTo>
                    <a:pt x="70" y="196"/>
                  </a:lnTo>
                  <a:lnTo>
                    <a:pt x="70" y="161"/>
                  </a:lnTo>
                  <a:lnTo>
                    <a:pt x="69" y="154"/>
                  </a:lnTo>
                  <a:lnTo>
                    <a:pt x="68" y="148"/>
                  </a:lnTo>
                  <a:lnTo>
                    <a:pt x="67" y="143"/>
                  </a:lnTo>
                  <a:lnTo>
                    <a:pt x="64" y="140"/>
                  </a:lnTo>
                  <a:lnTo>
                    <a:pt x="61" y="137"/>
                  </a:lnTo>
                  <a:lnTo>
                    <a:pt x="57" y="135"/>
                  </a:lnTo>
                  <a:lnTo>
                    <a:pt x="52" y="134"/>
                  </a:lnTo>
                  <a:lnTo>
                    <a:pt x="47" y="133"/>
                  </a:lnTo>
                  <a:lnTo>
                    <a:pt x="35" y="133"/>
                  </a:lnTo>
                  <a:lnTo>
                    <a:pt x="35" y="223"/>
                  </a:lnTo>
                  <a:lnTo>
                    <a:pt x="0" y="223"/>
                  </a:lnTo>
                  <a:lnTo>
                    <a:pt x="0" y="2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65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6" y="5"/>
                  </a:lnTo>
                  <a:lnTo>
                    <a:pt x="80" y="7"/>
                  </a:lnTo>
                  <a:lnTo>
                    <a:pt x="85" y="9"/>
                  </a:lnTo>
                  <a:lnTo>
                    <a:pt x="88" y="12"/>
                  </a:lnTo>
                  <a:lnTo>
                    <a:pt x="92" y="15"/>
                  </a:lnTo>
                  <a:lnTo>
                    <a:pt x="95" y="18"/>
                  </a:lnTo>
                  <a:lnTo>
                    <a:pt x="97" y="22"/>
                  </a:lnTo>
                  <a:lnTo>
                    <a:pt x="99" y="26"/>
                  </a:lnTo>
                  <a:lnTo>
                    <a:pt x="101" y="31"/>
                  </a:lnTo>
                  <a:lnTo>
                    <a:pt x="102" y="36"/>
                  </a:lnTo>
                  <a:lnTo>
                    <a:pt x="103" y="41"/>
                  </a:lnTo>
                  <a:lnTo>
                    <a:pt x="104" y="47"/>
                  </a:lnTo>
                  <a:lnTo>
                    <a:pt x="104" y="53"/>
                  </a:lnTo>
                  <a:lnTo>
                    <a:pt x="104" y="70"/>
                  </a:lnTo>
                  <a:lnTo>
                    <a:pt x="104" y="78"/>
                  </a:lnTo>
                  <a:lnTo>
                    <a:pt x="103" y="86"/>
                  </a:lnTo>
                  <a:lnTo>
                    <a:pt x="101" y="93"/>
                  </a:lnTo>
                  <a:lnTo>
                    <a:pt x="99" y="99"/>
                  </a:lnTo>
                  <a:lnTo>
                    <a:pt x="95" y="104"/>
                  </a:lnTo>
                  <a:lnTo>
                    <a:pt x="93" y="106"/>
                  </a:lnTo>
                  <a:lnTo>
                    <a:pt x="91" y="108"/>
                  </a:lnTo>
                  <a:lnTo>
                    <a:pt x="89" y="110"/>
                  </a:lnTo>
                  <a:lnTo>
                    <a:pt x="87" y="112"/>
                  </a:lnTo>
                  <a:lnTo>
                    <a:pt x="84" y="114"/>
                  </a:lnTo>
                  <a:lnTo>
                    <a:pt x="81" y="115"/>
                  </a:lnTo>
                  <a:lnTo>
                    <a:pt x="87" y="118"/>
                  </a:lnTo>
                  <a:lnTo>
                    <a:pt x="92" y="122"/>
                  </a:lnTo>
                  <a:lnTo>
                    <a:pt x="96" y="127"/>
                  </a:lnTo>
                  <a:lnTo>
                    <a:pt x="98" y="130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2" y="139"/>
                  </a:lnTo>
                  <a:lnTo>
                    <a:pt x="103" y="143"/>
                  </a:lnTo>
                  <a:lnTo>
                    <a:pt x="103" y="146"/>
                  </a:lnTo>
                  <a:lnTo>
                    <a:pt x="104" y="154"/>
                  </a:lnTo>
                  <a:lnTo>
                    <a:pt x="104" y="162"/>
                  </a:lnTo>
                  <a:lnTo>
                    <a:pt x="104" y="196"/>
                  </a:lnTo>
                  <a:lnTo>
                    <a:pt x="105" y="204"/>
                  </a:lnTo>
                  <a:lnTo>
                    <a:pt x="105" y="211"/>
                  </a:lnTo>
                  <a:lnTo>
                    <a:pt x="105" y="214"/>
                  </a:lnTo>
                  <a:lnTo>
                    <a:pt x="106" y="217"/>
                  </a:lnTo>
                  <a:lnTo>
                    <a:pt x="108" y="223"/>
                  </a:lnTo>
                  <a:lnTo>
                    <a:pt x="73" y="223"/>
                  </a:lnTo>
                  <a:close/>
                  <a:moveTo>
                    <a:pt x="35" y="34"/>
                  </a:moveTo>
                  <a:lnTo>
                    <a:pt x="35" y="102"/>
                  </a:lnTo>
                  <a:lnTo>
                    <a:pt x="48" y="102"/>
                  </a:lnTo>
                  <a:lnTo>
                    <a:pt x="53" y="101"/>
                  </a:lnTo>
                  <a:lnTo>
                    <a:pt x="57" y="100"/>
                  </a:lnTo>
                  <a:lnTo>
                    <a:pt x="61" y="99"/>
                  </a:lnTo>
                  <a:lnTo>
                    <a:pt x="64" y="97"/>
                  </a:lnTo>
                  <a:lnTo>
                    <a:pt x="66" y="93"/>
                  </a:lnTo>
                  <a:lnTo>
                    <a:pt x="68" y="89"/>
                  </a:lnTo>
                  <a:lnTo>
                    <a:pt x="69" y="84"/>
                  </a:lnTo>
                  <a:lnTo>
                    <a:pt x="69" y="78"/>
                  </a:lnTo>
                  <a:lnTo>
                    <a:pt x="69" y="56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5" y="39"/>
                  </a:lnTo>
                  <a:lnTo>
                    <a:pt x="63" y="37"/>
                  </a:lnTo>
                  <a:lnTo>
                    <a:pt x="60" y="35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35" y="34"/>
                  </a:lnTo>
                  <a:close/>
                  <a:moveTo>
                    <a:pt x="248" y="223"/>
                  </a:moveTo>
                  <a:lnTo>
                    <a:pt x="212" y="223"/>
                  </a:lnTo>
                  <a:lnTo>
                    <a:pt x="206" y="183"/>
                  </a:lnTo>
                  <a:lnTo>
                    <a:pt x="164" y="183"/>
                  </a:lnTo>
                  <a:lnTo>
                    <a:pt x="158" y="223"/>
                  </a:lnTo>
                  <a:lnTo>
                    <a:pt x="126" y="223"/>
                  </a:lnTo>
                  <a:lnTo>
                    <a:pt x="161" y="2"/>
                  </a:lnTo>
                  <a:lnTo>
                    <a:pt x="212" y="2"/>
                  </a:lnTo>
                  <a:lnTo>
                    <a:pt x="248" y="223"/>
                  </a:lnTo>
                  <a:close/>
                  <a:moveTo>
                    <a:pt x="168" y="153"/>
                  </a:moveTo>
                  <a:lnTo>
                    <a:pt x="202" y="153"/>
                  </a:lnTo>
                  <a:lnTo>
                    <a:pt x="185" y="41"/>
                  </a:lnTo>
                  <a:lnTo>
                    <a:pt x="168" y="153"/>
                  </a:lnTo>
                  <a:close/>
                  <a:moveTo>
                    <a:pt x="316" y="183"/>
                  </a:moveTo>
                  <a:lnTo>
                    <a:pt x="343" y="2"/>
                  </a:lnTo>
                  <a:lnTo>
                    <a:pt x="375" y="2"/>
                  </a:lnTo>
                  <a:lnTo>
                    <a:pt x="340" y="223"/>
                  </a:lnTo>
                  <a:lnTo>
                    <a:pt x="289" y="223"/>
                  </a:lnTo>
                  <a:lnTo>
                    <a:pt x="254" y="2"/>
                  </a:lnTo>
                  <a:lnTo>
                    <a:pt x="290" y="2"/>
                  </a:lnTo>
                  <a:lnTo>
                    <a:pt x="316" y="183"/>
                  </a:lnTo>
                  <a:close/>
                  <a:moveTo>
                    <a:pt x="398" y="2"/>
                  </a:moveTo>
                  <a:lnTo>
                    <a:pt x="433" y="2"/>
                  </a:lnTo>
                  <a:lnTo>
                    <a:pt x="433" y="223"/>
                  </a:lnTo>
                  <a:lnTo>
                    <a:pt x="398" y="223"/>
                  </a:lnTo>
                  <a:lnTo>
                    <a:pt x="398" y="2"/>
                  </a:lnTo>
                  <a:close/>
                  <a:moveTo>
                    <a:pt x="456" y="2"/>
                  </a:moveTo>
                  <a:lnTo>
                    <a:pt x="564" y="2"/>
                  </a:lnTo>
                  <a:lnTo>
                    <a:pt x="564" y="34"/>
                  </a:lnTo>
                  <a:lnTo>
                    <a:pt x="527" y="34"/>
                  </a:lnTo>
                  <a:lnTo>
                    <a:pt x="527" y="223"/>
                  </a:lnTo>
                  <a:lnTo>
                    <a:pt x="493" y="223"/>
                  </a:lnTo>
                  <a:lnTo>
                    <a:pt x="493" y="34"/>
                  </a:lnTo>
                  <a:lnTo>
                    <a:pt x="456" y="34"/>
                  </a:lnTo>
                  <a:lnTo>
                    <a:pt x="456" y="2"/>
                  </a:lnTo>
                  <a:close/>
                  <a:moveTo>
                    <a:pt x="634" y="0"/>
                  </a:moveTo>
                  <a:lnTo>
                    <a:pt x="640" y="0"/>
                  </a:lnTo>
                  <a:lnTo>
                    <a:pt x="645" y="0"/>
                  </a:lnTo>
                  <a:lnTo>
                    <a:pt x="651" y="2"/>
                  </a:lnTo>
                  <a:lnTo>
                    <a:pt x="656" y="3"/>
                  </a:lnTo>
                  <a:lnTo>
                    <a:pt x="660" y="5"/>
                  </a:lnTo>
                  <a:lnTo>
                    <a:pt x="665" y="8"/>
                  </a:lnTo>
                  <a:lnTo>
                    <a:pt x="668" y="11"/>
                  </a:lnTo>
                  <a:lnTo>
                    <a:pt x="672" y="14"/>
                  </a:lnTo>
                  <a:lnTo>
                    <a:pt x="675" y="18"/>
                  </a:lnTo>
                  <a:lnTo>
                    <a:pt x="677" y="22"/>
                  </a:lnTo>
                  <a:lnTo>
                    <a:pt x="680" y="27"/>
                  </a:lnTo>
                  <a:lnTo>
                    <a:pt x="681" y="32"/>
                  </a:lnTo>
                  <a:lnTo>
                    <a:pt x="683" y="37"/>
                  </a:lnTo>
                  <a:lnTo>
                    <a:pt x="684" y="43"/>
                  </a:lnTo>
                  <a:lnTo>
                    <a:pt x="685" y="49"/>
                  </a:lnTo>
                  <a:lnTo>
                    <a:pt x="685" y="55"/>
                  </a:lnTo>
                  <a:lnTo>
                    <a:pt x="685" y="62"/>
                  </a:lnTo>
                  <a:lnTo>
                    <a:pt x="652" y="62"/>
                  </a:lnTo>
                  <a:lnTo>
                    <a:pt x="652" y="53"/>
                  </a:lnTo>
                  <a:lnTo>
                    <a:pt x="652" y="47"/>
                  </a:lnTo>
                  <a:lnTo>
                    <a:pt x="651" y="43"/>
                  </a:lnTo>
                  <a:lnTo>
                    <a:pt x="650" y="41"/>
                  </a:lnTo>
                  <a:lnTo>
                    <a:pt x="649" y="39"/>
                  </a:lnTo>
                  <a:lnTo>
                    <a:pt x="647" y="36"/>
                  </a:lnTo>
                  <a:lnTo>
                    <a:pt x="645" y="34"/>
                  </a:lnTo>
                  <a:lnTo>
                    <a:pt x="642" y="32"/>
                  </a:lnTo>
                  <a:lnTo>
                    <a:pt x="638" y="31"/>
                  </a:lnTo>
                  <a:lnTo>
                    <a:pt x="634" y="31"/>
                  </a:lnTo>
                  <a:lnTo>
                    <a:pt x="631" y="31"/>
                  </a:lnTo>
                  <a:lnTo>
                    <a:pt x="627" y="32"/>
                  </a:lnTo>
                  <a:lnTo>
                    <a:pt x="624" y="34"/>
                  </a:lnTo>
                  <a:lnTo>
                    <a:pt x="622" y="36"/>
                  </a:lnTo>
                  <a:lnTo>
                    <a:pt x="620" y="39"/>
                  </a:lnTo>
                  <a:lnTo>
                    <a:pt x="618" y="43"/>
                  </a:lnTo>
                  <a:lnTo>
                    <a:pt x="617" y="47"/>
                  </a:lnTo>
                  <a:lnTo>
                    <a:pt x="617" y="53"/>
                  </a:lnTo>
                  <a:lnTo>
                    <a:pt x="617" y="57"/>
                  </a:lnTo>
                  <a:lnTo>
                    <a:pt x="618" y="61"/>
                  </a:lnTo>
                  <a:lnTo>
                    <a:pt x="620" y="68"/>
                  </a:lnTo>
                  <a:lnTo>
                    <a:pt x="623" y="75"/>
                  </a:lnTo>
                  <a:lnTo>
                    <a:pt x="628" y="82"/>
                  </a:lnTo>
                  <a:lnTo>
                    <a:pt x="633" y="88"/>
                  </a:lnTo>
                  <a:lnTo>
                    <a:pt x="639" y="93"/>
                  </a:lnTo>
                  <a:lnTo>
                    <a:pt x="651" y="105"/>
                  </a:lnTo>
                  <a:lnTo>
                    <a:pt x="657" y="111"/>
                  </a:lnTo>
                  <a:lnTo>
                    <a:pt x="664" y="117"/>
                  </a:lnTo>
                  <a:lnTo>
                    <a:pt x="669" y="124"/>
                  </a:lnTo>
                  <a:lnTo>
                    <a:pt x="674" y="132"/>
                  </a:lnTo>
                  <a:lnTo>
                    <a:pt x="679" y="140"/>
                  </a:lnTo>
                  <a:lnTo>
                    <a:pt x="681" y="144"/>
                  </a:lnTo>
                  <a:lnTo>
                    <a:pt x="682" y="149"/>
                  </a:lnTo>
                  <a:lnTo>
                    <a:pt x="683" y="154"/>
                  </a:lnTo>
                  <a:lnTo>
                    <a:pt x="684" y="159"/>
                  </a:lnTo>
                  <a:lnTo>
                    <a:pt x="685" y="164"/>
                  </a:lnTo>
                  <a:lnTo>
                    <a:pt x="685" y="170"/>
                  </a:lnTo>
                  <a:lnTo>
                    <a:pt x="685" y="177"/>
                  </a:lnTo>
                  <a:lnTo>
                    <a:pt x="684" y="183"/>
                  </a:lnTo>
                  <a:lnTo>
                    <a:pt x="683" y="188"/>
                  </a:lnTo>
                  <a:lnTo>
                    <a:pt x="682" y="194"/>
                  </a:lnTo>
                  <a:lnTo>
                    <a:pt x="680" y="199"/>
                  </a:lnTo>
                  <a:lnTo>
                    <a:pt x="678" y="203"/>
                  </a:lnTo>
                  <a:lnTo>
                    <a:pt x="675" y="208"/>
                  </a:lnTo>
                  <a:lnTo>
                    <a:pt x="672" y="211"/>
                  </a:lnTo>
                  <a:lnTo>
                    <a:pt x="668" y="215"/>
                  </a:lnTo>
                  <a:lnTo>
                    <a:pt x="665" y="218"/>
                  </a:lnTo>
                  <a:lnTo>
                    <a:pt x="660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5" y="225"/>
                  </a:lnTo>
                  <a:lnTo>
                    <a:pt x="639" y="226"/>
                  </a:lnTo>
                  <a:lnTo>
                    <a:pt x="633" y="226"/>
                  </a:lnTo>
                  <a:lnTo>
                    <a:pt x="627" y="226"/>
                  </a:lnTo>
                  <a:lnTo>
                    <a:pt x="621" y="225"/>
                  </a:lnTo>
                  <a:lnTo>
                    <a:pt x="616" y="224"/>
                  </a:lnTo>
                  <a:lnTo>
                    <a:pt x="611" y="222"/>
                  </a:lnTo>
                  <a:lnTo>
                    <a:pt x="606" y="220"/>
                  </a:lnTo>
                  <a:lnTo>
                    <a:pt x="602" y="218"/>
                  </a:lnTo>
                  <a:lnTo>
                    <a:pt x="598" y="215"/>
                  </a:lnTo>
                  <a:lnTo>
                    <a:pt x="594" y="211"/>
                  </a:lnTo>
                  <a:lnTo>
                    <a:pt x="591" y="208"/>
                  </a:lnTo>
                  <a:lnTo>
                    <a:pt x="589" y="203"/>
                  </a:lnTo>
                  <a:lnTo>
                    <a:pt x="587" y="199"/>
                  </a:lnTo>
                  <a:lnTo>
                    <a:pt x="585" y="194"/>
                  </a:lnTo>
                  <a:lnTo>
                    <a:pt x="583" y="188"/>
                  </a:lnTo>
                  <a:lnTo>
                    <a:pt x="582" y="183"/>
                  </a:lnTo>
                  <a:lnTo>
                    <a:pt x="582" y="177"/>
                  </a:lnTo>
                  <a:lnTo>
                    <a:pt x="581" y="170"/>
                  </a:lnTo>
                  <a:lnTo>
                    <a:pt x="581" y="157"/>
                  </a:lnTo>
                  <a:lnTo>
                    <a:pt x="614" y="157"/>
                  </a:lnTo>
                  <a:lnTo>
                    <a:pt x="614" y="172"/>
                  </a:lnTo>
                  <a:lnTo>
                    <a:pt x="615" y="178"/>
                  </a:lnTo>
                  <a:lnTo>
                    <a:pt x="616" y="182"/>
                  </a:lnTo>
                  <a:lnTo>
                    <a:pt x="617" y="186"/>
                  </a:lnTo>
                  <a:lnTo>
                    <a:pt x="619" y="189"/>
                  </a:lnTo>
                  <a:lnTo>
                    <a:pt x="622" y="191"/>
                  </a:lnTo>
                  <a:lnTo>
                    <a:pt x="625" y="193"/>
                  </a:lnTo>
                  <a:lnTo>
                    <a:pt x="628" y="194"/>
                  </a:lnTo>
                  <a:lnTo>
                    <a:pt x="632" y="194"/>
                  </a:lnTo>
                  <a:lnTo>
                    <a:pt x="636" y="194"/>
                  </a:lnTo>
                  <a:lnTo>
                    <a:pt x="640" y="193"/>
                  </a:lnTo>
                  <a:lnTo>
                    <a:pt x="643" y="191"/>
                  </a:lnTo>
                  <a:lnTo>
                    <a:pt x="644" y="190"/>
                  </a:lnTo>
                  <a:lnTo>
                    <a:pt x="645" y="189"/>
                  </a:lnTo>
                  <a:lnTo>
                    <a:pt x="647" y="186"/>
                  </a:lnTo>
                  <a:lnTo>
                    <a:pt x="649" y="182"/>
                  </a:lnTo>
                  <a:lnTo>
                    <a:pt x="650" y="178"/>
                  </a:lnTo>
                  <a:lnTo>
                    <a:pt x="650" y="172"/>
                  </a:lnTo>
                  <a:lnTo>
                    <a:pt x="650" y="168"/>
                  </a:lnTo>
                  <a:lnTo>
                    <a:pt x="649" y="164"/>
                  </a:lnTo>
                  <a:lnTo>
                    <a:pt x="647" y="157"/>
                  </a:lnTo>
                  <a:lnTo>
                    <a:pt x="644" y="150"/>
                  </a:lnTo>
                  <a:lnTo>
                    <a:pt x="640" y="144"/>
                  </a:lnTo>
                  <a:lnTo>
                    <a:pt x="635" y="138"/>
                  </a:lnTo>
                  <a:lnTo>
                    <a:pt x="629" y="132"/>
                  </a:lnTo>
                  <a:lnTo>
                    <a:pt x="616" y="120"/>
                  </a:lnTo>
                  <a:lnTo>
                    <a:pt x="610" y="114"/>
                  </a:lnTo>
                  <a:lnTo>
                    <a:pt x="604" y="108"/>
                  </a:lnTo>
                  <a:lnTo>
                    <a:pt x="598" y="101"/>
                  </a:lnTo>
                  <a:lnTo>
                    <a:pt x="593" y="94"/>
                  </a:lnTo>
                  <a:lnTo>
                    <a:pt x="589" y="86"/>
                  </a:lnTo>
                  <a:lnTo>
                    <a:pt x="587" y="81"/>
                  </a:lnTo>
                  <a:lnTo>
                    <a:pt x="585" y="76"/>
                  </a:lnTo>
                  <a:lnTo>
                    <a:pt x="584" y="72"/>
                  </a:lnTo>
                  <a:lnTo>
                    <a:pt x="583" y="66"/>
                  </a:lnTo>
                  <a:lnTo>
                    <a:pt x="583" y="61"/>
                  </a:lnTo>
                  <a:lnTo>
                    <a:pt x="582" y="55"/>
                  </a:lnTo>
                  <a:lnTo>
                    <a:pt x="583" y="49"/>
                  </a:lnTo>
                  <a:lnTo>
                    <a:pt x="583" y="43"/>
                  </a:lnTo>
                  <a:lnTo>
                    <a:pt x="584" y="37"/>
                  </a:lnTo>
                  <a:lnTo>
                    <a:pt x="586" y="32"/>
                  </a:lnTo>
                  <a:lnTo>
                    <a:pt x="587" y="27"/>
                  </a:lnTo>
                  <a:lnTo>
                    <a:pt x="590" y="22"/>
                  </a:lnTo>
                  <a:lnTo>
                    <a:pt x="592" y="18"/>
                  </a:lnTo>
                  <a:lnTo>
                    <a:pt x="595" y="14"/>
                  </a:lnTo>
                  <a:lnTo>
                    <a:pt x="599" y="11"/>
                  </a:lnTo>
                  <a:lnTo>
                    <a:pt x="602" y="8"/>
                  </a:lnTo>
                  <a:lnTo>
                    <a:pt x="607" y="5"/>
                  </a:lnTo>
                  <a:lnTo>
                    <a:pt x="611" y="3"/>
                  </a:lnTo>
                  <a:lnTo>
                    <a:pt x="616" y="2"/>
                  </a:lnTo>
                  <a:lnTo>
                    <a:pt x="622" y="0"/>
                  </a:lnTo>
                  <a:lnTo>
                    <a:pt x="627" y="0"/>
                  </a:lnTo>
                  <a:lnTo>
                    <a:pt x="634" y="0"/>
                  </a:lnTo>
                  <a:close/>
                  <a:moveTo>
                    <a:pt x="748" y="95"/>
                  </a:moveTo>
                  <a:lnTo>
                    <a:pt x="795" y="95"/>
                  </a:lnTo>
                  <a:lnTo>
                    <a:pt x="795" y="127"/>
                  </a:lnTo>
                  <a:lnTo>
                    <a:pt x="748" y="127"/>
                  </a:lnTo>
                  <a:lnTo>
                    <a:pt x="748" y="192"/>
                  </a:lnTo>
                  <a:lnTo>
                    <a:pt x="808" y="192"/>
                  </a:lnTo>
                  <a:lnTo>
                    <a:pt x="808" y="223"/>
                  </a:lnTo>
                  <a:lnTo>
                    <a:pt x="713" y="223"/>
                  </a:lnTo>
                  <a:lnTo>
                    <a:pt x="713" y="2"/>
                  </a:lnTo>
                  <a:lnTo>
                    <a:pt x="808" y="2"/>
                  </a:lnTo>
                  <a:lnTo>
                    <a:pt x="808" y="34"/>
                  </a:lnTo>
                  <a:lnTo>
                    <a:pt x="748" y="34"/>
                  </a:lnTo>
                  <a:lnTo>
                    <a:pt x="748" y="95"/>
                  </a:lnTo>
                  <a:close/>
                  <a:moveTo>
                    <a:pt x="911" y="159"/>
                  </a:moveTo>
                  <a:lnTo>
                    <a:pt x="934" y="2"/>
                  </a:lnTo>
                  <a:lnTo>
                    <a:pt x="983" y="2"/>
                  </a:lnTo>
                  <a:lnTo>
                    <a:pt x="983" y="223"/>
                  </a:lnTo>
                  <a:lnTo>
                    <a:pt x="950" y="223"/>
                  </a:lnTo>
                  <a:lnTo>
                    <a:pt x="950" y="65"/>
                  </a:lnTo>
                  <a:lnTo>
                    <a:pt x="926" y="223"/>
                  </a:lnTo>
                  <a:lnTo>
                    <a:pt x="893" y="223"/>
                  </a:lnTo>
                  <a:lnTo>
                    <a:pt x="867" y="67"/>
                  </a:lnTo>
                  <a:lnTo>
                    <a:pt x="867" y="223"/>
                  </a:lnTo>
                  <a:lnTo>
                    <a:pt x="837" y="223"/>
                  </a:lnTo>
                  <a:lnTo>
                    <a:pt x="837" y="2"/>
                  </a:lnTo>
                  <a:lnTo>
                    <a:pt x="885" y="2"/>
                  </a:lnTo>
                  <a:lnTo>
                    <a:pt x="911" y="159"/>
                  </a:lnTo>
                  <a:close/>
                  <a:moveTo>
                    <a:pt x="1017" y="2"/>
                  </a:moveTo>
                  <a:lnTo>
                    <a:pt x="1051" y="2"/>
                  </a:lnTo>
                  <a:lnTo>
                    <a:pt x="1051" y="223"/>
                  </a:lnTo>
                  <a:lnTo>
                    <a:pt x="1017" y="223"/>
                  </a:lnTo>
                  <a:lnTo>
                    <a:pt x="1017" y="2"/>
                  </a:lnTo>
                  <a:close/>
                  <a:moveTo>
                    <a:pt x="1131" y="0"/>
                  </a:moveTo>
                  <a:lnTo>
                    <a:pt x="1138" y="0"/>
                  </a:lnTo>
                  <a:lnTo>
                    <a:pt x="1143" y="0"/>
                  </a:lnTo>
                  <a:lnTo>
                    <a:pt x="1149" y="2"/>
                  </a:lnTo>
                  <a:lnTo>
                    <a:pt x="1154" y="3"/>
                  </a:lnTo>
                  <a:lnTo>
                    <a:pt x="1158" y="5"/>
                  </a:lnTo>
                  <a:lnTo>
                    <a:pt x="1162" y="8"/>
                  </a:lnTo>
                  <a:lnTo>
                    <a:pt x="1166" y="11"/>
                  </a:lnTo>
                  <a:lnTo>
                    <a:pt x="1170" y="14"/>
                  </a:lnTo>
                  <a:lnTo>
                    <a:pt x="1173" y="18"/>
                  </a:lnTo>
                  <a:lnTo>
                    <a:pt x="1175" y="22"/>
                  </a:lnTo>
                  <a:lnTo>
                    <a:pt x="1178" y="27"/>
                  </a:lnTo>
                  <a:lnTo>
                    <a:pt x="1179" y="32"/>
                  </a:lnTo>
                  <a:lnTo>
                    <a:pt x="1181" y="37"/>
                  </a:lnTo>
                  <a:lnTo>
                    <a:pt x="1182" y="43"/>
                  </a:lnTo>
                  <a:lnTo>
                    <a:pt x="1182" y="49"/>
                  </a:lnTo>
                  <a:lnTo>
                    <a:pt x="1183" y="55"/>
                  </a:lnTo>
                  <a:lnTo>
                    <a:pt x="1183" y="62"/>
                  </a:lnTo>
                  <a:lnTo>
                    <a:pt x="1150" y="62"/>
                  </a:lnTo>
                  <a:lnTo>
                    <a:pt x="1150" y="53"/>
                  </a:lnTo>
                  <a:lnTo>
                    <a:pt x="1149" y="47"/>
                  </a:lnTo>
                  <a:lnTo>
                    <a:pt x="1149" y="43"/>
                  </a:lnTo>
                  <a:lnTo>
                    <a:pt x="1148" y="41"/>
                  </a:lnTo>
                  <a:lnTo>
                    <a:pt x="1147" y="39"/>
                  </a:lnTo>
                  <a:lnTo>
                    <a:pt x="1145" y="36"/>
                  </a:lnTo>
                  <a:lnTo>
                    <a:pt x="1143" y="34"/>
                  </a:lnTo>
                  <a:lnTo>
                    <a:pt x="1140" y="32"/>
                  </a:lnTo>
                  <a:lnTo>
                    <a:pt x="1136" y="31"/>
                  </a:lnTo>
                  <a:lnTo>
                    <a:pt x="1132" y="31"/>
                  </a:lnTo>
                  <a:lnTo>
                    <a:pt x="1128" y="31"/>
                  </a:lnTo>
                  <a:lnTo>
                    <a:pt x="1125" y="32"/>
                  </a:lnTo>
                  <a:lnTo>
                    <a:pt x="1122" y="34"/>
                  </a:lnTo>
                  <a:lnTo>
                    <a:pt x="1120" y="36"/>
                  </a:lnTo>
                  <a:lnTo>
                    <a:pt x="1118" y="39"/>
                  </a:lnTo>
                  <a:lnTo>
                    <a:pt x="1116" y="43"/>
                  </a:lnTo>
                  <a:lnTo>
                    <a:pt x="1115" y="47"/>
                  </a:lnTo>
                  <a:lnTo>
                    <a:pt x="1115" y="53"/>
                  </a:lnTo>
                  <a:lnTo>
                    <a:pt x="1115" y="57"/>
                  </a:lnTo>
                  <a:lnTo>
                    <a:pt x="1116" y="61"/>
                  </a:lnTo>
                  <a:lnTo>
                    <a:pt x="1118" y="68"/>
                  </a:lnTo>
                  <a:lnTo>
                    <a:pt x="1121" y="75"/>
                  </a:lnTo>
                  <a:lnTo>
                    <a:pt x="1126" y="82"/>
                  </a:lnTo>
                  <a:lnTo>
                    <a:pt x="1131" y="88"/>
                  </a:lnTo>
                  <a:lnTo>
                    <a:pt x="1136" y="93"/>
                  </a:lnTo>
                  <a:lnTo>
                    <a:pt x="1149" y="105"/>
                  </a:lnTo>
                  <a:lnTo>
                    <a:pt x="1155" y="111"/>
                  </a:lnTo>
                  <a:lnTo>
                    <a:pt x="1161" y="117"/>
                  </a:lnTo>
                  <a:lnTo>
                    <a:pt x="1167" y="124"/>
                  </a:lnTo>
                  <a:lnTo>
                    <a:pt x="1172" y="132"/>
                  </a:lnTo>
                  <a:lnTo>
                    <a:pt x="1177" y="140"/>
                  </a:lnTo>
                  <a:lnTo>
                    <a:pt x="1178" y="144"/>
                  </a:lnTo>
                  <a:lnTo>
                    <a:pt x="1180" y="149"/>
                  </a:lnTo>
                  <a:lnTo>
                    <a:pt x="1181" y="154"/>
                  </a:lnTo>
                  <a:lnTo>
                    <a:pt x="1182" y="159"/>
                  </a:lnTo>
                  <a:lnTo>
                    <a:pt x="1183" y="164"/>
                  </a:lnTo>
                  <a:lnTo>
                    <a:pt x="1183" y="170"/>
                  </a:lnTo>
                  <a:lnTo>
                    <a:pt x="1183" y="177"/>
                  </a:lnTo>
                  <a:lnTo>
                    <a:pt x="1182" y="183"/>
                  </a:lnTo>
                  <a:lnTo>
                    <a:pt x="1181" y="188"/>
                  </a:lnTo>
                  <a:lnTo>
                    <a:pt x="1180" y="194"/>
                  </a:lnTo>
                  <a:lnTo>
                    <a:pt x="1178" y="199"/>
                  </a:lnTo>
                  <a:lnTo>
                    <a:pt x="1176" y="203"/>
                  </a:lnTo>
                  <a:lnTo>
                    <a:pt x="1173" y="208"/>
                  </a:lnTo>
                  <a:lnTo>
                    <a:pt x="1170" y="211"/>
                  </a:lnTo>
                  <a:lnTo>
                    <a:pt x="1166" y="215"/>
                  </a:lnTo>
                  <a:lnTo>
                    <a:pt x="1162" y="218"/>
                  </a:lnTo>
                  <a:lnTo>
                    <a:pt x="1158" y="220"/>
                  </a:lnTo>
                  <a:lnTo>
                    <a:pt x="1154" y="222"/>
                  </a:lnTo>
                  <a:lnTo>
                    <a:pt x="1149" y="224"/>
                  </a:lnTo>
                  <a:lnTo>
                    <a:pt x="1143" y="225"/>
                  </a:lnTo>
                  <a:lnTo>
                    <a:pt x="1137" y="226"/>
                  </a:lnTo>
                  <a:lnTo>
                    <a:pt x="1131" y="226"/>
                  </a:lnTo>
                  <a:lnTo>
                    <a:pt x="1125" y="226"/>
                  </a:lnTo>
                  <a:lnTo>
                    <a:pt x="1119" y="225"/>
                  </a:lnTo>
                  <a:lnTo>
                    <a:pt x="1114" y="224"/>
                  </a:lnTo>
                  <a:lnTo>
                    <a:pt x="1109" y="222"/>
                  </a:lnTo>
                  <a:lnTo>
                    <a:pt x="1104" y="220"/>
                  </a:lnTo>
                  <a:lnTo>
                    <a:pt x="1100" y="218"/>
                  </a:lnTo>
                  <a:lnTo>
                    <a:pt x="1096" y="215"/>
                  </a:lnTo>
                  <a:lnTo>
                    <a:pt x="1092" y="211"/>
                  </a:lnTo>
                  <a:lnTo>
                    <a:pt x="1089" y="208"/>
                  </a:lnTo>
                  <a:lnTo>
                    <a:pt x="1087" y="203"/>
                  </a:lnTo>
                  <a:lnTo>
                    <a:pt x="1084" y="199"/>
                  </a:lnTo>
                  <a:lnTo>
                    <a:pt x="1083" y="194"/>
                  </a:lnTo>
                  <a:lnTo>
                    <a:pt x="1081" y="188"/>
                  </a:lnTo>
                  <a:lnTo>
                    <a:pt x="1080" y="183"/>
                  </a:lnTo>
                  <a:lnTo>
                    <a:pt x="1079" y="177"/>
                  </a:lnTo>
                  <a:lnTo>
                    <a:pt x="1079" y="170"/>
                  </a:lnTo>
                  <a:lnTo>
                    <a:pt x="1079" y="157"/>
                  </a:lnTo>
                  <a:lnTo>
                    <a:pt x="1112" y="157"/>
                  </a:lnTo>
                  <a:lnTo>
                    <a:pt x="1112" y="172"/>
                  </a:lnTo>
                  <a:lnTo>
                    <a:pt x="1112" y="178"/>
                  </a:lnTo>
                  <a:lnTo>
                    <a:pt x="1113" y="182"/>
                  </a:lnTo>
                  <a:lnTo>
                    <a:pt x="1115" y="186"/>
                  </a:lnTo>
                  <a:lnTo>
                    <a:pt x="1117" y="189"/>
                  </a:lnTo>
                  <a:lnTo>
                    <a:pt x="1120" y="191"/>
                  </a:lnTo>
                  <a:lnTo>
                    <a:pt x="1123" y="193"/>
                  </a:lnTo>
                  <a:lnTo>
                    <a:pt x="1126" y="194"/>
                  </a:lnTo>
                  <a:lnTo>
                    <a:pt x="1130" y="194"/>
                  </a:lnTo>
                  <a:lnTo>
                    <a:pt x="1134" y="194"/>
                  </a:lnTo>
                  <a:lnTo>
                    <a:pt x="1138" y="193"/>
                  </a:lnTo>
                  <a:lnTo>
                    <a:pt x="1141" y="191"/>
                  </a:lnTo>
                  <a:lnTo>
                    <a:pt x="1142" y="190"/>
                  </a:lnTo>
                  <a:lnTo>
                    <a:pt x="1143" y="189"/>
                  </a:lnTo>
                  <a:lnTo>
                    <a:pt x="1145" y="186"/>
                  </a:lnTo>
                  <a:lnTo>
                    <a:pt x="1147" y="182"/>
                  </a:lnTo>
                  <a:lnTo>
                    <a:pt x="1148" y="178"/>
                  </a:lnTo>
                  <a:lnTo>
                    <a:pt x="1148" y="172"/>
                  </a:lnTo>
                  <a:lnTo>
                    <a:pt x="1148" y="168"/>
                  </a:lnTo>
                  <a:lnTo>
                    <a:pt x="1147" y="164"/>
                  </a:lnTo>
                  <a:lnTo>
                    <a:pt x="1145" y="157"/>
                  </a:lnTo>
                  <a:lnTo>
                    <a:pt x="1142" y="150"/>
                  </a:lnTo>
                  <a:lnTo>
                    <a:pt x="1138" y="144"/>
                  </a:lnTo>
                  <a:lnTo>
                    <a:pt x="1132" y="138"/>
                  </a:lnTo>
                  <a:lnTo>
                    <a:pt x="1127" y="132"/>
                  </a:lnTo>
                  <a:lnTo>
                    <a:pt x="1114" y="120"/>
                  </a:lnTo>
                  <a:lnTo>
                    <a:pt x="1108" y="114"/>
                  </a:lnTo>
                  <a:lnTo>
                    <a:pt x="1102" y="108"/>
                  </a:lnTo>
                  <a:lnTo>
                    <a:pt x="1096" y="101"/>
                  </a:lnTo>
                  <a:lnTo>
                    <a:pt x="1091" y="94"/>
                  </a:lnTo>
                  <a:lnTo>
                    <a:pt x="1086" y="86"/>
                  </a:lnTo>
                  <a:lnTo>
                    <a:pt x="1085" y="81"/>
                  </a:lnTo>
                  <a:lnTo>
                    <a:pt x="1083" y="76"/>
                  </a:lnTo>
                  <a:lnTo>
                    <a:pt x="1082" y="72"/>
                  </a:lnTo>
                  <a:lnTo>
                    <a:pt x="1081" y="66"/>
                  </a:lnTo>
                  <a:lnTo>
                    <a:pt x="1080" y="61"/>
                  </a:lnTo>
                  <a:lnTo>
                    <a:pt x="1080" y="55"/>
                  </a:lnTo>
                  <a:lnTo>
                    <a:pt x="1080" y="49"/>
                  </a:lnTo>
                  <a:lnTo>
                    <a:pt x="1081" y="43"/>
                  </a:lnTo>
                  <a:lnTo>
                    <a:pt x="1082" y="37"/>
                  </a:lnTo>
                  <a:lnTo>
                    <a:pt x="1083" y="32"/>
                  </a:lnTo>
                  <a:lnTo>
                    <a:pt x="1085" y="27"/>
                  </a:lnTo>
                  <a:lnTo>
                    <a:pt x="1088" y="22"/>
                  </a:lnTo>
                  <a:lnTo>
                    <a:pt x="1090" y="18"/>
                  </a:lnTo>
                  <a:lnTo>
                    <a:pt x="1093" y="14"/>
                  </a:lnTo>
                  <a:lnTo>
                    <a:pt x="1097" y="11"/>
                  </a:lnTo>
                  <a:lnTo>
                    <a:pt x="1100" y="8"/>
                  </a:lnTo>
                  <a:lnTo>
                    <a:pt x="1105" y="5"/>
                  </a:lnTo>
                  <a:lnTo>
                    <a:pt x="1109" y="3"/>
                  </a:lnTo>
                  <a:lnTo>
                    <a:pt x="1114" y="2"/>
                  </a:lnTo>
                  <a:lnTo>
                    <a:pt x="1120" y="0"/>
                  </a:lnTo>
                  <a:lnTo>
                    <a:pt x="1125" y="0"/>
                  </a:lnTo>
                  <a:lnTo>
                    <a:pt x="1131" y="0"/>
                  </a:lnTo>
                  <a:close/>
                  <a:moveTo>
                    <a:pt x="1256" y="135"/>
                  </a:moveTo>
                  <a:lnTo>
                    <a:pt x="1245" y="155"/>
                  </a:lnTo>
                  <a:lnTo>
                    <a:pt x="1245" y="223"/>
                  </a:lnTo>
                  <a:lnTo>
                    <a:pt x="1211" y="223"/>
                  </a:lnTo>
                  <a:lnTo>
                    <a:pt x="1211" y="2"/>
                  </a:lnTo>
                  <a:lnTo>
                    <a:pt x="1245" y="2"/>
                  </a:lnTo>
                  <a:lnTo>
                    <a:pt x="1245" y="98"/>
                  </a:lnTo>
                  <a:lnTo>
                    <a:pt x="1291" y="2"/>
                  </a:lnTo>
                  <a:lnTo>
                    <a:pt x="1326" y="2"/>
                  </a:lnTo>
                  <a:lnTo>
                    <a:pt x="1277" y="101"/>
                  </a:lnTo>
                  <a:lnTo>
                    <a:pt x="1326" y="223"/>
                  </a:lnTo>
                  <a:lnTo>
                    <a:pt x="1290" y="223"/>
                  </a:lnTo>
                  <a:lnTo>
                    <a:pt x="1256" y="135"/>
                  </a:lnTo>
                  <a:close/>
                  <a:moveTo>
                    <a:pt x="1462" y="223"/>
                  </a:moveTo>
                  <a:lnTo>
                    <a:pt x="1427" y="223"/>
                  </a:lnTo>
                  <a:lnTo>
                    <a:pt x="1421" y="183"/>
                  </a:lnTo>
                  <a:lnTo>
                    <a:pt x="1378" y="183"/>
                  </a:lnTo>
                  <a:lnTo>
                    <a:pt x="1372" y="223"/>
                  </a:lnTo>
                  <a:lnTo>
                    <a:pt x="1340" y="223"/>
                  </a:lnTo>
                  <a:lnTo>
                    <a:pt x="1376" y="2"/>
                  </a:lnTo>
                  <a:lnTo>
                    <a:pt x="1426" y="2"/>
                  </a:lnTo>
                  <a:lnTo>
                    <a:pt x="1462" y="223"/>
                  </a:lnTo>
                  <a:close/>
                  <a:moveTo>
                    <a:pt x="1383" y="153"/>
                  </a:moveTo>
                  <a:lnTo>
                    <a:pt x="1416" y="153"/>
                  </a:lnTo>
                  <a:lnTo>
                    <a:pt x="1399" y="41"/>
                  </a:lnTo>
                  <a:lnTo>
                    <a:pt x="1383" y="153"/>
                  </a:lnTo>
                  <a:close/>
                  <a:moveTo>
                    <a:pt x="1519" y="2"/>
                  </a:moveTo>
                  <a:lnTo>
                    <a:pt x="1519" y="173"/>
                  </a:lnTo>
                  <a:lnTo>
                    <a:pt x="1519" y="178"/>
                  </a:lnTo>
                  <a:lnTo>
                    <a:pt x="1520" y="183"/>
                  </a:lnTo>
                  <a:lnTo>
                    <a:pt x="1522" y="186"/>
                  </a:lnTo>
                  <a:lnTo>
                    <a:pt x="1524" y="189"/>
                  </a:lnTo>
                  <a:lnTo>
                    <a:pt x="1526" y="192"/>
                  </a:lnTo>
                  <a:lnTo>
                    <a:pt x="1530" y="193"/>
                  </a:lnTo>
                  <a:lnTo>
                    <a:pt x="1533" y="194"/>
                  </a:lnTo>
                  <a:lnTo>
                    <a:pt x="1537" y="194"/>
                  </a:lnTo>
                  <a:lnTo>
                    <a:pt x="1541" y="194"/>
                  </a:lnTo>
                  <a:lnTo>
                    <a:pt x="1545" y="193"/>
                  </a:lnTo>
                  <a:lnTo>
                    <a:pt x="1548" y="192"/>
                  </a:lnTo>
                  <a:lnTo>
                    <a:pt x="1549" y="191"/>
                  </a:lnTo>
                  <a:lnTo>
                    <a:pt x="1550" y="189"/>
                  </a:lnTo>
                  <a:lnTo>
                    <a:pt x="1552" y="186"/>
                  </a:lnTo>
                  <a:lnTo>
                    <a:pt x="1554" y="183"/>
                  </a:lnTo>
                  <a:lnTo>
                    <a:pt x="1555" y="178"/>
                  </a:lnTo>
                  <a:lnTo>
                    <a:pt x="1555" y="173"/>
                  </a:lnTo>
                  <a:lnTo>
                    <a:pt x="1555" y="2"/>
                  </a:lnTo>
                  <a:lnTo>
                    <a:pt x="1588" y="2"/>
                  </a:lnTo>
                  <a:lnTo>
                    <a:pt x="1588" y="171"/>
                  </a:lnTo>
                  <a:lnTo>
                    <a:pt x="1588" y="177"/>
                  </a:lnTo>
                  <a:lnTo>
                    <a:pt x="1587" y="183"/>
                  </a:lnTo>
                  <a:lnTo>
                    <a:pt x="1586" y="189"/>
                  </a:lnTo>
                  <a:lnTo>
                    <a:pt x="1585" y="194"/>
                  </a:lnTo>
                  <a:lnTo>
                    <a:pt x="1583" y="199"/>
                  </a:lnTo>
                  <a:lnTo>
                    <a:pt x="1581" y="204"/>
                  </a:lnTo>
                  <a:lnTo>
                    <a:pt x="1578" y="208"/>
                  </a:lnTo>
                  <a:lnTo>
                    <a:pt x="1575" y="212"/>
                  </a:lnTo>
                  <a:lnTo>
                    <a:pt x="1571" y="215"/>
                  </a:lnTo>
                  <a:lnTo>
                    <a:pt x="1567" y="218"/>
                  </a:lnTo>
                  <a:lnTo>
                    <a:pt x="1563" y="220"/>
                  </a:lnTo>
                  <a:lnTo>
                    <a:pt x="1559" y="222"/>
                  </a:lnTo>
                  <a:lnTo>
                    <a:pt x="1554" y="224"/>
                  </a:lnTo>
                  <a:lnTo>
                    <a:pt x="1548" y="225"/>
                  </a:lnTo>
                  <a:lnTo>
                    <a:pt x="1542" y="226"/>
                  </a:lnTo>
                  <a:lnTo>
                    <a:pt x="1536" y="226"/>
                  </a:lnTo>
                  <a:lnTo>
                    <a:pt x="1530" y="226"/>
                  </a:lnTo>
                  <a:lnTo>
                    <a:pt x="1524" y="225"/>
                  </a:lnTo>
                  <a:lnTo>
                    <a:pt x="1519" y="224"/>
                  </a:lnTo>
                  <a:lnTo>
                    <a:pt x="1514" y="222"/>
                  </a:lnTo>
                  <a:lnTo>
                    <a:pt x="1509" y="220"/>
                  </a:lnTo>
                  <a:lnTo>
                    <a:pt x="1505" y="218"/>
                  </a:lnTo>
                  <a:lnTo>
                    <a:pt x="1501" y="215"/>
                  </a:lnTo>
                  <a:lnTo>
                    <a:pt x="1497" y="212"/>
                  </a:lnTo>
                  <a:lnTo>
                    <a:pt x="1494" y="208"/>
                  </a:lnTo>
                  <a:lnTo>
                    <a:pt x="1492" y="204"/>
                  </a:lnTo>
                  <a:lnTo>
                    <a:pt x="1489" y="199"/>
                  </a:lnTo>
                  <a:lnTo>
                    <a:pt x="1488" y="194"/>
                  </a:lnTo>
                  <a:lnTo>
                    <a:pt x="1486" y="189"/>
                  </a:lnTo>
                  <a:lnTo>
                    <a:pt x="1485" y="183"/>
                  </a:lnTo>
                  <a:lnTo>
                    <a:pt x="1484" y="177"/>
                  </a:lnTo>
                  <a:lnTo>
                    <a:pt x="1484" y="171"/>
                  </a:lnTo>
                  <a:lnTo>
                    <a:pt x="1484" y="2"/>
                  </a:lnTo>
                  <a:lnTo>
                    <a:pt x="1519" y="2"/>
                  </a:lnTo>
                  <a:close/>
                  <a:moveTo>
                    <a:pt x="1722" y="57"/>
                  </a:moveTo>
                  <a:lnTo>
                    <a:pt x="1722" y="85"/>
                  </a:lnTo>
                  <a:lnTo>
                    <a:pt x="1722" y="92"/>
                  </a:lnTo>
                  <a:lnTo>
                    <a:pt x="1722" y="98"/>
                  </a:lnTo>
                  <a:lnTo>
                    <a:pt x="1721" y="104"/>
                  </a:lnTo>
                  <a:lnTo>
                    <a:pt x="1719" y="109"/>
                  </a:lnTo>
                  <a:lnTo>
                    <a:pt x="1717" y="114"/>
                  </a:lnTo>
                  <a:lnTo>
                    <a:pt x="1715" y="118"/>
                  </a:lnTo>
                  <a:lnTo>
                    <a:pt x="1713" y="122"/>
                  </a:lnTo>
                  <a:lnTo>
                    <a:pt x="1710" y="126"/>
                  </a:lnTo>
                  <a:lnTo>
                    <a:pt x="1706" y="129"/>
                  </a:lnTo>
                  <a:lnTo>
                    <a:pt x="1702" y="132"/>
                  </a:lnTo>
                  <a:lnTo>
                    <a:pt x="1698" y="135"/>
                  </a:lnTo>
                  <a:lnTo>
                    <a:pt x="1693" y="137"/>
                  </a:lnTo>
                  <a:lnTo>
                    <a:pt x="1688" y="138"/>
                  </a:lnTo>
                  <a:lnTo>
                    <a:pt x="1683" y="139"/>
                  </a:lnTo>
                  <a:lnTo>
                    <a:pt x="1677" y="140"/>
                  </a:lnTo>
                  <a:lnTo>
                    <a:pt x="1671" y="140"/>
                  </a:lnTo>
                  <a:lnTo>
                    <a:pt x="1654" y="140"/>
                  </a:lnTo>
                  <a:lnTo>
                    <a:pt x="1654" y="223"/>
                  </a:lnTo>
                  <a:lnTo>
                    <a:pt x="1619" y="223"/>
                  </a:lnTo>
                  <a:lnTo>
                    <a:pt x="1619" y="2"/>
                  </a:lnTo>
                  <a:lnTo>
                    <a:pt x="1671" y="2"/>
                  </a:lnTo>
                  <a:lnTo>
                    <a:pt x="1677" y="2"/>
                  </a:lnTo>
                  <a:lnTo>
                    <a:pt x="1683" y="3"/>
                  </a:lnTo>
                  <a:lnTo>
                    <a:pt x="1688" y="4"/>
                  </a:lnTo>
                  <a:lnTo>
                    <a:pt x="1693" y="6"/>
                  </a:lnTo>
                  <a:lnTo>
                    <a:pt x="1698" y="8"/>
                  </a:lnTo>
                  <a:lnTo>
                    <a:pt x="1702" y="10"/>
                  </a:lnTo>
                  <a:lnTo>
                    <a:pt x="1706" y="13"/>
                  </a:lnTo>
                  <a:lnTo>
                    <a:pt x="1710" y="16"/>
                  </a:lnTo>
                  <a:lnTo>
                    <a:pt x="1713" y="20"/>
                  </a:lnTo>
                  <a:lnTo>
                    <a:pt x="1715" y="24"/>
                  </a:lnTo>
                  <a:lnTo>
                    <a:pt x="1717" y="28"/>
                  </a:lnTo>
                  <a:lnTo>
                    <a:pt x="1719" y="33"/>
                  </a:lnTo>
                  <a:lnTo>
                    <a:pt x="1722" y="44"/>
                  </a:lnTo>
                  <a:lnTo>
                    <a:pt x="1722" y="50"/>
                  </a:lnTo>
                  <a:lnTo>
                    <a:pt x="1722" y="57"/>
                  </a:lnTo>
                  <a:close/>
                  <a:moveTo>
                    <a:pt x="1654" y="34"/>
                  </a:moveTo>
                  <a:lnTo>
                    <a:pt x="1654" y="109"/>
                  </a:lnTo>
                  <a:lnTo>
                    <a:pt x="1671" y="109"/>
                  </a:lnTo>
                  <a:lnTo>
                    <a:pt x="1675" y="108"/>
                  </a:lnTo>
                  <a:lnTo>
                    <a:pt x="1678" y="108"/>
                  </a:lnTo>
                  <a:lnTo>
                    <a:pt x="1681" y="106"/>
                  </a:lnTo>
                  <a:lnTo>
                    <a:pt x="1683" y="104"/>
                  </a:lnTo>
                  <a:lnTo>
                    <a:pt x="1685" y="101"/>
                  </a:lnTo>
                  <a:lnTo>
                    <a:pt x="1687" y="98"/>
                  </a:lnTo>
                  <a:lnTo>
                    <a:pt x="1687" y="95"/>
                  </a:lnTo>
                  <a:lnTo>
                    <a:pt x="1687" y="93"/>
                  </a:lnTo>
                  <a:lnTo>
                    <a:pt x="1688" y="88"/>
                  </a:lnTo>
                  <a:lnTo>
                    <a:pt x="1688" y="55"/>
                  </a:lnTo>
                  <a:lnTo>
                    <a:pt x="1687" y="49"/>
                  </a:lnTo>
                  <a:lnTo>
                    <a:pt x="1687" y="45"/>
                  </a:lnTo>
                  <a:lnTo>
                    <a:pt x="1685" y="41"/>
                  </a:lnTo>
                  <a:lnTo>
                    <a:pt x="1683" y="38"/>
                  </a:lnTo>
                  <a:lnTo>
                    <a:pt x="1681" y="36"/>
                  </a:lnTo>
                  <a:lnTo>
                    <a:pt x="1678" y="35"/>
                  </a:lnTo>
                  <a:lnTo>
                    <a:pt x="1675" y="34"/>
                  </a:lnTo>
                  <a:lnTo>
                    <a:pt x="1671" y="34"/>
                  </a:lnTo>
                  <a:lnTo>
                    <a:pt x="1654" y="34"/>
                  </a:lnTo>
                  <a:close/>
                  <a:moveTo>
                    <a:pt x="1851" y="57"/>
                  </a:moveTo>
                  <a:lnTo>
                    <a:pt x="1851" y="85"/>
                  </a:lnTo>
                  <a:lnTo>
                    <a:pt x="1851" y="92"/>
                  </a:lnTo>
                  <a:lnTo>
                    <a:pt x="1850" y="98"/>
                  </a:lnTo>
                  <a:lnTo>
                    <a:pt x="1849" y="104"/>
                  </a:lnTo>
                  <a:lnTo>
                    <a:pt x="1848" y="109"/>
                  </a:lnTo>
                  <a:lnTo>
                    <a:pt x="1846" y="114"/>
                  </a:lnTo>
                  <a:lnTo>
                    <a:pt x="1844" y="118"/>
                  </a:lnTo>
                  <a:lnTo>
                    <a:pt x="1841" y="122"/>
                  </a:lnTo>
                  <a:lnTo>
                    <a:pt x="1838" y="126"/>
                  </a:lnTo>
                  <a:lnTo>
                    <a:pt x="1835" y="129"/>
                  </a:lnTo>
                  <a:lnTo>
                    <a:pt x="1831" y="132"/>
                  </a:lnTo>
                  <a:lnTo>
                    <a:pt x="1827" y="135"/>
                  </a:lnTo>
                  <a:lnTo>
                    <a:pt x="1822" y="137"/>
                  </a:lnTo>
                  <a:lnTo>
                    <a:pt x="1817" y="138"/>
                  </a:lnTo>
                  <a:lnTo>
                    <a:pt x="1811" y="139"/>
                  </a:lnTo>
                  <a:lnTo>
                    <a:pt x="1806" y="140"/>
                  </a:lnTo>
                  <a:lnTo>
                    <a:pt x="1799" y="140"/>
                  </a:lnTo>
                  <a:lnTo>
                    <a:pt x="1783" y="140"/>
                  </a:lnTo>
                  <a:lnTo>
                    <a:pt x="1783" y="223"/>
                  </a:lnTo>
                  <a:lnTo>
                    <a:pt x="1748" y="223"/>
                  </a:lnTo>
                  <a:lnTo>
                    <a:pt x="1748" y="2"/>
                  </a:lnTo>
                  <a:lnTo>
                    <a:pt x="1799" y="2"/>
                  </a:lnTo>
                  <a:lnTo>
                    <a:pt x="1806" y="2"/>
                  </a:lnTo>
                  <a:lnTo>
                    <a:pt x="1811" y="3"/>
                  </a:lnTo>
                  <a:lnTo>
                    <a:pt x="1817" y="4"/>
                  </a:lnTo>
                  <a:lnTo>
                    <a:pt x="1822" y="6"/>
                  </a:lnTo>
                  <a:lnTo>
                    <a:pt x="1827" y="8"/>
                  </a:lnTo>
                  <a:lnTo>
                    <a:pt x="1831" y="10"/>
                  </a:lnTo>
                  <a:lnTo>
                    <a:pt x="1835" y="13"/>
                  </a:lnTo>
                  <a:lnTo>
                    <a:pt x="1838" y="16"/>
                  </a:lnTo>
                  <a:lnTo>
                    <a:pt x="1841" y="20"/>
                  </a:lnTo>
                  <a:lnTo>
                    <a:pt x="1844" y="24"/>
                  </a:lnTo>
                  <a:lnTo>
                    <a:pt x="1846" y="28"/>
                  </a:lnTo>
                  <a:lnTo>
                    <a:pt x="1848" y="33"/>
                  </a:lnTo>
                  <a:lnTo>
                    <a:pt x="1850" y="44"/>
                  </a:lnTo>
                  <a:lnTo>
                    <a:pt x="1851" y="50"/>
                  </a:lnTo>
                  <a:lnTo>
                    <a:pt x="1851" y="57"/>
                  </a:lnTo>
                  <a:close/>
                  <a:moveTo>
                    <a:pt x="1783" y="34"/>
                  </a:moveTo>
                  <a:lnTo>
                    <a:pt x="1783" y="109"/>
                  </a:lnTo>
                  <a:lnTo>
                    <a:pt x="1799" y="109"/>
                  </a:lnTo>
                  <a:lnTo>
                    <a:pt x="1803" y="108"/>
                  </a:lnTo>
                  <a:lnTo>
                    <a:pt x="1807" y="108"/>
                  </a:lnTo>
                  <a:lnTo>
                    <a:pt x="1810" y="106"/>
                  </a:lnTo>
                  <a:lnTo>
                    <a:pt x="1812" y="104"/>
                  </a:lnTo>
                  <a:lnTo>
                    <a:pt x="1814" y="101"/>
                  </a:lnTo>
                  <a:lnTo>
                    <a:pt x="1815" y="98"/>
                  </a:lnTo>
                  <a:lnTo>
                    <a:pt x="1816" y="95"/>
                  </a:lnTo>
                  <a:lnTo>
                    <a:pt x="1816" y="93"/>
                  </a:lnTo>
                  <a:lnTo>
                    <a:pt x="1816" y="88"/>
                  </a:lnTo>
                  <a:lnTo>
                    <a:pt x="1816" y="55"/>
                  </a:lnTo>
                  <a:lnTo>
                    <a:pt x="1816" y="49"/>
                  </a:lnTo>
                  <a:lnTo>
                    <a:pt x="1815" y="45"/>
                  </a:lnTo>
                  <a:lnTo>
                    <a:pt x="1814" y="41"/>
                  </a:lnTo>
                  <a:lnTo>
                    <a:pt x="1812" y="38"/>
                  </a:lnTo>
                  <a:lnTo>
                    <a:pt x="1810" y="36"/>
                  </a:lnTo>
                  <a:lnTo>
                    <a:pt x="1807" y="35"/>
                  </a:lnTo>
                  <a:lnTo>
                    <a:pt x="1803" y="34"/>
                  </a:lnTo>
                  <a:lnTo>
                    <a:pt x="1799" y="34"/>
                  </a:lnTo>
                  <a:lnTo>
                    <a:pt x="1783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5214654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B25E495-3148-48CA-BA4B-541B629F4D70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6"/>
            <p:cNvSpPr>
              <a:spLocks noChangeAspect="1" noEditPoints="1"/>
            </p:cNvSpPr>
            <p:nvPr userDrawn="1"/>
          </p:nvSpPr>
          <p:spPr bwMode="auto">
            <a:xfrm>
              <a:off x="8908139" y="6472998"/>
              <a:ext cx="1865548" cy="212400"/>
            </a:xfrm>
            <a:custGeom>
              <a:avLst/>
              <a:gdLst>
                <a:gd name="T0" fmla="*/ 1899 w 1985"/>
                <a:gd name="T1" fmla="*/ 2 h 226"/>
                <a:gd name="T2" fmla="*/ 67 w 1985"/>
                <a:gd name="T3" fmla="*/ 143 h 226"/>
                <a:gd name="T4" fmla="*/ 59 w 1985"/>
                <a:gd name="T5" fmla="*/ 2 h 226"/>
                <a:gd name="T6" fmla="*/ 99 w 1985"/>
                <a:gd name="T7" fmla="*/ 26 h 226"/>
                <a:gd name="T8" fmla="*/ 95 w 1985"/>
                <a:gd name="T9" fmla="*/ 104 h 226"/>
                <a:gd name="T10" fmla="*/ 99 w 1985"/>
                <a:gd name="T11" fmla="*/ 133 h 226"/>
                <a:gd name="T12" fmla="*/ 106 w 1985"/>
                <a:gd name="T13" fmla="*/ 217 h 226"/>
                <a:gd name="T14" fmla="*/ 68 w 1985"/>
                <a:gd name="T15" fmla="*/ 89 h 226"/>
                <a:gd name="T16" fmla="*/ 52 w 1985"/>
                <a:gd name="T17" fmla="*/ 34 h 226"/>
                <a:gd name="T18" fmla="*/ 168 w 1985"/>
                <a:gd name="T19" fmla="*/ 153 h 226"/>
                <a:gd name="T20" fmla="*/ 316 w 1985"/>
                <a:gd name="T21" fmla="*/ 183 h 226"/>
                <a:gd name="T22" fmla="*/ 493 w 1985"/>
                <a:gd name="T23" fmla="*/ 223 h 226"/>
                <a:gd name="T24" fmla="*/ 668 w 1985"/>
                <a:gd name="T25" fmla="*/ 11 h 226"/>
                <a:gd name="T26" fmla="*/ 652 w 1985"/>
                <a:gd name="T27" fmla="*/ 62 h 226"/>
                <a:gd name="T28" fmla="*/ 631 w 1985"/>
                <a:gd name="T29" fmla="*/ 31 h 226"/>
                <a:gd name="T30" fmla="*/ 623 w 1985"/>
                <a:gd name="T31" fmla="*/ 75 h 226"/>
                <a:gd name="T32" fmla="*/ 682 w 1985"/>
                <a:gd name="T33" fmla="*/ 149 h 226"/>
                <a:gd name="T34" fmla="*/ 675 w 1985"/>
                <a:gd name="T35" fmla="*/ 208 h 226"/>
                <a:gd name="T36" fmla="*/ 621 w 1985"/>
                <a:gd name="T37" fmla="*/ 225 h 226"/>
                <a:gd name="T38" fmla="*/ 583 w 1985"/>
                <a:gd name="T39" fmla="*/ 188 h 226"/>
                <a:gd name="T40" fmla="*/ 622 w 1985"/>
                <a:gd name="T41" fmla="*/ 191 h 226"/>
                <a:gd name="T42" fmla="*/ 650 w 1985"/>
                <a:gd name="T43" fmla="*/ 178 h 226"/>
                <a:gd name="T44" fmla="*/ 604 w 1985"/>
                <a:gd name="T45" fmla="*/ 108 h 226"/>
                <a:gd name="T46" fmla="*/ 583 w 1985"/>
                <a:gd name="T47" fmla="*/ 43 h 226"/>
                <a:gd name="T48" fmla="*/ 616 w 1985"/>
                <a:gd name="T49" fmla="*/ 2 h 226"/>
                <a:gd name="T50" fmla="*/ 713 w 1985"/>
                <a:gd name="T51" fmla="*/ 223 h 226"/>
                <a:gd name="T52" fmla="*/ 950 w 1985"/>
                <a:gd name="T53" fmla="*/ 65 h 226"/>
                <a:gd name="T54" fmla="*/ 1051 w 1985"/>
                <a:gd name="T55" fmla="*/ 223 h 226"/>
                <a:gd name="T56" fmla="*/ 1170 w 1985"/>
                <a:gd name="T57" fmla="*/ 14 h 226"/>
                <a:gd name="T58" fmla="*/ 1150 w 1985"/>
                <a:gd name="T59" fmla="*/ 53 h 226"/>
                <a:gd name="T60" fmla="*/ 1125 w 1985"/>
                <a:gd name="T61" fmla="*/ 32 h 226"/>
                <a:gd name="T62" fmla="*/ 1126 w 1985"/>
                <a:gd name="T63" fmla="*/ 82 h 226"/>
                <a:gd name="T64" fmla="*/ 1181 w 1985"/>
                <a:gd name="T65" fmla="*/ 154 h 226"/>
                <a:gd name="T66" fmla="*/ 1170 w 1985"/>
                <a:gd name="T67" fmla="*/ 211 h 226"/>
                <a:gd name="T68" fmla="*/ 1114 w 1985"/>
                <a:gd name="T69" fmla="*/ 224 h 226"/>
                <a:gd name="T70" fmla="*/ 1080 w 1985"/>
                <a:gd name="T71" fmla="*/ 183 h 226"/>
                <a:gd name="T72" fmla="*/ 1123 w 1985"/>
                <a:gd name="T73" fmla="*/ 193 h 226"/>
                <a:gd name="T74" fmla="*/ 1148 w 1985"/>
                <a:gd name="T75" fmla="*/ 172 h 226"/>
                <a:gd name="T76" fmla="*/ 1096 w 1985"/>
                <a:gd name="T77" fmla="*/ 101 h 226"/>
                <a:gd name="T78" fmla="*/ 1082 w 1985"/>
                <a:gd name="T79" fmla="*/ 37 h 226"/>
                <a:gd name="T80" fmla="*/ 1120 w 1985"/>
                <a:gd name="T81" fmla="*/ 0 h 226"/>
                <a:gd name="T82" fmla="*/ 1326 w 1985"/>
                <a:gd name="T83" fmla="*/ 2 h 226"/>
                <a:gd name="T84" fmla="*/ 1376 w 1985"/>
                <a:gd name="T85" fmla="*/ 2 h 226"/>
                <a:gd name="T86" fmla="*/ 1522 w 1985"/>
                <a:gd name="T87" fmla="*/ 186 h 226"/>
                <a:gd name="T88" fmla="*/ 1552 w 1985"/>
                <a:gd name="T89" fmla="*/ 186 h 226"/>
                <a:gd name="T90" fmla="*/ 1583 w 1985"/>
                <a:gd name="T91" fmla="*/ 199 h 226"/>
                <a:gd name="T92" fmla="*/ 1536 w 1985"/>
                <a:gd name="T93" fmla="*/ 226 h 226"/>
                <a:gd name="T94" fmla="*/ 1489 w 1985"/>
                <a:gd name="T95" fmla="*/ 199 h 226"/>
                <a:gd name="T96" fmla="*/ 1722 w 1985"/>
                <a:gd name="T97" fmla="*/ 98 h 226"/>
                <a:gd name="T98" fmla="*/ 1688 w 1985"/>
                <a:gd name="T99" fmla="*/ 138 h 226"/>
                <a:gd name="T100" fmla="*/ 1688 w 1985"/>
                <a:gd name="T101" fmla="*/ 4 h 226"/>
                <a:gd name="T102" fmla="*/ 1722 w 1985"/>
                <a:gd name="T103" fmla="*/ 50 h 226"/>
                <a:gd name="T104" fmla="*/ 1687 w 1985"/>
                <a:gd name="T105" fmla="*/ 95 h 226"/>
                <a:gd name="T106" fmla="*/ 1671 w 1985"/>
                <a:gd name="T107" fmla="*/ 34 h 226"/>
                <a:gd name="T108" fmla="*/ 1838 w 1985"/>
                <a:gd name="T109" fmla="*/ 126 h 226"/>
                <a:gd name="T110" fmla="*/ 1748 w 1985"/>
                <a:gd name="T111" fmla="*/ 223 h 226"/>
                <a:gd name="T112" fmla="*/ 1841 w 1985"/>
                <a:gd name="T113" fmla="*/ 20 h 226"/>
                <a:gd name="T114" fmla="*/ 1807 w 1985"/>
                <a:gd name="T115" fmla="*/ 108 h 226"/>
                <a:gd name="T116" fmla="*/ 1814 w 1985"/>
                <a:gd name="T117" fmla="*/ 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5" h="226">
                  <a:moveTo>
                    <a:pt x="1906" y="153"/>
                  </a:moveTo>
                  <a:lnTo>
                    <a:pt x="1939" y="153"/>
                  </a:lnTo>
                  <a:lnTo>
                    <a:pt x="1922" y="41"/>
                  </a:lnTo>
                  <a:lnTo>
                    <a:pt x="1906" y="153"/>
                  </a:lnTo>
                  <a:close/>
                  <a:moveTo>
                    <a:pt x="1985" y="223"/>
                  </a:moveTo>
                  <a:lnTo>
                    <a:pt x="1950" y="223"/>
                  </a:lnTo>
                  <a:lnTo>
                    <a:pt x="1944" y="183"/>
                  </a:lnTo>
                  <a:lnTo>
                    <a:pt x="1901" y="183"/>
                  </a:lnTo>
                  <a:lnTo>
                    <a:pt x="1895" y="223"/>
                  </a:lnTo>
                  <a:lnTo>
                    <a:pt x="1863" y="223"/>
                  </a:lnTo>
                  <a:lnTo>
                    <a:pt x="1899" y="2"/>
                  </a:lnTo>
                  <a:lnTo>
                    <a:pt x="1950" y="2"/>
                  </a:lnTo>
                  <a:lnTo>
                    <a:pt x="1985" y="223"/>
                  </a:lnTo>
                  <a:close/>
                  <a:moveTo>
                    <a:pt x="73" y="223"/>
                  </a:moveTo>
                  <a:lnTo>
                    <a:pt x="72" y="219"/>
                  </a:lnTo>
                  <a:lnTo>
                    <a:pt x="71" y="214"/>
                  </a:lnTo>
                  <a:lnTo>
                    <a:pt x="70" y="207"/>
                  </a:lnTo>
                  <a:lnTo>
                    <a:pt x="70" y="196"/>
                  </a:lnTo>
                  <a:lnTo>
                    <a:pt x="70" y="161"/>
                  </a:lnTo>
                  <a:lnTo>
                    <a:pt x="69" y="154"/>
                  </a:lnTo>
                  <a:lnTo>
                    <a:pt x="68" y="148"/>
                  </a:lnTo>
                  <a:lnTo>
                    <a:pt x="67" y="143"/>
                  </a:lnTo>
                  <a:lnTo>
                    <a:pt x="64" y="140"/>
                  </a:lnTo>
                  <a:lnTo>
                    <a:pt x="61" y="137"/>
                  </a:lnTo>
                  <a:lnTo>
                    <a:pt x="57" y="135"/>
                  </a:lnTo>
                  <a:lnTo>
                    <a:pt x="52" y="134"/>
                  </a:lnTo>
                  <a:lnTo>
                    <a:pt x="47" y="133"/>
                  </a:lnTo>
                  <a:lnTo>
                    <a:pt x="35" y="133"/>
                  </a:lnTo>
                  <a:lnTo>
                    <a:pt x="35" y="223"/>
                  </a:lnTo>
                  <a:lnTo>
                    <a:pt x="0" y="223"/>
                  </a:lnTo>
                  <a:lnTo>
                    <a:pt x="0" y="2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65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6" y="5"/>
                  </a:lnTo>
                  <a:lnTo>
                    <a:pt x="80" y="7"/>
                  </a:lnTo>
                  <a:lnTo>
                    <a:pt x="85" y="9"/>
                  </a:lnTo>
                  <a:lnTo>
                    <a:pt x="88" y="12"/>
                  </a:lnTo>
                  <a:lnTo>
                    <a:pt x="92" y="15"/>
                  </a:lnTo>
                  <a:lnTo>
                    <a:pt x="95" y="18"/>
                  </a:lnTo>
                  <a:lnTo>
                    <a:pt x="97" y="22"/>
                  </a:lnTo>
                  <a:lnTo>
                    <a:pt x="99" y="26"/>
                  </a:lnTo>
                  <a:lnTo>
                    <a:pt x="101" y="31"/>
                  </a:lnTo>
                  <a:lnTo>
                    <a:pt x="102" y="36"/>
                  </a:lnTo>
                  <a:lnTo>
                    <a:pt x="103" y="41"/>
                  </a:lnTo>
                  <a:lnTo>
                    <a:pt x="104" y="47"/>
                  </a:lnTo>
                  <a:lnTo>
                    <a:pt x="104" y="53"/>
                  </a:lnTo>
                  <a:lnTo>
                    <a:pt x="104" y="70"/>
                  </a:lnTo>
                  <a:lnTo>
                    <a:pt x="104" y="78"/>
                  </a:lnTo>
                  <a:lnTo>
                    <a:pt x="103" y="86"/>
                  </a:lnTo>
                  <a:lnTo>
                    <a:pt x="101" y="93"/>
                  </a:lnTo>
                  <a:lnTo>
                    <a:pt x="99" y="99"/>
                  </a:lnTo>
                  <a:lnTo>
                    <a:pt x="95" y="104"/>
                  </a:lnTo>
                  <a:lnTo>
                    <a:pt x="93" y="106"/>
                  </a:lnTo>
                  <a:lnTo>
                    <a:pt x="91" y="108"/>
                  </a:lnTo>
                  <a:lnTo>
                    <a:pt x="89" y="110"/>
                  </a:lnTo>
                  <a:lnTo>
                    <a:pt x="87" y="112"/>
                  </a:lnTo>
                  <a:lnTo>
                    <a:pt x="84" y="114"/>
                  </a:lnTo>
                  <a:lnTo>
                    <a:pt x="81" y="115"/>
                  </a:lnTo>
                  <a:lnTo>
                    <a:pt x="87" y="118"/>
                  </a:lnTo>
                  <a:lnTo>
                    <a:pt x="92" y="122"/>
                  </a:lnTo>
                  <a:lnTo>
                    <a:pt x="96" y="127"/>
                  </a:lnTo>
                  <a:lnTo>
                    <a:pt x="98" y="130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2" y="139"/>
                  </a:lnTo>
                  <a:lnTo>
                    <a:pt x="103" y="143"/>
                  </a:lnTo>
                  <a:lnTo>
                    <a:pt x="103" y="146"/>
                  </a:lnTo>
                  <a:lnTo>
                    <a:pt x="104" y="154"/>
                  </a:lnTo>
                  <a:lnTo>
                    <a:pt x="104" y="162"/>
                  </a:lnTo>
                  <a:lnTo>
                    <a:pt x="104" y="196"/>
                  </a:lnTo>
                  <a:lnTo>
                    <a:pt x="105" y="204"/>
                  </a:lnTo>
                  <a:lnTo>
                    <a:pt x="105" y="211"/>
                  </a:lnTo>
                  <a:lnTo>
                    <a:pt x="105" y="214"/>
                  </a:lnTo>
                  <a:lnTo>
                    <a:pt x="106" y="217"/>
                  </a:lnTo>
                  <a:lnTo>
                    <a:pt x="108" y="223"/>
                  </a:lnTo>
                  <a:lnTo>
                    <a:pt x="73" y="223"/>
                  </a:lnTo>
                  <a:close/>
                  <a:moveTo>
                    <a:pt x="35" y="34"/>
                  </a:moveTo>
                  <a:lnTo>
                    <a:pt x="35" y="102"/>
                  </a:lnTo>
                  <a:lnTo>
                    <a:pt x="48" y="102"/>
                  </a:lnTo>
                  <a:lnTo>
                    <a:pt x="53" y="101"/>
                  </a:lnTo>
                  <a:lnTo>
                    <a:pt x="57" y="100"/>
                  </a:lnTo>
                  <a:lnTo>
                    <a:pt x="61" y="99"/>
                  </a:lnTo>
                  <a:lnTo>
                    <a:pt x="64" y="97"/>
                  </a:lnTo>
                  <a:lnTo>
                    <a:pt x="66" y="93"/>
                  </a:lnTo>
                  <a:lnTo>
                    <a:pt x="68" y="89"/>
                  </a:lnTo>
                  <a:lnTo>
                    <a:pt x="69" y="84"/>
                  </a:lnTo>
                  <a:lnTo>
                    <a:pt x="69" y="78"/>
                  </a:lnTo>
                  <a:lnTo>
                    <a:pt x="69" y="56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5" y="39"/>
                  </a:lnTo>
                  <a:lnTo>
                    <a:pt x="63" y="37"/>
                  </a:lnTo>
                  <a:lnTo>
                    <a:pt x="60" y="35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35" y="34"/>
                  </a:lnTo>
                  <a:close/>
                  <a:moveTo>
                    <a:pt x="248" y="223"/>
                  </a:moveTo>
                  <a:lnTo>
                    <a:pt x="212" y="223"/>
                  </a:lnTo>
                  <a:lnTo>
                    <a:pt x="206" y="183"/>
                  </a:lnTo>
                  <a:lnTo>
                    <a:pt x="164" y="183"/>
                  </a:lnTo>
                  <a:lnTo>
                    <a:pt x="158" y="223"/>
                  </a:lnTo>
                  <a:lnTo>
                    <a:pt x="126" y="223"/>
                  </a:lnTo>
                  <a:lnTo>
                    <a:pt x="161" y="2"/>
                  </a:lnTo>
                  <a:lnTo>
                    <a:pt x="212" y="2"/>
                  </a:lnTo>
                  <a:lnTo>
                    <a:pt x="248" y="223"/>
                  </a:lnTo>
                  <a:close/>
                  <a:moveTo>
                    <a:pt x="168" y="153"/>
                  </a:moveTo>
                  <a:lnTo>
                    <a:pt x="202" y="153"/>
                  </a:lnTo>
                  <a:lnTo>
                    <a:pt x="185" y="41"/>
                  </a:lnTo>
                  <a:lnTo>
                    <a:pt x="168" y="153"/>
                  </a:lnTo>
                  <a:close/>
                  <a:moveTo>
                    <a:pt x="316" y="183"/>
                  </a:moveTo>
                  <a:lnTo>
                    <a:pt x="343" y="2"/>
                  </a:lnTo>
                  <a:lnTo>
                    <a:pt x="375" y="2"/>
                  </a:lnTo>
                  <a:lnTo>
                    <a:pt x="340" y="223"/>
                  </a:lnTo>
                  <a:lnTo>
                    <a:pt x="289" y="223"/>
                  </a:lnTo>
                  <a:lnTo>
                    <a:pt x="254" y="2"/>
                  </a:lnTo>
                  <a:lnTo>
                    <a:pt x="290" y="2"/>
                  </a:lnTo>
                  <a:lnTo>
                    <a:pt x="316" y="183"/>
                  </a:lnTo>
                  <a:close/>
                  <a:moveTo>
                    <a:pt x="398" y="2"/>
                  </a:moveTo>
                  <a:lnTo>
                    <a:pt x="433" y="2"/>
                  </a:lnTo>
                  <a:lnTo>
                    <a:pt x="433" y="223"/>
                  </a:lnTo>
                  <a:lnTo>
                    <a:pt x="398" y="223"/>
                  </a:lnTo>
                  <a:lnTo>
                    <a:pt x="398" y="2"/>
                  </a:lnTo>
                  <a:close/>
                  <a:moveTo>
                    <a:pt x="456" y="2"/>
                  </a:moveTo>
                  <a:lnTo>
                    <a:pt x="564" y="2"/>
                  </a:lnTo>
                  <a:lnTo>
                    <a:pt x="564" y="34"/>
                  </a:lnTo>
                  <a:lnTo>
                    <a:pt x="527" y="34"/>
                  </a:lnTo>
                  <a:lnTo>
                    <a:pt x="527" y="223"/>
                  </a:lnTo>
                  <a:lnTo>
                    <a:pt x="493" y="223"/>
                  </a:lnTo>
                  <a:lnTo>
                    <a:pt x="493" y="34"/>
                  </a:lnTo>
                  <a:lnTo>
                    <a:pt x="456" y="34"/>
                  </a:lnTo>
                  <a:lnTo>
                    <a:pt x="456" y="2"/>
                  </a:lnTo>
                  <a:close/>
                  <a:moveTo>
                    <a:pt x="634" y="0"/>
                  </a:moveTo>
                  <a:lnTo>
                    <a:pt x="640" y="0"/>
                  </a:lnTo>
                  <a:lnTo>
                    <a:pt x="645" y="0"/>
                  </a:lnTo>
                  <a:lnTo>
                    <a:pt x="651" y="2"/>
                  </a:lnTo>
                  <a:lnTo>
                    <a:pt x="656" y="3"/>
                  </a:lnTo>
                  <a:lnTo>
                    <a:pt x="660" y="5"/>
                  </a:lnTo>
                  <a:lnTo>
                    <a:pt x="665" y="8"/>
                  </a:lnTo>
                  <a:lnTo>
                    <a:pt x="668" y="11"/>
                  </a:lnTo>
                  <a:lnTo>
                    <a:pt x="672" y="14"/>
                  </a:lnTo>
                  <a:lnTo>
                    <a:pt x="675" y="18"/>
                  </a:lnTo>
                  <a:lnTo>
                    <a:pt x="677" y="22"/>
                  </a:lnTo>
                  <a:lnTo>
                    <a:pt x="680" y="27"/>
                  </a:lnTo>
                  <a:lnTo>
                    <a:pt x="681" y="32"/>
                  </a:lnTo>
                  <a:lnTo>
                    <a:pt x="683" y="37"/>
                  </a:lnTo>
                  <a:lnTo>
                    <a:pt x="684" y="43"/>
                  </a:lnTo>
                  <a:lnTo>
                    <a:pt x="685" y="49"/>
                  </a:lnTo>
                  <a:lnTo>
                    <a:pt x="685" y="55"/>
                  </a:lnTo>
                  <a:lnTo>
                    <a:pt x="685" y="62"/>
                  </a:lnTo>
                  <a:lnTo>
                    <a:pt x="652" y="62"/>
                  </a:lnTo>
                  <a:lnTo>
                    <a:pt x="652" y="53"/>
                  </a:lnTo>
                  <a:lnTo>
                    <a:pt x="652" y="47"/>
                  </a:lnTo>
                  <a:lnTo>
                    <a:pt x="651" y="43"/>
                  </a:lnTo>
                  <a:lnTo>
                    <a:pt x="650" y="41"/>
                  </a:lnTo>
                  <a:lnTo>
                    <a:pt x="649" y="39"/>
                  </a:lnTo>
                  <a:lnTo>
                    <a:pt x="647" y="36"/>
                  </a:lnTo>
                  <a:lnTo>
                    <a:pt x="645" y="34"/>
                  </a:lnTo>
                  <a:lnTo>
                    <a:pt x="642" y="32"/>
                  </a:lnTo>
                  <a:lnTo>
                    <a:pt x="638" y="31"/>
                  </a:lnTo>
                  <a:lnTo>
                    <a:pt x="634" y="31"/>
                  </a:lnTo>
                  <a:lnTo>
                    <a:pt x="631" y="31"/>
                  </a:lnTo>
                  <a:lnTo>
                    <a:pt x="627" y="32"/>
                  </a:lnTo>
                  <a:lnTo>
                    <a:pt x="624" y="34"/>
                  </a:lnTo>
                  <a:lnTo>
                    <a:pt x="622" y="36"/>
                  </a:lnTo>
                  <a:lnTo>
                    <a:pt x="620" y="39"/>
                  </a:lnTo>
                  <a:lnTo>
                    <a:pt x="618" y="43"/>
                  </a:lnTo>
                  <a:lnTo>
                    <a:pt x="617" y="47"/>
                  </a:lnTo>
                  <a:lnTo>
                    <a:pt x="617" y="53"/>
                  </a:lnTo>
                  <a:lnTo>
                    <a:pt x="617" y="57"/>
                  </a:lnTo>
                  <a:lnTo>
                    <a:pt x="618" y="61"/>
                  </a:lnTo>
                  <a:lnTo>
                    <a:pt x="620" y="68"/>
                  </a:lnTo>
                  <a:lnTo>
                    <a:pt x="623" y="75"/>
                  </a:lnTo>
                  <a:lnTo>
                    <a:pt x="628" y="82"/>
                  </a:lnTo>
                  <a:lnTo>
                    <a:pt x="633" y="88"/>
                  </a:lnTo>
                  <a:lnTo>
                    <a:pt x="639" y="93"/>
                  </a:lnTo>
                  <a:lnTo>
                    <a:pt x="651" y="105"/>
                  </a:lnTo>
                  <a:lnTo>
                    <a:pt x="657" y="111"/>
                  </a:lnTo>
                  <a:lnTo>
                    <a:pt x="664" y="117"/>
                  </a:lnTo>
                  <a:lnTo>
                    <a:pt x="669" y="124"/>
                  </a:lnTo>
                  <a:lnTo>
                    <a:pt x="674" y="132"/>
                  </a:lnTo>
                  <a:lnTo>
                    <a:pt x="679" y="140"/>
                  </a:lnTo>
                  <a:lnTo>
                    <a:pt x="681" y="144"/>
                  </a:lnTo>
                  <a:lnTo>
                    <a:pt x="682" y="149"/>
                  </a:lnTo>
                  <a:lnTo>
                    <a:pt x="683" y="154"/>
                  </a:lnTo>
                  <a:lnTo>
                    <a:pt x="684" y="159"/>
                  </a:lnTo>
                  <a:lnTo>
                    <a:pt x="685" y="164"/>
                  </a:lnTo>
                  <a:lnTo>
                    <a:pt x="685" y="170"/>
                  </a:lnTo>
                  <a:lnTo>
                    <a:pt x="685" y="177"/>
                  </a:lnTo>
                  <a:lnTo>
                    <a:pt x="684" y="183"/>
                  </a:lnTo>
                  <a:lnTo>
                    <a:pt x="683" y="188"/>
                  </a:lnTo>
                  <a:lnTo>
                    <a:pt x="682" y="194"/>
                  </a:lnTo>
                  <a:lnTo>
                    <a:pt x="680" y="199"/>
                  </a:lnTo>
                  <a:lnTo>
                    <a:pt x="678" y="203"/>
                  </a:lnTo>
                  <a:lnTo>
                    <a:pt x="675" y="208"/>
                  </a:lnTo>
                  <a:lnTo>
                    <a:pt x="672" y="211"/>
                  </a:lnTo>
                  <a:lnTo>
                    <a:pt x="668" y="215"/>
                  </a:lnTo>
                  <a:lnTo>
                    <a:pt x="665" y="218"/>
                  </a:lnTo>
                  <a:lnTo>
                    <a:pt x="660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5" y="225"/>
                  </a:lnTo>
                  <a:lnTo>
                    <a:pt x="639" y="226"/>
                  </a:lnTo>
                  <a:lnTo>
                    <a:pt x="633" y="226"/>
                  </a:lnTo>
                  <a:lnTo>
                    <a:pt x="627" y="226"/>
                  </a:lnTo>
                  <a:lnTo>
                    <a:pt x="621" y="225"/>
                  </a:lnTo>
                  <a:lnTo>
                    <a:pt x="616" y="224"/>
                  </a:lnTo>
                  <a:lnTo>
                    <a:pt x="611" y="222"/>
                  </a:lnTo>
                  <a:lnTo>
                    <a:pt x="606" y="220"/>
                  </a:lnTo>
                  <a:lnTo>
                    <a:pt x="602" y="218"/>
                  </a:lnTo>
                  <a:lnTo>
                    <a:pt x="598" y="215"/>
                  </a:lnTo>
                  <a:lnTo>
                    <a:pt x="594" y="211"/>
                  </a:lnTo>
                  <a:lnTo>
                    <a:pt x="591" y="208"/>
                  </a:lnTo>
                  <a:lnTo>
                    <a:pt x="589" y="203"/>
                  </a:lnTo>
                  <a:lnTo>
                    <a:pt x="587" y="199"/>
                  </a:lnTo>
                  <a:lnTo>
                    <a:pt x="585" y="194"/>
                  </a:lnTo>
                  <a:lnTo>
                    <a:pt x="583" y="188"/>
                  </a:lnTo>
                  <a:lnTo>
                    <a:pt x="582" y="183"/>
                  </a:lnTo>
                  <a:lnTo>
                    <a:pt x="582" y="177"/>
                  </a:lnTo>
                  <a:lnTo>
                    <a:pt x="581" y="170"/>
                  </a:lnTo>
                  <a:lnTo>
                    <a:pt x="581" y="157"/>
                  </a:lnTo>
                  <a:lnTo>
                    <a:pt x="614" y="157"/>
                  </a:lnTo>
                  <a:lnTo>
                    <a:pt x="614" y="172"/>
                  </a:lnTo>
                  <a:lnTo>
                    <a:pt x="615" y="178"/>
                  </a:lnTo>
                  <a:lnTo>
                    <a:pt x="616" y="182"/>
                  </a:lnTo>
                  <a:lnTo>
                    <a:pt x="617" y="186"/>
                  </a:lnTo>
                  <a:lnTo>
                    <a:pt x="619" y="189"/>
                  </a:lnTo>
                  <a:lnTo>
                    <a:pt x="622" y="191"/>
                  </a:lnTo>
                  <a:lnTo>
                    <a:pt x="625" y="193"/>
                  </a:lnTo>
                  <a:lnTo>
                    <a:pt x="628" y="194"/>
                  </a:lnTo>
                  <a:lnTo>
                    <a:pt x="632" y="194"/>
                  </a:lnTo>
                  <a:lnTo>
                    <a:pt x="636" y="194"/>
                  </a:lnTo>
                  <a:lnTo>
                    <a:pt x="640" y="193"/>
                  </a:lnTo>
                  <a:lnTo>
                    <a:pt x="643" y="191"/>
                  </a:lnTo>
                  <a:lnTo>
                    <a:pt x="644" y="190"/>
                  </a:lnTo>
                  <a:lnTo>
                    <a:pt x="645" y="189"/>
                  </a:lnTo>
                  <a:lnTo>
                    <a:pt x="647" y="186"/>
                  </a:lnTo>
                  <a:lnTo>
                    <a:pt x="649" y="182"/>
                  </a:lnTo>
                  <a:lnTo>
                    <a:pt x="650" y="178"/>
                  </a:lnTo>
                  <a:lnTo>
                    <a:pt x="650" y="172"/>
                  </a:lnTo>
                  <a:lnTo>
                    <a:pt x="650" y="168"/>
                  </a:lnTo>
                  <a:lnTo>
                    <a:pt x="649" y="164"/>
                  </a:lnTo>
                  <a:lnTo>
                    <a:pt x="647" y="157"/>
                  </a:lnTo>
                  <a:lnTo>
                    <a:pt x="644" y="150"/>
                  </a:lnTo>
                  <a:lnTo>
                    <a:pt x="640" y="144"/>
                  </a:lnTo>
                  <a:lnTo>
                    <a:pt x="635" y="138"/>
                  </a:lnTo>
                  <a:lnTo>
                    <a:pt x="629" y="132"/>
                  </a:lnTo>
                  <a:lnTo>
                    <a:pt x="616" y="120"/>
                  </a:lnTo>
                  <a:lnTo>
                    <a:pt x="610" y="114"/>
                  </a:lnTo>
                  <a:lnTo>
                    <a:pt x="604" y="108"/>
                  </a:lnTo>
                  <a:lnTo>
                    <a:pt x="598" y="101"/>
                  </a:lnTo>
                  <a:lnTo>
                    <a:pt x="593" y="94"/>
                  </a:lnTo>
                  <a:lnTo>
                    <a:pt x="589" y="86"/>
                  </a:lnTo>
                  <a:lnTo>
                    <a:pt x="587" y="81"/>
                  </a:lnTo>
                  <a:lnTo>
                    <a:pt x="585" y="76"/>
                  </a:lnTo>
                  <a:lnTo>
                    <a:pt x="584" y="72"/>
                  </a:lnTo>
                  <a:lnTo>
                    <a:pt x="583" y="66"/>
                  </a:lnTo>
                  <a:lnTo>
                    <a:pt x="583" y="61"/>
                  </a:lnTo>
                  <a:lnTo>
                    <a:pt x="582" y="55"/>
                  </a:lnTo>
                  <a:lnTo>
                    <a:pt x="583" y="49"/>
                  </a:lnTo>
                  <a:lnTo>
                    <a:pt x="583" y="43"/>
                  </a:lnTo>
                  <a:lnTo>
                    <a:pt x="584" y="37"/>
                  </a:lnTo>
                  <a:lnTo>
                    <a:pt x="586" y="32"/>
                  </a:lnTo>
                  <a:lnTo>
                    <a:pt x="587" y="27"/>
                  </a:lnTo>
                  <a:lnTo>
                    <a:pt x="590" y="22"/>
                  </a:lnTo>
                  <a:lnTo>
                    <a:pt x="592" y="18"/>
                  </a:lnTo>
                  <a:lnTo>
                    <a:pt x="595" y="14"/>
                  </a:lnTo>
                  <a:lnTo>
                    <a:pt x="599" y="11"/>
                  </a:lnTo>
                  <a:lnTo>
                    <a:pt x="602" y="8"/>
                  </a:lnTo>
                  <a:lnTo>
                    <a:pt x="607" y="5"/>
                  </a:lnTo>
                  <a:lnTo>
                    <a:pt x="611" y="3"/>
                  </a:lnTo>
                  <a:lnTo>
                    <a:pt x="616" y="2"/>
                  </a:lnTo>
                  <a:lnTo>
                    <a:pt x="622" y="0"/>
                  </a:lnTo>
                  <a:lnTo>
                    <a:pt x="627" y="0"/>
                  </a:lnTo>
                  <a:lnTo>
                    <a:pt x="634" y="0"/>
                  </a:lnTo>
                  <a:close/>
                  <a:moveTo>
                    <a:pt x="748" y="95"/>
                  </a:moveTo>
                  <a:lnTo>
                    <a:pt x="795" y="95"/>
                  </a:lnTo>
                  <a:lnTo>
                    <a:pt x="795" y="127"/>
                  </a:lnTo>
                  <a:lnTo>
                    <a:pt x="748" y="127"/>
                  </a:lnTo>
                  <a:lnTo>
                    <a:pt x="748" y="192"/>
                  </a:lnTo>
                  <a:lnTo>
                    <a:pt x="808" y="192"/>
                  </a:lnTo>
                  <a:lnTo>
                    <a:pt x="808" y="223"/>
                  </a:lnTo>
                  <a:lnTo>
                    <a:pt x="713" y="223"/>
                  </a:lnTo>
                  <a:lnTo>
                    <a:pt x="713" y="2"/>
                  </a:lnTo>
                  <a:lnTo>
                    <a:pt x="808" y="2"/>
                  </a:lnTo>
                  <a:lnTo>
                    <a:pt x="808" y="34"/>
                  </a:lnTo>
                  <a:lnTo>
                    <a:pt x="748" y="34"/>
                  </a:lnTo>
                  <a:lnTo>
                    <a:pt x="748" y="95"/>
                  </a:lnTo>
                  <a:close/>
                  <a:moveTo>
                    <a:pt x="911" y="159"/>
                  </a:moveTo>
                  <a:lnTo>
                    <a:pt x="934" y="2"/>
                  </a:lnTo>
                  <a:lnTo>
                    <a:pt x="983" y="2"/>
                  </a:lnTo>
                  <a:lnTo>
                    <a:pt x="983" y="223"/>
                  </a:lnTo>
                  <a:lnTo>
                    <a:pt x="950" y="223"/>
                  </a:lnTo>
                  <a:lnTo>
                    <a:pt x="950" y="65"/>
                  </a:lnTo>
                  <a:lnTo>
                    <a:pt x="926" y="223"/>
                  </a:lnTo>
                  <a:lnTo>
                    <a:pt x="893" y="223"/>
                  </a:lnTo>
                  <a:lnTo>
                    <a:pt x="867" y="67"/>
                  </a:lnTo>
                  <a:lnTo>
                    <a:pt x="867" y="223"/>
                  </a:lnTo>
                  <a:lnTo>
                    <a:pt x="837" y="223"/>
                  </a:lnTo>
                  <a:lnTo>
                    <a:pt x="837" y="2"/>
                  </a:lnTo>
                  <a:lnTo>
                    <a:pt x="885" y="2"/>
                  </a:lnTo>
                  <a:lnTo>
                    <a:pt x="911" y="159"/>
                  </a:lnTo>
                  <a:close/>
                  <a:moveTo>
                    <a:pt x="1017" y="2"/>
                  </a:moveTo>
                  <a:lnTo>
                    <a:pt x="1051" y="2"/>
                  </a:lnTo>
                  <a:lnTo>
                    <a:pt x="1051" y="223"/>
                  </a:lnTo>
                  <a:lnTo>
                    <a:pt x="1017" y="223"/>
                  </a:lnTo>
                  <a:lnTo>
                    <a:pt x="1017" y="2"/>
                  </a:lnTo>
                  <a:close/>
                  <a:moveTo>
                    <a:pt x="1131" y="0"/>
                  </a:moveTo>
                  <a:lnTo>
                    <a:pt x="1138" y="0"/>
                  </a:lnTo>
                  <a:lnTo>
                    <a:pt x="1143" y="0"/>
                  </a:lnTo>
                  <a:lnTo>
                    <a:pt x="1149" y="2"/>
                  </a:lnTo>
                  <a:lnTo>
                    <a:pt x="1154" y="3"/>
                  </a:lnTo>
                  <a:lnTo>
                    <a:pt x="1158" y="5"/>
                  </a:lnTo>
                  <a:lnTo>
                    <a:pt x="1162" y="8"/>
                  </a:lnTo>
                  <a:lnTo>
                    <a:pt x="1166" y="11"/>
                  </a:lnTo>
                  <a:lnTo>
                    <a:pt x="1170" y="14"/>
                  </a:lnTo>
                  <a:lnTo>
                    <a:pt x="1173" y="18"/>
                  </a:lnTo>
                  <a:lnTo>
                    <a:pt x="1175" y="22"/>
                  </a:lnTo>
                  <a:lnTo>
                    <a:pt x="1178" y="27"/>
                  </a:lnTo>
                  <a:lnTo>
                    <a:pt x="1179" y="32"/>
                  </a:lnTo>
                  <a:lnTo>
                    <a:pt x="1181" y="37"/>
                  </a:lnTo>
                  <a:lnTo>
                    <a:pt x="1182" y="43"/>
                  </a:lnTo>
                  <a:lnTo>
                    <a:pt x="1182" y="49"/>
                  </a:lnTo>
                  <a:lnTo>
                    <a:pt x="1183" y="55"/>
                  </a:lnTo>
                  <a:lnTo>
                    <a:pt x="1183" y="62"/>
                  </a:lnTo>
                  <a:lnTo>
                    <a:pt x="1150" y="62"/>
                  </a:lnTo>
                  <a:lnTo>
                    <a:pt x="1150" y="53"/>
                  </a:lnTo>
                  <a:lnTo>
                    <a:pt x="1149" y="47"/>
                  </a:lnTo>
                  <a:lnTo>
                    <a:pt x="1149" y="43"/>
                  </a:lnTo>
                  <a:lnTo>
                    <a:pt x="1148" y="41"/>
                  </a:lnTo>
                  <a:lnTo>
                    <a:pt x="1147" y="39"/>
                  </a:lnTo>
                  <a:lnTo>
                    <a:pt x="1145" y="36"/>
                  </a:lnTo>
                  <a:lnTo>
                    <a:pt x="1143" y="34"/>
                  </a:lnTo>
                  <a:lnTo>
                    <a:pt x="1140" y="32"/>
                  </a:lnTo>
                  <a:lnTo>
                    <a:pt x="1136" y="31"/>
                  </a:lnTo>
                  <a:lnTo>
                    <a:pt x="1132" y="31"/>
                  </a:lnTo>
                  <a:lnTo>
                    <a:pt x="1128" y="31"/>
                  </a:lnTo>
                  <a:lnTo>
                    <a:pt x="1125" y="32"/>
                  </a:lnTo>
                  <a:lnTo>
                    <a:pt x="1122" y="34"/>
                  </a:lnTo>
                  <a:lnTo>
                    <a:pt x="1120" y="36"/>
                  </a:lnTo>
                  <a:lnTo>
                    <a:pt x="1118" y="39"/>
                  </a:lnTo>
                  <a:lnTo>
                    <a:pt x="1116" y="43"/>
                  </a:lnTo>
                  <a:lnTo>
                    <a:pt x="1115" y="47"/>
                  </a:lnTo>
                  <a:lnTo>
                    <a:pt x="1115" y="53"/>
                  </a:lnTo>
                  <a:lnTo>
                    <a:pt x="1115" y="57"/>
                  </a:lnTo>
                  <a:lnTo>
                    <a:pt x="1116" y="61"/>
                  </a:lnTo>
                  <a:lnTo>
                    <a:pt x="1118" y="68"/>
                  </a:lnTo>
                  <a:lnTo>
                    <a:pt x="1121" y="75"/>
                  </a:lnTo>
                  <a:lnTo>
                    <a:pt x="1126" y="82"/>
                  </a:lnTo>
                  <a:lnTo>
                    <a:pt x="1131" y="88"/>
                  </a:lnTo>
                  <a:lnTo>
                    <a:pt x="1136" y="93"/>
                  </a:lnTo>
                  <a:lnTo>
                    <a:pt x="1149" y="105"/>
                  </a:lnTo>
                  <a:lnTo>
                    <a:pt x="1155" y="111"/>
                  </a:lnTo>
                  <a:lnTo>
                    <a:pt x="1161" y="117"/>
                  </a:lnTo>
                  <a:lnTo>
                    <a:pt x="1167" y="124"/>
                  </a:lnTo>
                  <a:lnTo>
                    <a:pt x="1172" y="132"/>
                  </a:lnTo>
                  <a:lnTo>
                    <a:pt x="1177" y="140"/>
                  </a:lnTo>
                  <a:lnTo>
                    <a:pt x="1178" y="144"/>
                  </a:lnTo>
                  <a:lnTo>
                    <a:pt x="1180" y="149"/>
                  </a:lnTo>
                  <a:lnTo>
                    <a:pt x="1181" y="154"/>
                  </a:lnTo>
                  <a:lnTo>
                    <a:pt x="1182" y="159"/>
                  </a:lnTo>
                  <a:lnTo>
                    <a:pt x="1183" y="164"/>
                  </a:lnTo>
                  <a:lnTo>
                    <a:pt x="1183" y="170"/>
                  </a:lnTo>
                  <a:lnTo>
                    <a:pt x="1183" y="177"/>
                  </a:lnTo>
                  <a:lnTo>
                    <a:pt x="1182" y="183"/>
                  </a:lnTo>
                  <a:lnTo>
                    <a:pt x="1181" y="188"/>
                  </a:lnTo>
                  <a:lnTo>
                    <a:pt x="1180" y="194"/>
                  </a:lnTo>
                  <a:lnTo>
                    <a:pt x="1178" y="199"/>
                  </a:lnTo>
                  <a:lnTo>
                    <a:pt x="1176" y="203"/>
                  </a:lnTo>
                  <a:lnTo>
                    <a:pt x="1173" y="208"/>
                  </a:lnTo>
                  <a:lnTo>
                    <a:pt x="1170" y="211"/>
                  </a:lnTo>
                  <a:lnTo>
                    <a:pt x="1166" y="215"/>
                  </a:lnTo>
                  <a:lnTo>
                    <a:pt x="1162" y="218"/>
                  </a:lnTo>
                  <a:lnTo>
                    <a:pt x="1158" y="220"/>
                  </a:lnTo>
                  <a:lnTo>
                    <a:pt x="1154" y="222"/>
                  </a:lnTo>
                  <a:lnTo>
                    <a:pt x="1149" y="224"/>
                  </a:lnTo>
                  <a:lnTo>
                    <a:pt x="1143" y="225"/>
                  </a:lnTo>
                  <a:lnTo>
                    <a:pt x="1137" y="226"/>
                  </a:lnTo>
                  <a:lnTo>
                    <a:pt x="1131" y="226"/>
                  </a:lnTo>
                  <a:lnTo>
                    <a:pt x="1125" y="226"/>
                  </a:lnTo>
                  <a:lnTo>
                    <a:pt x="1119" y="225"/>
                  </a:lnTo>
                  <a:lnTo>
                    <a:pt x="1114" y="224"/>
                  </a:lnTo>
                  <a:lnTo>
                    <a:pt x="1109" y="222"/>
                  </a:lnTo>
                  <a:lnTo>
                    <a:pt x="1104" y="220"/>
                  </a:lnTo>
                  <a:lnTo>
                    <a:pt x="1100" y="218"/>
                  </a:lnTo>
                  <a:lnTo>
                    <a:pt x="1096" y="215"/>
                  </a:lnTo>
                  <a:lnTo>
                    <a:pt x="1092" y="211"/>
                  </a:lnTo>
                  <a:lnTo>
                    <a:pt x="1089" y="208"/>
                  </a:lnTo>
                  <a:lnTo>
                    <a:pt x="1087" y="203"/>
                  </a:lnTo>
                  <a:lnTo>
                    <a:pt x="1084" y="199"/>
                  </a:lnTo>
                  <a:lnTo>
                    <a:pt x="1083" y="194"/>
                  </a:lnTo>
                  <a:lnTo>
                    <a:pt x="1081" y="188"/>
                  </a:lnTo>
                  <a:lnTo>
                    <a:pt x="1080" y="183"/>
                  </a:lnTo>
                  <a:lnTo>
                    <a:pt x="1079" y="177"/>
                  </a:lnTo>
                  <a:lnTo>
                    <a:pt x="1079" y="170"/>
                  </a:lnTo>
                  <a:lnTo>
                    <a:pt x="1079" y="157"/>
                  </a:lnTo>
                  <a:lnTo>
                    <a:pt x="1112" y="157"/>
                  </a:lnTo>
                  <a:lnTo>
                    <a:pt x="1112" y="172"/>
                  </a:lnTo>
                  <a:lnTo>
                    <a:pt x="1112" y="178"/>
                  </a:lnTo>
                  <a:lnTo>
                    <a:pt x="1113" y="182"/>
                  </a:lnTo>
                  <a:lnTo>
                    <a:pt x="1115" y="186"/>
                  </a:lnTo>
                  <a:lnTo>
                    <a:pt x="1117" y="189"/>
                  </a:lnTo>
                  <a:lnTo>
                    <a:pt x="1120" y="191"/>
                  </a:lnTo>
                  <a:lnTo>
                    <a:pt x="1123" y="193"/>
                  </a:lnTo>
                  <a:lnTo>
                    <a:pt x="1126" y="194"/>
                  </a:lnTo>
                  <a:lnTo>
                    <a:pt x="1130" y="194"/>
                  </a:lnTo>
                  <a:lnTo>
                    <a:pt x="1134" y="194"/>
                  </a:lnTo>
                  <a:lnTo>
                    <a:pt x="1138" y="193"/>
                  </a:lnTo>
                  <a:lnTo>
                    <a:pt x="1141" y="191"/>
                  </a:lnTo>
                  <a:lnTo>
                    <a:pt x="1142" y="190"/>
                  </a:lnTo>
                  <a:lnTo>
                    <a:pt x="1143" y="189"/>
                  </a:lnTo>
                  <a:lnTo>
                    <a:pt x="1145" y="186"/>
                  </a:lnTo>
                  <a:lnTo>
                    <a:pt x="1147" y="182"/>
                  </a:lnTo>
                  <a:lnTo>
                    <a:pt x="1148" y="178"/>
                  </a:lnTo>
                  <a:lnTo>
                    <a:pt x="1148" y="172"/>
                  </a:lnTo>
                  <a:lnTo>
                    <a:pt x="1148" y="168"/>
                  </a:lnTo>
                  <a:lnTo>
                    <a:pt x="1147" y="164"/>
                  </a:lnTo>
                  <a:lnTo>
                    <a:pt x="1145" y="157"/>
                  </a:lnTo>
                  <a:lnTo>
                    <a:pt x="1142" y="150"/>
                  </a:lnTo>
                  <a:lnTo>
                    <a:pt x="1138" y="144"/>
                  </a:lnTo>
                  <a:lnTo>
                    <a:pt x="1132" y="138"/>
                  </a:lnTo>
                  <a:lnTo>
                    <a:pt x="1127" y="132"/>
                  </a:lnTo>
                  <a:lnTo>
                    <a:pt x="1114" y="120"/>
                  </a:lnTo>
                  <a:lnTo>
                    <a:pt x="1108" y="114"/>
                  </a:lnTo>
                  <a:lnTo>
                    <a:pt x="1102" y="108"/>
                  </a:lnTo>
                  <a:lnTo>
                    <a:pt x="1096" y="101"/>
                  </a:lnTo>
                  <a:lnTo>
                    <a:pt x="1091" y="94"/>
                  </a:lnTo>
                  <a:lnTo>
                    <a:pt x="1086" y="86"/>
                  </a:lnTo>
                  <a:lnTo>
                    <a:pt x="1085" y="81"/>
                  </a:lnTo>
                  <a:lnTo>
                    <a:pt x="1083" y="76"/>
                  </a:lnTo>
                  <a:lnTo>
                    <a:pt x="1082" y="72"/>
                  </a:lnTo>
                  <a:lnTo>
                    <a:pt x="1081" y="66"/>
                  </a:lnTo>
                  <a:lnTo>
                    <a:pt x="1080" y="61"/>
                  </a:lnTo>
                  <a:lnTo>
                    <a:pt x="1080" y="55"/>
                  </a:lnTo>
                  <a:lnTo>
                    <a:pt x="1080" y="49"/>
                  </a:lnTo>
                  <a:lnTo>
                    <a:pt x="1081" y="43"/>
                  </a:lnTo>
                  <a:lnTo>
                    <a:pt x="1082" y="37"/>
                  </a:lnTo>
                  <a:lnTo>
                    <a:pt x="1083" y="32"/>
                  </a:lnTo>
                  <a:lnTo>
                    <a:pt x="1085" y="27"/>
                  </a:lnTo>
                  <a:lnTo>
                    <a:pt x="1088" y="22"/>
                  </a:lnTo>
                  <a:lnTo>
                    <a:pt x="1090" y="18"/>
                  </a:lnTo>
                  <a:lnTo>
                    <a:pt x="1093" y="14"/>
                  </a:lnTo>
                  <a:lnTo>
                    <a:pt x="1097" y="11"/>
                  </a:lnTo>
                  <a:lnTo>
                    <a:pt x="1100" y="8"/>
                  </a:lnTo>
                  <a:lnTo>
                    <a:pt x="1105" y="5"/>
                  </a:lnTo>
                  <a:lnTo>
                    <a:pt x="1109" y="3"/>
                  </a:lnTo>
                  <a:lnTo>
                    <a:pt x="1114" y="2"/>
                  </a:lnTo>
                  <a:lnTo>
                    <a:pt x="1120" y="0"/>
                  </a:lnTo>
                  <a:lnTo>
                    <a:pt x="1125" y="0"/>
                  </a:lnTo>
                  <a:lnTo>
                    <a:pt x="1131" y="0"/>
                  </a:lnTo>
                  <a:close/>
                  <a:moveTo>
                    <a:pt x="1256" y="135"/>
                  </a:moveTo>
                  <a:lnTo>
                    <a:pt x="1245" y="155"/>
                  </a:lnTo>
                  <a:lnTo>
                    <a:pt x="1245" y="223"/>
                  </a:lnTo>
                  <a:lnTo>
                    <a:pt x="1211" y="223"/>
                  </a:lnTo>
                  <a:lnTo>
                    <a:pt x="1211" y="2"/>
                  </a:lnTo>
                  <a:lnTo>
                    <a:pt x="1245" y="2"/>
                  </a:lnTo>
                  <a:lnTo>
                    <a:pt x="1245" y="98"/>
                  </a:lnTo>
                  <a:lnTo>
                    <a:pt x="1291" y="2"/>
                  </a:lnTo>
                  <a:lnTo>
                    <a:pt x="1326" y="2"/>
                  </a:lnTo>
                  <a:lnTo>
                    <a:pt x="1277" y="101"/>
                  </a:lnTo>
                  <a:lnTo>
                    <a:pt x="1326" y="223"/>
                  </a:lnTo>
                  <a:lnTo>
                    <a:pt x="1290" y="223"/>
                  </a:lnTo>
                  <a:lnTo>
                    <a:pt x="1256" y="135"/>
                  </a:lnTo>
                  <a:close/>
                  <a:moveTo>
                    <a:pt x="1462" y="223"/>
                  </a:moveTo>
                  <a:lnTo>
                    <a:pt x="1427" y="223"/>
                  </a:lnTo>
                  <a:lnTo>
                    <a:pt x="1421" y="183"/>
                  </a:lnTo>
                  <a:lnTo>
                    <a:pt x="1378" y="183"/>
                  </a:lnTo>
                  <a:lnTo>
                    <a:pt x="1372" y="223"/>
                  </a:lnTo>
                  <a:lnTo>
                    <a:pt x="1340" y="223"/>
                  </a:lnTo>
                  <a:lnTo>
                    <a:pt x="1376" y="2"/>
                  </a:lnTo>
                  <a:lnTo>
                    <a:pt x="1426" y="2"/>
                  </a:lnTo>
                  <a:lnTo>
                    <a:pt x="1462" y="223"/>
                  </a:lnTo>
                  <a:close/>
                  <a:moveTo>
                    <a:pt x="1383" y="153"/>
                  </a:moveTo>
                  <a:lnTo>
                    <a:pt x="1416" y="153"/>
                  </a:lnTo>
                  <a:lnTo>
                    <a:pt x="1399" y="41"/>
                  </a:lnTo>
                  <a:lnTo>
                    <a:pt x="1383" y="153"/>
                  </a:lnTo>
                  <a:close/>
                  <a:moveTo>
                    <a:pt x="1519" y="2"/>
                  </a:moveTo>
                  <a:lnTo>
                    <a:pt x="1519" y="173"/>
                  </a:lnTo>
                  <a:lnTo>
                    <a:pt x="1519" y="178"/>
                  </a:lnTo>
                  <a:lnTo>
                    <a:pt x="1520" y="183"/>
                  </a:lnTo>
                  <a:lnTo>
                    <a:pt x="1522" y="186"/>
                  </a:lnTo>
                  <a:lnTo>
                    <a:pt x="1524" y="189"/>
                  </a:lnTo>
                  <a:lnTo>
                    <a:pt x="1526" y="192"/>
                  </a:lnTo>
                  <a:lnTo>
                    <a:pt x="1530" y="193"/>
                  </a:lnTo>
                  <a:lnTo>
                    <a:pt x="1533" y="194"/>
                  </a:lnTo>
                  <a:lnTo>
                    <a:pt x="1537" y="194"/>
                  </a:lnTo>
                  <a:lnTo>
                    <a:pt x="1541" y="194"/>
                  </a:lnTo>
                  <a:lnTo>
                    <a:pt x="1545" y="193"/>
                  </a:lnTo>
                  <a:lnTo>
                    <a:pt x="1548" y="192"/>
                  </a:lnTo>
                  <a:lnTo>
                    <a:pt x="1549" y="191"/>
                  </a:lnTo>
                  <a:lnTo>
                    <a:pt x="1550" y="189"/>
                  </a:lnTo>
                  <a:lnTo>
                    <a:pt x="1552" y="186"/>
                  </a:lnTo>
                  <a:lnTo>
                    <a:pt x="1554" y="183"/>
                  </a:lnTo>
                  <a:lnTo>
                    <a:pt x="1555" y="178"/>
                  </a:lnTo>
                  <a:lnTo>
                    <a:pt x="1555" y="173"/>
                  </a:lnTo>
                  <a:lnTo>
                    <a:pt x="1555" y="2"/>
                  </a:lnTo>
                  <a:lnTo>
                    <a:pt x="1588" y="2"/>
                  </a:lnTo>
                  <a:lnTo>
                    <a:pt x="1588" y="171"/>
                  </a:lnTo>
                  <a:lnTo>
                    <a:pt x="1588" y="177"/>
                  </a:lnTo>
                  <a:lnTo>
                    <a:pt x="1587" y="183"/>
                  </a:lnTo>
                  <a:lnTo>
                    <a:pt x="1586" y="189"/>
                  </a:lnTo>
                  <a:lnTo>
                    <a:pt x="1585" y="194"/>
                  </a:lnTo>
                  <a:lnTo>
                    <a:pt x="1583" y="199"/>
                  </a:lnTo>
                  <a:lnTo>
                    <a:pt x="1581" y="204"/>
                  </a:lnTo>
                  <a:lnTo>
                    <a:pt x="1578" y="208"/>
                  </a:lnTo>
                  <a:lnTo>
                    <a:pt x="1575" y="212"/>
                  </a:lnTo>
                  <a:lnTo>
                    <a:pt x="1571" y="215"/>
                  </a:lnTo>
                  <a:lnTo>
                    <a:pt x="1567" y="218"/>
                  </a:lnTo>
                  <a:lnTo>
                    <a:pt x="1563" y="220"/>
                  </a:lnTo>
                  <a:lnTo>
                    <a:pt x="1559" y="222"/>
                  </a:lnTo>
                  <a:lnTo>
                    <a:pt x="1554" y="224"/>
                  </a:lnTo>
                  <a:lnTo>
                    <a:pt x="1548" y="225"/>
                  </a:lnTo>
                  <a:lnTo>
                    <a:pt x="1542" y="226"/>
                  </a:lnTo>
                  <a:lnTo>
                    <a:pt x="1536" y="226"/>
                  </a:lnTo>
                  <a:lnTo>
                    <a:pt x="1530" y="226"/>
                  </a:lnTo>
                  <a:lnTo>
                    <a:pt x="1524" y="225"/>
                  </a:lnTo>
                  <a:lnTo>
                    <a:pt x="1519" y="224"/>
                  </a:lnTo>
                  <a:lnTo>
                    <a:pt x="1514" y="222"/>
                  </a:lnTo>
                  <a:lnTo>
                    <a:pt x="1509" y="220"/>
                  </a:lnTo>
                  <a:lnTo>
                    <a:pt x="1505" y="218"/>
                  </a:lnTo>
                  <a:lnTo>
                    <a:pt x="1501" y="215"/>
                  </a:lnTo>
                  <a:lnTo>
                    <a:pt x="1497" y="212"/>
                  </a:lnTo>
                  <a:lnTo>
                    <a:pt x="1494" y="208"/>
                  </a:lnTo>
                  <a:lnTo>
                    <a:pt x="1492" y="204"/>
                  </a:lnTo>
                  <a:lnTo>
                    <a:pt x="1489" y="199"/>
                  </a:lnTo>
                  <a:lnTo>
                    <a:pt x="1488" y="194"/>
                  </a:lnTo>
                  <a:lnTo>
                    <a:pt x="1486" y="189"/>
                  </a:lnTo>
                  <a:lnTo>
                    <a:pt x="1485" y="183"/>
                  </a:lnTo>
                  <a:lnTo>
                    <a:pt x="1484" y="177"/>
                  </a:lnTo>
                  <a:lnTo>
                    <a:pt x="1484" y="171"/>
                  </a:lnTo>
                  <a:lnTo>
                    <a:pt x="1484" y="2"/>
                  </a:lnTo>
                  <a:lnTo>
                    <a:pt x="1519" y="2"/>
                  </a:lnTo>
                  <a:close/>
                  <a:moveTo>
                    <a:pt x="1722" y="57"/>
                  </a:moveTo>
                  <a:lnTo>
                    <a:pt x="1722" y="85"/>
                  </a:lnTo>
                  <a:lnTo>
                    <a:pt x="1722" y="92"/>
                  </a:lnTo>
                  <a:lnTo>
                    <a:pt x="1722" y="98"/>
                  </a:lnTo>
                  <a:lnTo>
                    <a:pt x="1721" y="104"/>
                  </a:lnTo>
                  <a:lnTo>
                    <a:pt x="1719" y="109"/>
                  </a:lnTo>
                  <a:lnTo>
                    <a:pt x="1717" y="114"/>
                  </a:lnTo>
                  <a:lnTo>
                    <a:pt x="1715" y="118"/>
                  </a:lnTo>
                  <a:lnTo>
                    <a:pt x="1713" y="122"/>
                  </a:lnTo>
                  <a:lnTo>
                    <a:pt x="1710" y="126"/>
                  </a:lnTo>
                  <a:lnTo>
                    <a:pt x="1706" y="129"/>
                  </a:lnTo>
                  <a:lnTo>
                    <a:pt x="1702" y="132"/>
                  </a:lnTo>
                  <a:lnTo>
                    <a:pt x="1698" y="135"/>
                  </a:lnTo>
                  <a:lnTo>
                    <a:pt x="1693" y="137"/>
                  </a:lnTo>
                  <a:lnTo>
                    <a:pt x="1688" y="138"/>
                  </a:lnTo>
                  <a:lnTo>
                    <a:pt x="1683" y="139"/>
                  </a:lnTo>
                  <a:lnTo>
                    <a:pt x="1677" y="140"/>
                  </a:lnTo>
                  <a:lnTo>
                    <a:pt x="1671" y="140"/>
                  </a:lnTo>
                  <a:lnTo>
                    <a:pt x="1654" y="140"/>
                  </a:lnTo>
                  <a:lnTo>
                    <a:pt x="1654" y="223"/>
                  </a:lnTo>
                  <a:lnTo>
                    <a:pt x="1619" y="223"/>
                  </a:lnTo>
                  <a:lnTo>
                    <a:pt x="1619" y="2"/>
                  </a:lnTo>
                  <a:lnTo>
                    <a:pt x="1671" y="2"/>
                  </a:lnTo>
                  <a:lnTo>
                    <a:pt x="1677" y="2"/>
                  </a:lnTo>
                  <a:lnTo>
                    <a:pt x="1683" y="3"/>
                  </a:lnTo>
                  <a:lnTo>
                    <a:pt x="1688" y="4"/>
                  </a:lnTo>
                  <a:lnTo>
                    <a:pt x="1693" y="6"/>
                  </a:lnTo>
                  <a:lnTo>
                    <a:pt x="1698" y="8"/>
                  </a:lnTo>
                  <a:lnTo>
                    <a:pt x="1702" y="10"/>
                  </a:lnTo>
                  <a:lnTo>
                    <a:pt x="1706" y="13"/>
                  </a:lnTo>
                  <a:lnTo>
                    <a:pt x="1710" y="16"/>
                  </a:lnTo>
                  <a:lnTo>
                    <a:pt x="1713" y="20"/>
                  </a:lnTo>
                  <a:lnTo>
                    <a:pt x="1715" y="24"/>
                  </a:lnTo>
                  <a:lnTo>
                    <a:pt x="1717" y="28"/>
                  </a:lnTo>
                  <a:lnTo>
                    <a:pt x="1719" y="33"/>
                  </a:lnTo>
                  <a:lnTo>
                    <a:pt x="1722" y="44"/>
                  </a:lnTo>
                  <a:lnTo>
                    <a:pt x="1722" y="50"/>
                  </a:lnTo>
                  <a:lnTo>
                    <a:pt x="1722" y="57"/>
                  </a:lnTo>
                  <a:close/>
                  <a:moveTo>
                    <a:pt x="1654" y="34"/>
                  </a:moveTo>
                  <a:lnTo>
                    <a:pt x="1654" y="109"/>
                  </a:lnTo>
                  <a:lnTo>
                    <a:pt x="1671" y="109"/>
                  </a:lnTo>
                  <a:lnTo>
                    <a:pt x="1675" y="108"/>
                  </a:lnTo>
                  <a:lnTo>
                    <a:pt x="1678" y="108"/>
                  </a:lnTo>
                  <a:lnTo>
                    <a:pt x="1681" y="106"/>
                  </a:lnTo>
                  <a:lnTo>
                    <a:pt x="1683" y="104"/>
                  </a:lnTo>
                  <a:lnTo>
                    <a:pt x="1685" y="101"/>
                  </a:lnTo>
                  <a:lnTo>
                    <a:pt x="1687" y="98"/>
                  </a:lnTo>
                  <a:lnTo>
                    <a:pt x="1687" y="95"/>
                  </a:lnTo>
                  <a:lnTo>
                    <a:pt x="1687" y="93"/>
                  </a:lnTo>
                  <a:lnTo>
                    <a:pt x="1688" y="88"/>
                  </a:lnTo>
                  <a:lnTo>
                    <a:pt x="1688" y="55"/>
                  </a:lnTo>
                  <a:lnTo>
                    <a:pt x="1687" y="49"/>
                  </a:lnTo>
                  <a:lnTo>
                    <a:pt x="1687" y="45"/>
                  </a:lnTo>
                  <a:lnTo>
                    <a:pt x="1685" y="41"/>
                  </a:lnTo>
                  <a:lnTo>
                    <a:pt x="1683" y="38"/>
                  </a:lnTo>
                  <a:lnTo>
                    <a:pt x="1681" y="36"/>
                  </a:lnTo>
                  <a:lnTo>
                    <a:pt x="1678" y="35"/>
                  </a:lnTo>
                  <a:lnTo>
                    <a:pt x="1675" y="34"/>
                  </a:lnTo>
                  <a:lnTo>
                    <a:pt x="1671" y="34"/>
                  </a:lnTo>
                  <a:lnTo>
                    <a:pt x="1654" y="34"/>
                  </a:lnTo>
                  <a:close/>
                  <a:moveTo>
                    <a:pt x="1851" y="57"/>
                  </a:moveTo>
                  <a:lnTo>
                    <a:pt x="1851" y="85"/>
                  </a:lnTo>
                  <a:lnTo>
                    <a:pt x="1851" y="92"/>
                  </a:lnTo>
                  <a:lnTo>
                    <a:pt x="1850" y="98"/>
                  </a:lnTo>
                  <a:lnTo>
                    <a:pt x="1849" y="104"/>
                  </a:lnTo>
                  <a:lnTo>
                    <a:pt x="1848" y="109"/>
                  </a:lnTo>
                  <a:lnTo>
                    <a:pt x="1846" y="114"/>
                  </a:lnTo>
                  <a:lnTo>
                    <a:pt x="1844" y="118"/>
                  </a:lnTo>
                  <a:lnTo>
                    <a:pt x="1841" y="122"/>
                  </a:lnTo>
                  <a:lnTo>
                    <a:pt x="1838" y="126"/>
                  </a:lnTo>
                  <a:lnTo>
                    <a:pt x="1835" y="129"/>
                  </a:lnTo>
                  <a:lnTo>
                    <a:pt x="1831" y="132"/>
                  </a:lnTo>
                  <a:lnTo>
                    <a:pt x="1827" y="135"/>
                  </a:lnTo>
                  <a:lnTo>
                    <a:pt x="1822" y="137"/>
                  </a:lnTo>
                  <a:lnTo>
                    <a:pt x="1817" y="138"/>
                  </a:lnTo>
                  <a:lnTo>
                    <a:pt x="1811" y="139"/>
                  </a:lnTo>
                  <a:lnTo>
                    <a:pt x="1806" y="140"/>
                  </a:lnTo>
                  <a:lnTo>
                    <a:pt x="1799" y="140"/>
                  </a:lnTo>
                  <a:lnTo>
                    <a:pt x="1783" y="140"/>
                  </a:lnTo>
                  <a:lnTo>
                    <a:pt x="1783" y="223"/>
                  </a:lnTo>
                  <a:lnTo>
                    <a:pt x="1748" y="223"/>
                  </a:lnTo>
                  <a:lnTo>
                    <a:pt x="1748" y="2"/>
                  </a:lnTo>
                  <a:lnTo>
                    <a:pt x="1799" y="2"/>
                  </a:lnTo>
                  <a:lnTo>
                    <a:pt x="1806" y="2"/>
                  </a:lnTo>
                  <a:lnTo>
                    <a:pt x="1811" y="3"/>
                  </a:lnTo>
                  <a:lnTo>
                    <a:pt x="1817" y="4"/>
                  </a:lnTo>
                  <a:lnTo>
                    <a:pt x="1822" y="6"/>
                  </a:lnTo>
                  <a:lnTo>
                    <a:pt x="1827" y="8"/>
                  </a:lnTo>
                  <a:lnTo>
                    <a:pt x="1831" y="10"/>
                  </a:lnTo>
                  <a:lnTo>
                    <a:pt x="1835" y="13"/>
                  </a:lnTo>
                  <a:lnTo>
                    <a:pt x="1838" y="16"/>
                  </a:lnTo>
                  <a:lnTo>
                    <a:pt x="1841" y="20"/>
                  </a:lnTo>
                  <a:lnTo>
                    <a:pt x="1844" y="24"/>
                  </a:lnTo>
                  <a:lnTo>
                    <a:pt x="1846" y="28"/>
                  </a:lnTo>
                  <a:lnTo>
                    <a:pt x="1848" y="33"/>
                  </a:lnTo>
                  <a:lnTo>
                    <a:pt x="1850" y="44"/>
                  </a:lnTo>
                  <a:lnTo>
                    <a:pt x="1851" y="50"/>
                  </a:lnTo>
                  <a:lnTo>
                    <a:pt x="1851" y="57"/>
                  </a:lnTo>
                  <a:close/>
                  <a:moveTo>
                    <a:pt x="1783" y="34"/>
                  </a:moveTo>
                  <a:lnTo>
                    <a:pt x="1783" y="109"/>
                  </a:lnTo>
                  <a:lnTo>
                    <a:pt x="1799" y="109"/>
                  </a:lnTo>
                  <a:lnTo>
                    <a:pt x="1803" y="108"/>
                  </a:lnTo>
                  <a:lnTo>
                    <a:pt x="1807" y="108"/>
                  </a:lnTo>
                  <a:lnTo>
                    <a:pt x="1810" y="106"/>
                  </a:lnTo>
                  <a:lnTo>
                    <a:pt x="1812" y="104"/>
                  </a:lnTo>
                  <a:lnTo>
                    <a:pt x="1814" y="101"/>
                  </a:lnTo>
                  <a:lnTo>
                    <a:pt x="1815" y="98"/>
                  </a:lnTo>
                  <a:lnTo>
                    <a:pt x="1816" y="95"/>
                  </a:lnTo>
                  <a:lnTo>
                    <a:pt x="1816" y="93"/>
                  </a:lnTo>
                  <a:lnTo>
                    <a:pt x="1816" y="88"/>
                  </a:lnTo>
                  <a:lnTo>
                    <a:pt x="1816" y="55"/>
                  </a:lnTo>
                  <a:lnTo>
                    <a:pt x="1816" y="49"/>
                  </a:lnTo>
                  <a:lnTo>
                    <a:pt x="1815" y="45"/>
                  </a:lnTo>
                  <a:lnTo>
                    <a:pt x="1814" y="41"/>
                  </a:lnTo>
                  <a:lnTo>
                    <a:pt x="1812" y="38"/>
                  </a:lnTo>
                  <a:lnTo>
                    <a:pt x="1810" y="36"/>
                  </a:lnTo>
                  <a:lnTo>
                    <a:pt x="1807" y="35"/>
                  </a:lnTo>
                  <a:lnTo>
                    <a:pt x="1803" y="34"/>
                  </a:lnTo>
                  <a:lnTo>
                    <a:pt x="1799" y="34"/>
                  </a:lnTo>
                  <a:lnTo>
                    <a:pt x="1783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76604369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72935CA-5F76-4A8A-BE1A-754C868E9380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6"/>
            <p:cNvSpPr>
              <a:spLocks noChangeAspect="1" noEditPoints="1"/>
            </p:cNvSpPr>
            <p:nvPr userDrawn="1"/>
          </p:nvSpPr>
          <p:spPr bwMode="auto">
            <a:xfrm>
              <a:off x="8908139" y="6472998"/>
              <a:ext cx="1865548" cy="212400"/>
            </a:xfrm>
            <a:custGeom>
              <a:avLst/>
              <a:gdLst>
                <a:gd name="T0" fmla="*/ 1899 w 1985"/>
                <a:gd name="T1" fmla="*/ 2 h 226"/>
                <a:gd name="T2" fmla="*/ 67 w 1985"/>
                <a:gd name="T3" fmla="*/ 143 h 226"/>
                <a:gd name="T4" fmla="*/ 59 w 1985"/>
                <a:gd name="T5" fmla="*/ 2 h 226"/>
                <a:gd name="T6" fmla="*/ 99 w 1985"/>
                <a:gd name="T7" fmla="*/ 26 h 226"/>
                <a:gd name="T8" fmla="*/ 95 w 1985"/>
                <a:gd name="T9" fmla="*/ 104 h 226"/>
                <a:gd name="T10" fmla="*/ 99 w 1985"/>
                <a:gd name="T11" fmla="*/ 133 h 226"/>
                <a:gd name="T12" fmla="*/ 106 w 1985"/>
                <a:gd name="T13" fmla="*/ 217 h 226"/>
                <a:gd name="T14" fmla="*/ 68 w 1985"/>
                <a:gd name="T15" fmla="*/ 89 h 226"/>
                <a:gd name="T16" fmla="*/ 52 w 1985"/>
                <a:gd name="T17" fmla="*/ 34 h 226"/>
                <a:gd name="T18" fmla="*/ 168 w 1985"/>
                <a:gd name="T19" fmla="*/ 153 h 226"/>
                <a:gd name="T20" fmla="*/ 316 w 1985"/>
                <a:gd name="T21" fmla="*/ 183 h 226"/>
                <a:gd name="T22" fmla="*/ 493 w 1985"/>
                <a:gd name="T23" fmla="*/ 223 h 226"/>
                <a:gd name="T24" fmla="*/ 668 w 1985"/>
                <a:gd name="T25" fmla="*/ 11 h 226"/>
                <a:gd name="T26" fmla="*/ 652 w 1985"/>
                <a:gd name="T27" fmla="*/ 62 h 226"/>
                <a:gd name="T28" fmla="*/ 631 w 1985"/>
                <a:gd name="T29" fmla="*/ 31 h 226"/>
                <a:gd name="T30" fmla="*/ 623 w 1985"/>
                <a:gd name="T31" fmla="*/ 75 h 226"/>
                <a:gd name="T32" fmla="*/ 682 w 1985"/>
                <a:gd name="T33" fmla="*/ 149 h 226"/>
                <a:gd name="T34" fmla="*/ 675 w 1985"/>
                <a:gd name="T35" fmla="*/ 208 h 226"/>
                <a:gd name="T36" fmla="*/ 621 w 1985"/>
                <a:gd name="T37" fmla="*/ 225 h 226"/>
                <a:gd name="T38" fmla="*/ 583 w 1985"/>
                <a:gd name="T39" fmla="*/ 188 h 226"/>
                <a:gd name="T40" fmla="*/ 622 w 1985"/>
                <a:gd name="T41" fmla="*/ 191 h 226"/>
                <a:gd name="T42" fmla="*/ 650 w 1985"/>
                <a:gd name="T43" fmla="*/ 178 h 226"/>
                <a:gd name="T44" fmla="*/ 604 w 1985"/>
                <a:gd name="T45" fmla="*/ 108 h 226"/>
                <a:gd name="T46" fmla="*/ 583 w 1985"/>
                <a:gd name="T47" fmla="*/ 43 h 226"/>
                <a:gd name="T48" fmla="*/ 616 w 1985"/>
                <a:gd name="T49" fmla="*/ 2 h 226"/>
                <a:gd name="T50" fmla="*/ 713 w 1985"/>
                <a:gd name="T51" fmla="*/ 223 h 226"/>
                <a:gd name="T52" fmla="*/ 950 w 1985"/>
                <a:gd name="T53" fmla="*/ 65 h 226"/>
                <a:gd name="T54" fmla="*/ 1051 w 1985"/>
                <a:gd name="T55" fmla="*/ 223 h 226"/>
                <a:gd name="T56" fmla="*/ 1170 w 1985"/>
                <a:gd name="T57" fmla="*/ 14 h 226"/>
                <a:gd name="T58" fmla="*/ 1150 w 1985"/>
                <a:gd name="T59" fmla="*/ 53 h 226"/>
                <a:gd name="T60" fmla="*/ 1125 w 1985"/>
                <a:gd name="T61" fmla="*/ 32 h 226"/>
                <a:gd name="T62" fmla="*/ 1126 w 1985"/>
                <a:gd name="T63" fmla="*/ 82 h 226"/>
                <a:gd name="T64" fmla="*/ 1181 w 1985"/>
                <a:gd name="T65" fmla="*/ 154 h 226"/>
                <a:gd name="T66" fmla="*/ 1170 w 1985"/>
                <a:gd name="T67" fmla="*/ 211 h 226"/>
                <a:gd name="T68" fmla="*/ 1114 w 1985"/>
                <a:gd name="T69" fmla="*/ 224 h 226"/>
                <a:gd name="T70" fmla="*/ 1080 w 1985"/>
                <a:gd name="T71" fmla="*/ 183 h 226"/>
                <a:gd name="T72" fmla="*/ 1123 w 1985"/>
                <a:gd name="T73" fmla="*/ 193 h 226"/>
                <a:gd name="T74" fmla="*/ 1148 w 1985"/>
                <a:gd name="T75" fmla="*/ 172 h 226"/>
                <a:gd name="T76" fmla="*/ 1096 w 1985"/>
                <a:gd name="T77" fmla="*/ 101 h 226"/>
                <a:gd name="T78" fmla="*/ 1082 w 1985"/>
                <a:gd name="T79" fmla="*/ 37 h 226"/>
                <a:gd name="T80" fmla="*/ 1120 w 1985"/>
                <a:gd name="T81" fmla="*/ 0 h 226"/>
                <a:gd name="T82" fmla="*/ 1326 w 1985"/>
                <a:gd name="T83" fmla="*/ 2 h 226"/>
                <a:gd name="T84" fmla="*/ 1376 w 1985"/>
                <a:gd name="T85" fmla="*/ 2 h 226"/>
                <a:gd name="T86" fmla="*/ 1522 w 1985"/>
                <a:gd name="T87" fmla="*/ 186 h 226"/>
                <a:gd name="T88" fmla="*/ 1552 w 1985"/>
                <a:gd name="T89" fmla="*/ 186 h 226"/>
                <a:gd name="T90" fmla="*/ 1583 w 1985"/>
                <a:gd name="T91" fmla="*/ 199 h 226"/>
                <a:gd name="T92" fmla="*/ 1536 w 1985"/>
                <a:gd name="T93" fmla="*/ 226 h 226"/>
                <a:gd name="T94" fmla="*/ 1489 w 1985"/>
                <a:gd name="T95" fmla="*/ 199 h 226"/>
                <a:gd name="T96" fmla="*/ 1722 w 1985"/>
                <a:gd name="T97" fmla="*/ 98 h 226"/>
                <a:gd name="T98" fmla="*/ 1688 w 1985"/>
                <a:gd name="T99" fmla="*/ 138 h 226"/>
                <a:gd name="T100" fmla="*/ 1688 w 1985"/>
                <a:gd name="T101" fmla="*/ 4 h 226"/>
                <a:gd name="T102" fmla="*/ 1722 w 1985"/>
                <a:gd name="T103" fmla="*/ 50 h 226"/>
                <a:gd name="T104" fmla="*/ 1687 w 1985"/>
                <a:gd name="T105" fmla="*/ 95 h 226"/>
                <a:gd name="T106" fmla="*/ 1671 w 1985"/>
                <a:gd name="T107" fmla="*/ 34 h 226"/>
                <a:gd name="T108" fmla="*/ 1838 w 1985"/>
                <a:gd name="T109" fmla="*/ 126 h 226"/>
                <a:gd name="T110" fmla="*/ 1748 w 1985"/>
                <a:gd name="T111" fmla="*/ 223 h 226"/>
                <a:gd name="T112" fmla="*/ 1841 w 1985"/>
                <a:gd name="T113" fmla="*/ 20 h 226"/>
                <a:gd name="T114" fmla="*/ 1807 w 1985"/>
                <a:gd name="T115" fmla="*/ 108 h 226"/>
                <a:gd name="T116" fmla="*/ 1814 w 1985"/>
                <a:gd name="T117" fmla="*/ 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5" h="226">
                  <a:moveTo>
                    <a:pt x="1906" y="153"/>
                  </a:moveTo>
                  <a:lnTo>
                    <a:pt x="1939" y="153"/>
                  </a:lnTo>
                  <a:lnTo>
                    <a:pt x="1922" y="41"/>
                  </a:lnTo>
                  <a:lnTo>
                    <a:pt x="1906" y="153"/>
                  </a:lnTo>
                  <a:close/>
                  <a:moveTo>
                    <a:pt x="1985" y="223"/>
                  </a:moveTo>
                  <a:lnTo>
                    <a:pt x="1950" y="223"/>
                  </a:lnTo>
                  <a:lnTo>
                    <a:pt x="1944" y="183"/>
                  </a:lnTo>
                  <a:lnTo>
                    <a:pt x="1901" y="183"/>
                  </a:lnTo>
                  <a:lnTo>
                    <a:pt x="1895" y="223"/>
                  </a:lnTo>
                  <a:lnTo>
                    <a:pt x="1863" y="223"/>
                  </a:lnTo>
                  <a:lnTo>
                    <a:pt x="1899" y="2"/>
                  </a:lnTo>
                  <a:lnTo>
                    <a:pt x="1950" y="2"/>
                  </a:lnTo>
                  <a:lnTo>
                    <a:pt x="1985" y="223"/>
                  </a:lnTo>
                  <a:close/>
                  <a:moveTo>
                    <a:pt x="73" y="223"/>
                  </a:moveTo>
                  <a:lnTo>
                    <a:pt x="72" y="219"/>
                  </a:lnTo>
                  <a:lnTo>
                    <a:pt x="71" y="214"/>
                  </a:lnTo>
                  <a:lnTo>
                    <a:pt x="70" y="207"/>
                  </a:lnTo>
                  <a:lnTo>
                    <a:pt x="70" y="196"/>
                  </a:lnTo>
                  <a:lnTo>
                    <a:pt x="70" y="161"/>
                  </a:lnTo>
                  <a:lnTo>
                    <a:pt x="69" y="154"/>
                  </a:lnTo>
                  <a:lnTo>
                    <a:pt x="68" y="148"/>
                  </a:lnTo>
                  <a:lnTo>
                    <a:pt x="67" y="143"/>
                  </a:lnTo>
                  <a:lnTo>
                    <a:pt x="64" y="140"/>
                  </a:lnTo>
                  <a:lnTo>
                    <a:pt x="61" y="137"/>
                  </a:lnTo>
                  <a:lnTo>
                    <a:pt x="57" y="135"/>
                  </a:lnTo>
                  <a:lnTo>
                    <a:pt x="52" y="134"/>
                  </a:lnTo>
                  <a:lnTo>
                    <a:pt x="47" y="133"/>
                  </a:lnTo>
                  <a:lnTo>
                    <a:pt x="35" y="133"/>
                  </a:lnTo>
                  <a:lnTo>
                    <a:pt x="35" y="223"/>
                  </a:lnTo>
                  <a:lnTo>
                    <a:pt x="0" y="223"/>
                  </a:lnTo>
                  <a:lnTo>
                    <a:pt x="0" y="2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65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6" y="5"/>
                  </a:lnTo>
                  <a:lnTo>
                    <a:pt x="80" y="7"/>
                  </a:lnTo>
                  <a:lnTo>
                    <a:pt x="85" y="9"/>
                  </a:lnTo>
                  <a:lnTo>
                    <a:pt x="88" y="12"/>
                  </a:lnTo>
                  <a:lnTo>
                    <a:pt x="92" y="15"/>
                  </a:lnTo>
                  <a:lnTo>
                    <a:pt x="95" y="18"/>
                  </a:lnTo>
                  <a:lnTo>
                    <a:pt x="97" y="22"/>
                  </a:lnTo>
                  <a:lnTo>
                    <a:pt x="99" y="26"/>
                  </a:lnTo>
                  <a:lnTo>
                    <a:pt x="101" y="31"/>
                  </a:lnTo>
                  <a:lnTo>
                    <a:pt x="102" y="36"/>
                  </a:lnTo>
                  <a:lnTo>
                    <a:pt x="103" y="41"/>
                  </a:lnTo>
                  <a:lnTo>
                    <a:pt x="104" y="47"/>
                  </a:lnTo>
                  <a:lnTo>
                    <a:pt x="104" y="53"/>
                  </a:lnTo>
                  <a:lnTo>
                    <a:pt x="104" y="70"/>
                  </a:lnTo>
                  <a:lnTo>
                    <a:pt x="104" y="78"/>
                  </a:lnTo>
                  <a:lnTo>
                    <a:pt x="103" y="86"/>
                  </a:lnTo>
                  <a:lnTo>
                    <a:pt x="101" y="93"/>
                  </a:lnTo>
                  <a:lnTo>
                    <a:pt x="99" y="99"/>
                  </a:lnTo>
                  <a:lnTo>
                    <a:pt x="95" y="104"/>
                  </a:lnTo>
                  <a:lnTo>
                    <a:pt x="93" y="106"/>
                  </a:lnTo>
                  <a:lnTo>
                    <a:pt x="91" y="108"/>
                  </a:lnTo>
                  <a:lnTo>
                    <a:pt x="89" y="110"/>
                  </a:lnTo>
                  <a:lnTo>
                    <a:pt x="87" y="112"/>
                  </a:lnTo>
                  <a:lnTo>
                    <a:pt x="84" y="114"/>
                  </a:lnTo>
                  <a:lnTo>
                    <a:pt x="81" y="115"/>
                  </a:lnTo>
                  <a:lnTo>
                    <a:pt x="87" y="118"/>
                  </a:lnTo>
                  <a:lnTo>
                    <a:pt x="92" y="122"/>
                  </a:lnTo>
                  <a:lnTo>
                    <a:pt x="96" y="127"/>
                  </a:lnTo>
                  <a:lnTo>
                    <a:pt x="98" y="130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2" y="139"/>
                  </a:lnTo>
                  <a:lnTo>
                    <a:pt x="103" y="143"/>
                  </a:lnTo>
                  <a:lnTo>
                    <a:pt x="103" y="146"/>
                  </a:lnTo>
                  <a:lnTo>
                    <a:pt x="104" y="154"/>
                  </a:lnTo>
                  <a:lnTo>
                    <a:pt x="104" y="162"/>
                  </a:lnTo>
                  <a:lnTo>
                    <a:pt x="104" y="196"/>
                  </a:lnTo>
                  <a:lnTo>
                    <a:pt x="105" y="204"/>
                  </a:lnTo>
                  <a:lnTo>
                    <a:pt x="105" y="211"/>
                  </a:lnTo>
                  <a:lnTo>
                    <a:pt x="105" y="214"/>
                  </a:lnTo>
                  <a:lnTo>
                    <a:pt x="106" y="217"/>
                  </a:lnTo>
                  <a:lnTo>
                    <a:pt x="108" y="223"/>
                  </a:lnTo>
                  <a:lnTo>
                    <a:pt x="73" y="223"/>
                  </a:lnTo>
                  <a:close/>
                  <a:moveTo>
                    <a:pt x="35" y="34"/>
                  </a:moveTo>
                  <a:lnTo>
                    <a:pt x="35" y="102"/>
                  </a:lnTo>
                  <a:lnTo>
                    <a:pt x="48" y="102"/>
                  </a:lnTo>
                  <a:lnTo>
                    <a:pt x="53" y="101"/>
                  </a:lnTo>
                  <a:lnTo>
                    <a:pt x="57" y="100"/>
                  </a:lnTo>
                  <a:lnTo>
                    <a:pt x="61" y="99"/>
                  </a:lnTo>
                  <a:lnTo>
                    <a:pt x="64" y="97"/>
                  </a:lnTo>
                  <a:lnTo>
                    <a:pt x="66" y="93"/>
                  </a:lnTo>
                  <a:lnTo>
                    <a:pt x="68" y="89"/>
                  </a:lnTo>
                  <a:lnTo>
                    <a:pt x="69" y="84"/>
                  </a:lnTo>
                  <a:lnTo>
                    <a:pt x="69" y="78"/>
                  </a:lnTo>
                  <a:lnTo>
                    <a:pt x="69" y="56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5" y="39"/>
                  </a:lnTo>
                  <a:lnTo>
                    <a:pt x="63" y="37"/>
                  </a:lnTo>
                  <a:lnTo>
                    <a:pt x="60" y="35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35" y="34"/>
                  </a:lnTo>
                  <a:close/>
                  <a:moveTo>
                    <a:pt x="248" y="223"/>
                  </a:moveTo>
                  <a:lnTo>
                    <a:pt x="212" y="223"/>
                  </a:lnTo>
                  <a:lnTo>
                    <a:pt x="206" y="183"/>
                  </a:lnTo>
                  <a:lnTo>
                    <a:pt x="164" y="183"/>
                  </a:lnTo>
                  <a:lnTo>
                    <a:pt x="158" y="223"/>
                  </a:lnTo>
                  <a:lnTo>
                    <a:pt x="126" y="223"/>
                  </a:lnTo>
                  <a:lnTo>
                    <a:pt x="161" y="2"/>
                  </a:lnTo>
                  <a:lnTo>
                    <a:pt x="212" y="2"/>
                  </a:lnTo>
                  <a:lnTo>
                    <a:pt x="248" y="223"/>
                  </a:lnTo>
                  <a:close/>
                  <a:moveTo>
                    <a:pt x="168" y="153"/>
                  </a:moveTo>
                  <a:lnTo>
                    <a:pt x="202" y="153"/>
                  </a:lnTo>
                  <a:lnTo>
                    <a:pt x="185" y="41"/>
                  </a:lnTo>
                  <a:lnTo>
                    <a:pt x="168" y="153"/>
                  </a:lnTo>
                  <a:close/>
                  <a:moveTo>
                    <a:pt x="316" y="183"/>
                  </a:moveTo>
                  <a:lnTo>
                    <a:pt x="343" y="2"/>
                  </a:lnTo>
                  <a:lnTo>
                    <a:pt x="375" y="2"/>
                  </a:lnTo>
                  <a:lnTo>
                    <a:pt x="340" y="223"/>
                  </a:lnTo>
                  <a:lnTo>
                    <a:pt x="289" y="223"/>
                  </a:lnTo>
                  <a:lnTo>
                    <a:pt x="254" y="2"/>
                  </a:lnTo>
                  <a:lnTo>
                    <a:pt x="290" y="2"/>
                  </a:lnTo>
                  <a:lnTo>
                    <a:pt x="316" y="183"/>
                  </a:lnTo>
                  <a:close/>
                  <a:moveTo>
                    <a:pt x="398" y="2"/>
                  </a:moveTo>
                  <a:lnTo>
                    <a:pt x="433" y="2"/>
                  </a:lnTo>
                  <a:lnTo>
                    <a:pt x="433" y="223"/>
                  </a:lnTo>
                  <a:lnTo>
                    <a:pt x="398" y="223"/>
                  </a:lnTo>
                  <a:lnTo>
                    <a:pt x="398" y="2"/>
                  </a:lnTo>
                  <a:close/>
                  <a:moveTo>
                    <a:pt x="456" y="2"/>
                  </a:moveTo>
                  <a:lnTo>
                    <a:pt x="564" y="2"/>
                  </a:lnTo>
                  <a:lnTo>
                    <a:pt x="564" y="34"/>
                  </a:lnTo>
                  <a:lnTo>
                    <a:pt x="527" y="34"/>
                  </a:lnTo>
                  <a:lnTo>
                    <a:pt x="527" y="223"/>
                  </a:lnTo>
                  <a:lnTo>
                    <a:pt x="493" y="223"/>
                  </a:lnTo>
                  <a:lnTo>
                    <a:pt x="493" y="34"/>
                  </a:lnTo>
                  <a:lnTo>
                    <a:pt x="456" y="34"/>
                  </a:lnTo>
                  <a:lnTo>
                    <a:pt x="456" y="2"/>
                  </a:lnTo>
                  <a:close/>
                  <a:moveTo>
                    <a:pt x="634" y="0"/>
                  </a:moveTo>
                  <a:lnTo>
                    <a:pt x="640" y="0"/>
                  </a:lnTo>
                  <a:lnTo>
                    <a:pt x="645" y="0"/>
                  </a:lnTo>
                  <a:lnTo>
                    <a:pt x="651" y="2"/>
                  </a:lnTo>
                  <a:lnTo>
                    <a:pt x="656" y="3"/>
                  </a:lnTo>
                  <a:lnTo>
                    <a:pt x="660" y="5"/>
                  </a:lnTo>
                  <a:lnTo>
                    <a:pt x="665" y="8"/>
                  </a:lnTo>
                  <a:lnTo>
                    <a:pt x="668" y="11"/>
                  </a:lnTo>
                  <a:lnTo>
                    <a:pt x="672" y="14"/>
                  </a:lnTo>
                  <a:lnTo>
                    <a:pt x="675" y="18"/>
                  </a:lnTo>
                  <a:lnTo>
                    <a:pt x="677" y="22"/>
                  </a:lnTo>
                  <a:lnTo>
                    <a:pt x="680" y="27"/>
                  </a:lnTo>
                  <a:lnTo>
                    <a:pt x="681" y="32"/>
                  </a:lnTo>
                  <a:lnTo>
                    <a:pt x="683" y="37"/>
                  </a:lnTo>
                  <a:lnTo>
                    <a:pt x="684" y="43"/>
                  </a:lnTo>
                  <a:lnTo>
                    <a:pt x="685" y="49"/>
                  </a:lnTo>
                  <a:lnTo>
                    <a:pt x="685" y="55"/>
                  </a:lnTo>
                  <a:lnTo>
                    <a:pt x="685" y="62"/>
                  </a:lnTo>
                  <a:lnTo>
                    <a:pt x="652" y="62"/>
                  </a:lnTo>
                  <a:lnTo>
                    <a:pt x="652" y="53"/>
                  </a:lnTo>
                  <a:lnTo>
                    <a:pt x="652" y="47"/>
                  </a:lnTo>
                  <a:lnTo>
                    <a:pt x="651" y="43"/>
                  </a:lnTo>
                  <a:lnTo>
                    <a:pt x="650" y="41"/>
                  </a:lnTo>
                  <a:lnTo>
                    <a:pt x="649" y="39"/>
                  </a:lnTo>
                  <a:lnTo>
                    <a:pt x="647" y="36"/>
                  </a:lnTo>
                  <a:lnTo>
                    <a:pt x="645" y="34"/>
                  </a:lnTo>
                  <a:lnTo>
                    <a:pt x="642" y="32"/>
                  </a:lnTo>
                  <a:lnTo>
                    <a:pt x="638" y="31"/>
                  </a:lnTo>
                  <a:lnTo>
                    <a:pt x="634" y="31"/>
                  </a:lnTo>
                  <a:lnTo>
                    <a:pt x="631" y="31"/>
                  </a:lnTo>
                  <a:lnTo>
                    <a:pt x="627" y="32"/>
                  </a:lnTo>
                  <a:lnTo>
                    <a:pt x="624" y="34"/>
                  </a:lnTo>
                  <a:lnTo>
                    <a:pt x="622" y="36"/>
                  </a:lnTo>
                  <a:lnTo>
                    <a:pt x="620" y="39"/>
                  </a:lnTo>
                  <a:lnTo>
                    <a:pt x="618" y="43"/>
                  </a:lnTo>
                  <a:lnTo>
                    <a:pt x="617" y="47"/>
                  </a:lnTo>
                  <a:lnTo>
                    <a:pt x="617" y="53"/>
                  </a:lnTo>
                  <a:lnTo>
                    <a:pt x="617" y="57"/>
                  </a:lnTo>
                  <a:lnTo>
                    <a:pt x="618" y="61"/>
                  </a:lnTo>
                  <a:lnTo>
                    <a:pt x="620" y="68"/>
                  </a:lnTo>
                  <a:lnTo>
                    <a:pt x="623" y="75"/>
                  </a:lnTo>
                  <a:lnTo>
                    <a:pt x="628" y="82"/>
                  </a:lnTo>
                  <a:lnTo>
                    <a:pt x="633" y="88"/>
                  </a:lnTo>
                  <a:lnTo>
                    <a:pt x="639" y="93"/>
                  </a:lnTo>
                  <a:lnTo>
                    <a:pt x="651" y="105"/>
                  </a:lnTo>
                  <a:lnTo>
                    <a:pt x="657" y="111"/>
                  </a:lnTo>
                  <a:lnTo>
                    <a:pt x="664" y="117"/>
                  </a:lnTo>
                  <a:lnTo>
                    <a:pt x="669" y="124"/>
                  </a:lnTo>
                  <a:lnTo>
                    <a:pt x="674" y="132"/>
                  </a:lnTo>
                  <a:lnTo>
                    <a:pt x="679" y="140"/>
                  </a:lnTo>
                  <a:lnTo>
                    <a:pt x="681" y="144"/>
                  </a:lnTo>
                  <a:lnTo>
                    <a:pt x="682" y="149"/>
                  </a:lnTo>
                  <a:lnTo>
                    <a:pt x="683" y="154"/>
                  </a:lnTo>
                  <a:lnTo>
                    <a:pt x="684" y="159"/>
                  </a:lnTo>
                  <a:lnTo>
                    <a:pt x="685" y="164"/>
                  </a:lnTo>
                  <a:lnTo>
                    <a:pt x="685" y="170"/>
                  </a:lnTo>
                  <a:lnTo>
                    <a:pt x="685" y="177"/>
                  </a:lnTo>
                  <a:lnTo>
                    <a:pt x="684" y="183"/>
                  </a:lnTo>
                  <a:lnTo>
                    <a:pt x="683" y="188"/>
                  </a:lnTo>
                  <a:lnTo>
                    <a:pt x="682" y="194"/>
                  </a:lnTo>
                  <a:lnTo>
                    <a:pt x="680" y="199"/>
                  </a:lnTo>
                  <a:lnTo>
                    <a:pt x="678" y="203"/>
                  </a:lnTo>
                  <a:lnTo>
                    <a:pt x="675" y="208"/>
                  </a:lnTo>
                  <a:lnTo>
                    <a:pt x="672" y="211"/>
                  </a:lnTo>
                  <a:lnTo>
                    <a:pt x="668" y="215"/>
                  </a:lnTo>
                  <a:lnTo>
                    <a:pt x="665" y="218"/>
                  </a:lnTo>
                  <a:lnTo>
                    <a:pt x="660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5" y="225"/>
                  </a:lnTo>
                  <a:lnTo>
                    <a:pt x="639" y="226"/>
                  </a:lnTo>
                  <a:lnTo>
                    <a:pt x="633" y="226"/>
                  </a:lnTo>
                  <a:lnTo>
                    <a:pt x="627" y="226"/>
                  </a:lnTo>
                  <a:lnTo>
                    <a:pt x="621" y="225"/>
                  </a:lnTo>
                  <a:lnTo>
                    <a:pt x="616" y="224"/>
                  </a:lnTo>
                  <a:lnTo>
                    <a:pt x="611" y="222"/>
                  </a:lnTo>
                  <a:lnTo>
                    <a:pt x="606" y="220"/>
                  </a:lnTo>
                  <a:lnTo>
                    <a:pt x="602" y="218"/>
                  </a:lnTo>
                  <a:lnTo>
                    <a:pt x="598" y="215"/>
                  </a:lnTo>
                  <a:lnTo>
                    <a:pt x="594" y="211"/>
                  </a:lnTo>
                  <a:lnTo>
                    <a:pt x="591" y="208"/>
                  </a:lnTo>
                  <a:lnTo>
                    <a:pt x="589" y="203"/>
                  </a:lnTo>
                  <a:lnTo>
                    <a:pt x="587" y="199"/>
                  </a:lnTo>
                  <a:lnTo>
                    <a:pt x="585" y="194"/>
                  </a:lnTo>
                  <a:lnTo>
                    <a:pt x="583" y="188"/>
                  </a:lnTo>
                  <a:lnTo>
                    <a:pt x="582" y="183"/>
                  </a:lnTo>
                  <a:lnTo>
                    <a:pt x="582" y="177"/>
                  </a:lnTo>
                  <a:lnTo>
                    <a:pt x="581" y="170"/>
                  </a:lnTo>
                  <a:lnTo>
                    <a:pt x="581" y="157"/>
                  </a:lnTo>
                  <a:lnTo>
                    <a:pt x="614" y="157"/>
                  </a:lnTo>
                  <a:lnTo>
                    <a:pt x="614" y="172"/>
                  </a:lnTo>
                  <a:lnTo>
                    <a:pt x="615" y="178"/>
                  </a:lnTo>
                  <a:lnTo>
                    <a:pt x="616" y="182"/>
                  </a:lnTo>
                  <a:lnTo>
                    <a:pt x="617" y="186"/>
                  </a:lnTo>
                  <a:lnTo>
                    <a:pt x="619" y="189"/>
                  </a:lnTo>
                  <a:lnTo>
                    <a:pt x="622" y="191"/>
                  </a:lnTo>
                  <a:lnTo>
                    <a:pt x="625" y="193"/>
                  </a:lnTo>
                  <a:lnTo>
                    <a:pt x="628" y="194"/>
                  </a:lnTo>
                  <a:lnTo>
                    <a:pt x="632" y="194"/>
                  </a:lnTo>
                  <a:lnTo>
                    <a:pt x="636" y="194"/>
                  </a:lnTo>
                  <a:lnTo>
                    <a:pt x="640" y="193"/>
                  </a:lnTo>
                  <a:lnTo>
                    <a:pt x="643" y="191"/>
                  </a:lnTo>
                  <a:lnTo>
                    <a:pt x="644" y="190"/>
                  </a:lnTo>
                  <a:lnTo>
                    <a:pt x="645" y="189"/>
                  </a:lnTo>
                  <a:lnTo>
                    <a:pt x="647" y="186"/>
                  </a:lnTo>
                  <a:lnTo>
                    <a:pt x="649" y="182"/>
                  </a:lnTo>
                  <a:lnTo>
                    <a:pt x="650" y="178"/>
                  </a:lnTo>
                  <a:lnTo>
                    <a:pt x="650" y="172"/>
                  </a:lnTo>
                  <a:lnTo>
                    <a:pt x="650" y="168"/>
                  </a:lnTo>
                  <a:lnTo>
                    <a:pt x="649" y="164"/>
                  </a:lnTo>
                  <a:lnTo>
                    <a:pt x="647" y="157"/>
                  </a:lnTo>
                  <a:lnTo>
                    <a:pt x="644" y="150"/>
                  </a:lnTo>
                  <a:lnTo>
                    <a:pt x="640" y="144"/>
                  </a:lnTo>
                  <a:lnTo>
                    <a:pt x="635" y="138"/>
                  </a:lnTo>
                  <a:lnTo>
                    <a:pt x="629" y="132"/>
                  </a:lnTo>
                  <a:lnTo>
                    <a:pt x="616" y="120"/>
                  </a:lnTo>
                  <a:lnTo>
                    <a:pt x="610" y="114"/>
                  </a:lnTo>
                  <a:lnTo>
                    <a:pt x="604" y="108"/>
                  </a:lnTo>
                  <a:lnTo>
                    <a:pt x="598" y="101"/>
                  </a:lnTo>
                  <a:lnTo>
                    <a:pt x="593" y="94"/>
                  </a:lnTo>
                  <a:lnTo>
                    <a:pt x="589" y="86"/>
                  </a:lnTo>
                  <a:lnTo>
                    <a:pt x="587" y="81"/>
                  </a:lnTo>
                  <a:lnTo>
                    <a:pt x="585" y="76"/>
                  </a:lnTo>
                  <a:lnTo>
                    <a:pt x="584" y="72"/>
                  </a:lnTo>
                  <a:lnTo>
                    <a:pt x="583" y="66"/>
                  </a:lnTo>
                  <a:lnTo>
                    <a:pt x="583" y="61"/>
                  </a:lnTo>
                  <a:lnTo>
                    <a:pt x="582" y="55"/>
                  </a:lnTo>
                  <a:lnTo>
                    <a:pt x="583" y="49"/>
                  </a:lnTo>
                  <a:lnTo>
                    <a:pt x="583" y="43"/>
                  </a:lnTo>
                  <a:lnTo>
                    <a:pt x="584" y="37"/>
                  </a:lnTo>
                  <a:lnTo>
                    <a:pt x="586" y="32"/>
                  </a:lnTo>
                  <a:lnTo>
                    <a:pt x="587" y="27"/>
                  </a:lnTo>
                  <a:lnTo>
                    <a:pt x="590" y="22"/>
                  </a:lnTo>
                  <a:lnTo>
                    <a:pt x="592" y="18"/>
                  </a:lnTo>
                  <a:lnTo>
                    <a:pt x="595" y="14"/>
                  </a:lnTo>
                  <a:lnTo>
                    <a:pt x="599" y="11"/>
                  </a:lnTo>
                  <a:lnTo>
                    <a:pt x="602" y="8"/>
                  </a:lnTo>
                  <a:lnTo>
                    <a:pt x="607" y="5"/>
                  </a:lnTo>
                  <a:lnTo>
                    <a:pt x="611" y="3"/>
                  </a:lnTo>
                  <a:lnTo>
                    <a:pt x="616" y="2"/>
                  </a:lnTo>
                  <a:lnTo>
                    <a:pt x="622" y="0"/>
                  </a:lnTo>
                  <a:lnTo>
                    <a:pt x="627" y="0"/>
                  </a:lnTo>
                  <a:lnTo>
                    <a:pt x="634" y="0"/>
                  </a:lnTo>
                  <a:close/>
                  <a:moveTo>
                    <a:pt x="748" y="95"/>
                  </a:moveTo>
                  <a:lnTo>
                    <a:pt x="795" y="95"/>
                  </a:lnTo>
                  <a:lnTo>
                    <a:pt x="795" y="127"/>
                  </a:lnTo>
                  <a:lnTo>
                    <a:pt x="748" y="127"/>
                  </a:lnTo>
                  <a:lnTo>
                    <a:pt x="748" y="192"/>
                  </a:lnTo>
                  <a:lnTo>
                    <a:pt x="808" y="192"/>
                  </a:lnTo>
                  <a:lnTo>
                    <a:pt x="808" y="223"/>
                  </a:lnTo>
                  <a:lnTo>
                    <a:pt x="713" y="223"/>
                  </a:lnTo>
                  <a:lnTo>
                    <a:pt x="713" y="2"/>
                  </a:lnTo>
                  <a:lnTo>
                    <a:pt x="808" y="2"/>
                  </a:lnTo>
                  <a:lnTo>
                    <a:pt x="808" y="34"/>
                  </a:lnTo>
                  <a:lnTo>
                    <a:pt x="748" y="34"/>
                  </a:lnTo>
                  <a:lnTo>
                    <a:pt x="748" y="95"/>
                  </a:lnTo>
                  <a:close/>
                  <a:moveTo>
                    <a:pt x="911" y="159"/>
                  </a:moveTo>
                  <a:lnTo>
                    <a:pt x="934" y="2"/>
                  </a:lnTo>
                  <a:lnTo>
                    <a:pt x="983" y="2"/>
                  </a:lnTo>
                  <a:lnTo>
                    <a:pt x="983" y="223"/>
                  </a:lnTo>
                  <a:lnTo>
                    <a:pt x="950" y="223"/>
                  </a:lnTo>
                  <a:lnTo>
                    <a:pt x="950" y="65"/>
                  </a:lnTo>
                  <a:lnTo>
                    <a:pt x="926" y="223"/>
                  </a:lnTo>
                  <a:lnTo>
                    <a:pt x="893" y="223"/>
                  </a:lnTo>
                  <a:lnTo>
                    <a:pt x="867" y="67"/>
                  </a:lnTo>
                  <a:lnTo>
                    <a:pt x="867" y="223"/>
                  </a:lnTo>
                  <a:lnTo>
                    <a:pt x="837" y="223"/>
                  </a:lnTo>
                  <a:lnTo>
                    <a:pt x="837" y="2"/>
                  </a:lnTo>
                  <a:lnTo>
                    <a:pt x="885" y="2"/>
                  </a:lnTo>
                  <a:lnTo>
                    <a:pt x="911" y="159"/>
                  </a:lnTo>
                  <a:close/>
                  <a:moveTo>
                    <a:pt x="1017" y="2"/>
                  </a:moveTo>
                  <a:lnTo>
                    <a:pt x="1051" y="2"/>
                  </a:lnTo>
                  <a:lnTo>
                    <a:pt x="1051" y="223"/>
                  </a:lnTo>
                  <a:lnTo>
                    <a:pt x="1017" y="223"/>
                  </a:lnTo>
                  <a:lnTo>
                    <a:pt x="1017" y="2"/>
                  </a:lnTo>
                  <a:close/>
                  <a:moveTo>
                    <a:pt x="1131" y="0"/>
                  </a:moveTo>
                  <a:lnTo>
                    <a:pt x="1138" y="0"/>
                  </a:lnTo>
                  <a:lnTo>
                    <a:pt x="1143" y="0"/>
                  </a:lnTo>
                  <a:lnTo>
                    <a:pt x="1149" y="2"/>
                  </a:lnTo>
                  <a:lnTo>
                    <a:pt x="1154" y="3"/>
                  </a:lnTo>
                  <a:lnTo>
                    <a:pt x="1158" y="5"/>
                  </a:lnTo>
                  <a:lnTo>
                    <a:pt x="1162" y="8"/>
                  </a:lnTo>
                  <a:lnTo>
                    <a:pt x="1166" y="11"/>
                  </a:lnTo>
                  <a:lnTo>
                    <a:pt x="1170" y="14"/>
                  </a:lnTo>
                  <a:lnTo>
                    <a:pt x="1173" y="18"/>
                  </a:lnTo>
                  <a:lnTo>
                    <a:pt x="1175" y="22"/>
                  </a:lnTo>
                  <a:lnTo>
                    <a:pt x="1178" y="27"/>
                  </a:lnTo>
                  <a:lnTo>
                    <a:pt x="1179" y="32"/>
                  </a:lnTo>
                  <a:lnTo>
                    <a:pt x="1181" y="37"/>
                  </a:lnTo>
                  <a:lnTo>
                    <a:pt x="1182" y="43"/>
                  </a:lnTo>
                  <a:lnTo>
                    <a:pt x="1182" y="49"/>
                  </a:lnTo>
                  <a:lnTo>
                    <a:pt x="1183" y="55"/>
                  </a:lnTo>
                  <a:lnTo>
                    <a:pt x="1183" y="62"/>
                  </a:lnTo>
                  <a:lnTo>
                    <a:pt x="1150" y="62"/>
                  </a:lnTo>
                  <a:lnTo>
                    <a:pt x="1150" y="53"/>
                  </a:lnTo>
                  <a:lnTo>
                    <a:pt x="1149" y="47"/>
                  </a:lnTo>
                  <a:lnTo>
                    <a:pt x="1149" y="43"/>
                  </a:lnTo>
                  <a:lnTo>
                    <a:pt x="1148" y="41"/>
                  </a:lnTo>
                  <a:lnTo>
                    <a:pt x="1147" y="39"/>
                  </a:lnTo>
                  <a:lnTo>
                    <a:pt x="1145" y="36"/>
                  </a:lnTo>
                  <a:lnTo>
                    <a:pt x="1143" y="34"/>
                  </a:lnTo>
                  <a:lnTo>
                    <a:pt x="1140" y="32"/>
                  </a:lnTo>
                  <a:lnTo>
                    <a:pt x="1136" y="31"/>
                  </a:lnTo>
                  <a:lnTo>
                    <a:pt x="1132" y="31"/>
                  </a:lnTo>
                  <a:lnTo>
                    <a:pt x="1128" y="31"/>
                  </a:lnTo>
                  <a:lnTo>
                    <a:pt x="1125" y="32"/>
                  </a:lnTo>
                  <a:lnTo>
                    <a:pt x="1122" y="34"/>
                  </a:lnTo>
                  <a:lnTo>
                    <a:pt x="1120" y="36"/>
                  </a:lnTo>
                  <a:lnTo>
                    <a:pt x="1118" y="39"/>
                  </a:lnTo>
                  <a:lnTo>
                    <a:pt x="1116" y="43"/>
                  </a:lnTo>
                  <a:lnTo>
                    <a:pt x="1115" y="47"/>
                  </a:lnTo>
                  <a:lnTo>
                    <a:pt x="1115" y="53"/>
                  </a:lnTo>
                  <a:lnTo>
                    <a:pt x="1115" y="57"/>
                  </a:lnTo>
                  <a:lnTo>
                    <a:pt x="1116" y="61"/>
                  </a:lnTo>
                  <a:lnTo>
                    <a:pt x="1118" y="68"/>
                  </a:lnTo>
                  <a:lnTo>
                    <a:pt x="1121" y="75"/>
                  </a:lnTo>
                  <a:lnTo>
                    <a:pt x="1126" y="82"/>
                  </a:lnTo>
                  <a:lnTo>
                    <a:pt x="1131" y="88"/>
                  </a:lnTo>
                  <a:lnTo>
                    <a:pt x="1136" y="93"/>
                  </a:lnTo>
                  <a:lnTo>
                    <a:pt x="1149" y="105"/>
                  </a:lnTo>
                  <a:lnTo>
                    <a:pt x="1155" y="111"/>
                  </a:lnTo>
                  <a:lnTo>
                    <a:pt x="1161" y="117"/>
                  </a:lnTo>
                  <a:lnTo>
                    <a:pt x="1167" y="124"/>
                  </a:lnTo>
                  <a:lnTo>
                    <a:pt x="1172" y="132"/>
                  </a:lnTo>
                  <a:lnTo>
                    <a:pt x="1177" y="140"/>
                  </a:lnTo>
                  <a:lnTo>
                    <a:pt x="1178" y="144"/>
                  </a:lnTo>
                  <a:lnTo>
                    <a:pt x="1180" y="149"/>
                  </a:lnTo>
                  <a:lnTo>
                    <a:pt x="1181" y="154"/>
                  </a:lnTo>
                  <a:lnTo>
                    <a:pt x="1182" y="159"/>
                  </a:lnTo>
                  <a:lnTo>
                    <a:pt x="1183" y="164"/>
                  </a:lnTo>
                  <a:lnTo>
                    <a:pt x="1183" y="170"/>
                  </a:lnTo>
                  <a:lnTo>
                    <a:pt x="1183" y="177"/>
                  </a:lnTo>
                  <a:lnTo>
                    <a:pt x="1182" y="183"/>
                  </a:lnTo>
                  <a:lnTo>
                    <a:pt x="1181" y="188"/>
                  </a:lnTo>
                  <a:lnTo>
                    <a:pt x="1180" y="194"/>
                  </a:lnTo>
                  <a:lnTo>
                    <a:pt x="1178" y="199"/>
                  </a:lnTo>
                  <a:lnTo>
                    <a:pt x="1176" y="203"/>
                  </a:lnTo>
                  <a:lnTo>
                    <a:pt x="1173" y="208"/>
                  </a:lnTo>
                  <a:lnTo>
                    <a:pt x="1170" y="211"/>
                  </a:lnTo>
                  <a:lnTo>
                    <a:pt x="1166" y="215"/>
                  </a:lnTo>
                  <a:lnTo>
                    <a:pt x="1162" y="218"/>
                  </a:lnTo>
                  <a:lnTo>
                    <a:pt x="1158" y="220"/>
                  </a:lnTo>
                  <a:lnTo>
                    <a:pt x="1154" y="222"/>
                  </a:lnTo>
                  <a:lnTo>
                    <a:pt x="1149" y="224"/>
                  </a:lnTo>
                  <a:lnTo>
                    <a:pt x="1143" y="225"/>
                  </a:lnTo>
                  <a:lnTo>
                    <a:pt x="1137" y="226"/>
                  </a:lnTo>
                  <a:lnTo>
                    <a:pt x="1131" y="226"/>
                  </a:lnTo>
                  <a:lnTo>
                    <a:pt x="1125" y="226"/>
                  </a:lnTo>
                  <a:lnTo>
                    <a:pt x="1119" y="225"/>
                  </a:lnTo>
                  <a:lnTo>
                    <a:pt x="1114" y="224"/>
                  </a:lnTo>
                  <a:lnTo>
                    <a:pt x="1109" y="222"/>
                  </a:lnTo>
                  <a:lnTo>
                    <a:pt x="1104" y="220"/>
                  </a:lnTo>
                  <a:lnTo>
                    <a:pt x="1100" y="218"/>
                  </a:lnTo>
                  <a:lnTo>
                    <a:pt x="1096" y="215"/>
                  </a:lnTo>
                  <a:lnTo>
                    <a:pt x="1092" y="211"/>
                  </a:lnTo>
                  <a:lnTo>
                    <a:pt x="1089" y="208"/>
                  </a:lnTo>
                  <a:lnTo>
                    <a:pt x="1087" y="203"/>
                  </a:lnTo>
                  <a:lnTo>
                    <a:pt x="1084" y="199"/>
                  </a:lnTo>
                  <a:lnTo>
                    <a:pt x="1083" y="194"/>
                  </a:lnTo>
                  <a:lnTo>
                    <a:pt x="1081" y="188"/>
                  </a:lnTo>
                  <a:lnTo>
                    <a:pt x="1080" y="183"/>
                  </a:lnTo>
                  <a:lnTo>
                    <a:pt x="1079" y="177"/>
                  </a:lnTo>
                  <a:lnTo>
                    <a:pt x="1079" y="170"/>
                  </a:lnTo>
                  <a:lnTo>
                    <a:pt x="1079" y="157"/>
                  </a:lnTo>
                  <a:lnTo>
                    <a:pt x="1112" y="157"/>
                  </a:lnTo>
                  <a:lnTo>
                    <a:pt x="1112" y="172"/>
                  </a:lnTo>
                  <a:lnTo>
                    <a:pt x="1112" y="178"/>
                  </a:lnTo>
                  <a:lnTo>
                    <a:pt x="1113" y="182"/>
                  </a:lnTo>
                  <a:lnTo>
                    <a:pt x="1115" y="186"/>
                  </a:lnTo>
                  <a:lnTo>
                    <a:pt x="1117" y="189"/>
                  </a:lnTo>
                  <a:lnTo>
                    <a:pt x="1120" y="191"/>
                  </a:lnTo>
                  <a:lnTo>
                    <a:pt x="1123" y="193"/>
                  </a:lnTo>
                  <a:lnTo>
                    <a:pt x="1126" y="194"/>
                  </a:lnTo>
                  <a:lnTo>
                    <a:pt x="1130" y="194"/>
                  </a:lnTo>
                  <a:lnTo>
                    <a:pt x="1134" y="194"/>
                  </a:lnTo>
                  <a:lnTo>
                    <a:pt x="1138" y="193"/>
                  </a:lnTo>
                  <a:lnTo>
                    <a:pt x="1141" y="191"/>
                  </a:lnTo>
                  <a:lnTo>
                    <a:pt x="1142" y="190"/>
                  </a:lnTo>
                  <a:lnTo>
                    <a:pt x="1143" y="189"/>
                  </a:lnTo>
                  <a:lnTo>
                    <a:pt x="1145" y="186"/>
                  </a:lnTo>
                  <a:lnTo>
                    <a:pt x="1147" y="182"/>
                  </a:lnTo>
                  <a:lnTo>
                    <a:pt x="1148" y="178"/>
                  </a:lnTo>
                  <a:lnTo>
                    <a:pt x="1148" y="172"/>
                  </a:lnTo>
                  <a:lnTo>
                    <a:pt x="1148" y="168"/>
                  </a:lnTo>
                  <a:lnTo>
                    <a:pt x="1147" y="164"/>
                  </a:lnTo>
                  <a:lnTo>
                    <a:pt x="1145" y="157"/>
                  </a:lnTo>
                  <a:lnTo>
                    <a:pt x="1142" y="150"/>
                  </a:lnTo>
                  <a:lnTo>
                    <a:pt x="1138" y="144"/>
                  </a:lnTo>
                  <a:lnTo>
                    <a:pt x="1132" y="138"/>
                  </a:lnTo>
                  <a:lnTo>
                    <a:pt x="1127" y="132"/>
                  </a:lnTo>
                  <a:lnTo>
                    <a:pt x="1114" y="120"/>
                  </a:lnTo>
                  <a:lnTo>
                    <a:pt x="1108" y="114"/>
                  </a:lnTo>
                  <a:lnTo>
                    <a:pt x="1102" y="108"/>
                  </a:lnTo>
                  <a:lnTo>
                    <a:pt x="1096" y="101"/>
                  </a:lnTo>
                  <a:lnTo>
                    <a:pt x="1091" y="94"/>
                  </a:lnTo>
                  <a:lnTo>
                    <a:pt x="1086" y="86"/>
                  </a:lnTo>
                  <a:lnTo>
                    <a:pt x="1085" y="81"/>
                  </a:lnTo>
                  <a:lnTo>
                    <a:pt x="1083" y="76"/>
                  </a:lnTo>
                  <a:lnTo>
                    <a:pt x="1082" y="72"/>
                  </a:lnTo>
                  <a:lnTo>
                    <a:pt x="1081" y="66"/>
                  </a:lnTo>
                  <a:lnTo>
                    <a:pt x="1080" y="61"/>
                  </a:lnTo>
                  <a:lnTo>
                    <a:pt x="1080" y="55"/>
                  </a:lnTo>
                  <a:lnTo>
                    <a:pt x="1080" y="49"/>
                  </a:lnTo>
                  <a:lnTo>
                    <a:pt x="1081" y="43"/>
                  </a:lnTo>
                  <a:lnTo>
                    <a:pt x="1082" y="37"/>
                  </a:lnTo>
                  <a:lnTo>
                    <a:pt x="1083" y="32"/>
                  </a:lnTo>
                  <a:lnTo>
                    <a:pt x="1085" y="27"/>
                  </a:lnTo>
                  <a:lnTo>
                    <a:pt x="1088" y="22"/>
                  </a:lnTo>
                  <a:lnTo>
                    <a:pt x="1090" y="18"/>
                  </a:lnTo>
                  <a:lnTo>
                    <a:pt x="1093" y="14"/>
                  </a:lnTo>
                  <a:lnTo>
                    <a:pt x="1097" y="11"/>
                  </a:lnTo>
                  <a:lnTo>
                    <a:pt x="1100" y="8"/>
                  </a:lnTo>
                  <a:lnTo>
                    <a:pt x="1105" y="5"/>
                  </a:lnTo>
                  <a:lnTo>
                    <a:pt x="1109" y="3"/>
                  </a:lnTo>
                  <a:lnTo>
                    <a:pt x="1114" y="2"/>
                  </a:lnTo>
                  <a:lnTo>
                    <a:pt x="1120" y="0"/>
                  </a:lnTo>
                  <a:lnTo>
                    <a:pt x="1125" y="0"/>
                  </a:lnTo>
                  <a:lnTo>
                    <a:pt x="1131" y="0"/>
                  </a:lnTo>
                  <a:close/>
                  <a:moveTo>
                    <a:pt x="1256" y="135"/>
                  </a:moveTo>
                  <a:lnTo>
                    <a:pt x="1245" y="155"/>
                  </a:lnTo>
                  <a:lnTo>
                    <a:pt x="1245" y="223"/>
                  </a:lnTo>
                  <a:lnTo>
                    <a:pt x="1211" y="223"/>
                  </a:lnTo>
                  <a:lnTo>
                    <a:pt x="1211" y="2"/>
                  </a:lnTo>
                  <a:lnTo>
                    <a:pt x="1245" y="2"/>
                  </a:lnTo>
                  <a:lnTo>
                    <a:pt x="1245" y="98"/>
                  </a:lnTo>
                  <a:lnTo>
                    <a:pt x="1291" y="2"/>
                  </a:lnTo>
                  <a:lnTo>
                    <a:pt x="1326" y="2"/>
                  </a:lnTo>
                  <a:lnTo>
                    <a:pt x="1277" y="101"/>
                  </a:lnTo>
                  <a:lnTo>
                    <a:pt x="1326" y="223"/>
                  </a:lnTo>
                  <a:lnTo>
                    <a:pt x="1290" y="223"/>
                  </a:lnTo>
                  <a:lnTo>
                    <a:pt x="1256" y="135"/>
                  </a:lnTo>
                  <a:close/>
                  <a:moveTo>
                    <a:pt x="1462" y="223"/>
                  </a:moveTo>
                  <a:lnTo>
                    <a:pt x="1427" y="223"/>
                  </a:lnTo>
                  <a:lnTo>
                    <a:pt x="1421" y="183"/>
                  </a:lnTo>
                  <a:lnTo>
                    <a:pt x="1378" y="183"/>
                  </a:lnTo>
                  <a:lnTo>
                    <a:pt x="1372" y="223"/>
                  </a:lnTo>
                  <a:lnTo>
                    <a:pt x="1340" y="223"/>
                  </a:lnTo>
                  <a:lnTo>
                    <a:pt x="1376" y="2"/>
                  </a:lnTo>
                  <a:lnTo>
                    <a:pt x="1426" y="2"/>
                  </a:lnTo>
                  <a:lnTo>
                    <a:pt x="1462" y="223"/>
                  </a:lnTo>
                  <a:close/>
                  <a:moveTo>
                    <a:pt x="1383" y="153"/>
                  </a:moveTo>
                  <a:lnTo>
                    <a:pt x="1416" y="153"/>
                  </a:lnTo>
                  <a:lnTo>
                    <a:pt x="1399" y="41"/>
                  </a:lnTo>
                  <a:lnTo>
                    <a:pt x="1383" y="153"/>
                  </a:lnTo>
                  <a:close/>
                  <a:moveTo>
                    <a:pt x="1519" y="2"/>
                  </a:moveTo>
                  <a:lnTo>
                    <a:pt x="1519" y="173"/>
                  </a:lnTo>
                  <a:lnTo>
                    <a:pt x="1519" y="178"/>
                  </a:lnTo>
                  <a:lnTo>
                    <a:pt x="1520" y="183"/>
                  </a:lnTo>
                  <a:lnTo>
                    <a:pt x="1522" y="186"/>
                  </a:lnTo>
                  <a:lnTo>
                    <a:pt x="1524" y="189"/>
                  </a:lnTo>
                  <a:lnTo>
                    <a:pt x="1526" y="192"/>
                  </a:lnTo>
                  <a:lnTo>
                    <a:pt x="1530" y="193"/>
                  </a:lnTo>
                  <a:lnTo>
                    <a:pt x="1533" y="194"/>
                  </a:lnTo>
                  <a:lnTo>
                    <a:pt x="1537" y="194"/>
                  </a:lnTo>
                  <a:lnTo>
                    <a:pt x="1541" y="194"/>
                  </a:lnTo>
                  <a:lnTo>
                    <a:pt x="1545" y="193"/>
                  </a:lnTo>
                  <a:lnTo>
                    <a:pt x="1548" y="192"/>
                  </a:lnTo>
                  <a:lnTo>
                    <a:pt x="1549" y="191"/>
                  </a:lnTo>
                  <a:lnTo>
                    <a:pt x="1550" y="189"/>
                  </a:lnTo>
                  <a:lnTo>
                    <a:pt x="1552" y="186"/>
                  </a:lnTo>
                  <a:lnTo>
                    <a:pt x="1554" y="183"/>
                  </a:lnTo>
                  <a:lnTo>
                    <a:pt x="1555" y="178"/>
                  </a:lnTo>
                  <a:lnTo>
                    <a:pt x="1555" y="173"/>
                  </a:lnTo>
                  <a:lnTo>
                    <a:pt x="1555" y="2"/>
                  </a:lnTo>
                  <a:lnTo>
                    <a:pt x="1588" y="2"/>
                  </a:lnTo>
                  <a:lnTo>
                    <a:pt x="1588" y="171"/>
                  </a:lnTo>
                  <a:lnTo>
                    <a:pt x="1588" y="177"/>
                  </a:lnTo>
                  <a:lnTo>
                    <a:pt x="1587" y="183"/>
                  </a:lnTo>
                  <a:lnTo>
                    <a:pt x="1586" y="189"/>
                  </a:lnTo>
                  <a:lnTo>
                    <a:pt x="1585" y="194"/>
                  </a:lnTo>
                  <a:lnTo>
                    <a:pt x="1583" y="199"/>
                  </a:lnTo>
                  <a:lnTo>
                    <a:pt x="1581" y="204"/>
                  </a:lnTo>
                  <a:lnTo>
                    <a:pt x="1578" y="208"/>
                  </a:lnTo>
                  <a:lnTo>
                    <a:pt x="1575" y="212"/>
                  </a:lnTo>
                  <a:lnTo>
                    <a:pt x="1571" y="215"/>
                  </a:lnTo>
                  <a:lnTo>
                    <a:pt x="1567" y="218"/>
                  </a:lnTo>
                  <a:lnTo>
                    <a:pt x="1563" y="220"/>
                  </a:lnTo>
                  <a:lnTo>
                    <a:pt x="1559" y="222"/>
                  </a:lnTo>
                  <a:lnTo>
                    <a:pt x="1554" y="224"/>
                  </a:lnTo>
                  <a:lnTo>
                    <a:pt x="1548" y="225"/>
                  </a:lnTo>
                  <a:lnTo>
                    <a:pt x="1542" y="226"/>
                  </a:lnTo>
                  <a:lnTo>
                    <a:pt x="1536" y="226"/>
                  </a:lnTo>
                  <a:lnTo>
                    <a:pt x="1530" y="226"/>
                  </a:lnTo>
                  <a:lnTo>
                    <a:pt x="1524" y="225"/>
                  </a:lnTo>
                  <a:lnTo>
                    <a:pt x="1519" y="224"/>
                  </a:lnTo>
                  <a:lnTo>
                    <a:pt x="1514" y="222"/>
                  </a:lnTo>
                  <a:lnTo>
                    <a:pt x="1509" y="220"/>
                  </a:lnTo>
                  <a:lnTo>
                    <a:pt x="1505" y="218"/>
                  </a:lnTo>
                  <a:lnTo>
                    <a:pt x="1501" y="215"/>
                  </a:lnTo>
                  <a:lnTo>
                    <a:pt x="1497" y="212"/>
                  </a:lnTo>
                  <a:lnTo>
                    <a:pt x="1494" y="208"/>
                  </a:lnTo>
                  <a:lnTo>
                    <a:pt x="1492" y="204"/>
                  </a:lnTo>
                  <a:lnTo>
                    <a:pt x="1489" y="199"/>
                  </a:lnTo>
                  <a:lnTo>
                    <a:pt x="1488" y="194"/>
                  </a:lnTo>
                  <a:lnTo>
                    <a:pt x="1486" y="189"/>
                  </a:lnTo>
                  <a:lnTo>
                    <a:pt x="1485" y="183"/>
                  </a:lnTo>
                  <a:lnTo>
                    <a:pt x="1484" y="177"/>
                  </a:lnTo>
                  <a:lnTo>
                    <a:pt x="1484" y="171"/>
                  </a:lnTo>
                  <a:lnTo>
                    <a:pt x="1484" y="2"/>
                  </a:lnTo>
                  <a:lnTo>
                    <a:pt x="1519" y="2"/>
                  </a:lnTo>
                  <a:close/>
                  <a:moveTo>
                    <a:pt x="1722" y="57"/>
                  </a:moveTo>
                  <a:lnTo>
                    <a:pt x="1722" y="85"/>
                  </a:lnTo>
                  <a:lnTo>
                    <a:pt x="1722" y="92"/>
                  </a:lnTo>
                  <a:lnTo>
                    <a:pt x="1722" y="98"/>
                  </a:lnTo>
                  <a:lnTo>
                    <a:pt x="1721" y="104"/>
                  </a:lnTo>
                  <a:lnTo>
                    <a:pt x="1719" y="109"/>
                  </a:lnTo>
                  <a:lnTo>
                    <a:pt x="1717" y="114"/>
                  </a:lnTo>
                  <a:lnTo>
                    <a:pt x="1715" y="118"/>
                  </a:lnTo>
                  <a:lnTo>
                    <a:pt x="1713" y="122"/>
                  </a:lnTo>
                  <a:lnTo>
                    <a:pt x="1710" y="126"/>
                  </a:lnTo>
                  <a:lnTo>
                    <a:pt x="1706" y="129"/>
                  </a:lnTo>
                  <a:lnTo>
                    <a:pt x="1702" y="132"/>
                  </a:lnTo>
                  <a:lnTo>
                    <a:pt x="1698" y="135"/>
                  </a:lnTo>
                  <a:lnTo>
                    <a:pt x="1693" y="137"/>
                  </a:lnTo>
                  <a:lnTo>
                    <a:pt x="1688" y="138"/>
                  </a:lnTo>
                  <a:lnTo>
                    <a:pt x="1683" y="139"/>
                  </a:lnTo>
                  <a:lnTo>
                    <a:pt x="1677" y="140"/>
                  </a:lnTo>
                  <a:lnTo>
                    <a:pt x="1671" y="140"/>
                  </a:lnTo>
                  <a:lnTo>
                    <a:pt x="1654" y="140"/>
                  </a:lnTo>
                  <a:lnTo>
                    <a:pt x="1654" y="223"/>
                  </a:lnTo>
                  <a:lnTo>
                    <a:pt x="1619" y="223"/>
                  </a:lnTo>
                  <a:lnTo>
                    <a:pt x="1619" y="2"/>
                  </a:lnTo>
                  <a:lnTo>
                    <a:pt x="1671" y="2"/>
                  </a:lnTo>
                  <a:lnTo>
                    <a:pt x="1677" y="2"/>
                  </a:lnTo>
                  <a:lnTo>
                    <a:pt x="1683" y="3"/>
                  </a:lnTo>
                  <a:lnTo>
                    <a:pt x="1688" y="4"/>
                  </a:lnTo>
                  <a:lnTo>
                    <a:pt x="1693" y="6"/>
                  </a:lnTo>
                  <a:lnTo>
                    <a:pt x="1698" y="8"/>
                  </a:lnTo>
                  <a:lnTo>
                    <a:pt x="1702" y="10"/>
                  </a:lnTo>
                  <a:lnTo>
                    <a:pt x="1706" y="13"/>
                  </a:lnTo>
                  <a:lnTo>
                    <a:pt x="1710" y="16"/>
                  </a:lnTo>
                  <a:lnTo>
                    <a:pt x="1713" y="20"/>
                  </a:lnTo>
                  <a:lnTo>
                    <a:pt x="1715" y="24"/>
                  </a:lnTo>
                  <a:lnTo>
                    <a:pt x="1717" y="28"/>
                  </a:lnTo>
                  <a:lnTo>
                    <a:pt x="1719" y="33"/>
                  </a:lnTo>
                  <a:lnTo>
                    <a:pt x="1722" y="44"/>
                  </a:lnTo>
                  <a:lnTo>
                    <a:pt x="1722" y="50"/>
                  </a:lnTo>
                  <a:lnTo>
                    <a:pt x="1722" y="57"/>
                  </a:lnTo>
                  <a:close/>
                  <a:moveTo>
                    <a:pt x="1654" y="34"/>
                  </a:moveTo>
                  <a:lnTo>
                    <a:pt x="1654" y="109"/>
                  </a:lnTo>
                  <a:lnTo>
                    <a:pt x="1671" y="109"/>
                  </a:lnTo>
                  <a:lnTo>
                    <a:pt x="1675" y="108"/>
                  </a:lnTo>
                  <a:lnTo>
                    <a:pt x="1678" y="108"/>
                  </a:lnTo>
                  <a:lnTo>
                    <a:pt x="1681" y="106"/>
                  </a:lnTo>
                  <a:lnTo>
                    <a:pt x="1683" y="104"/>
                  </a:lnTo>
                  <a:lnTo>
                    <a:pt x="1685" y="101"/>
                  </a:lnTo>
                  <a:lnTo>
                    <a:pt x="1687" y="98"/>
                  </a:lnTo>
                  <a:lnTo>
                    <a:pt x="1687" y="95"/>
                  </a:lnTo>
                  <a:lnTo>
                    <a:pt x="1687" y="93"/>
                  </a:lnTo>
                  <a:lnTo>
                    <a:pt x="1688" y="88"/>
                  </a:lnTo>
                  <a:lnTo>
                    <a:pt x="1688" y="55"/>
                  </a:lnTo>
                  <a:lnTo>
                    <a:pt x="1687" y="49"/>
                  </a:lnTo>
                  <a:lnTo>
                    <a:pt x="1687" y="45"/>
                  </a:lnTo>
                  <a:lnTo>
                    <a:pt x="1685" y="41"/>
                  </a:lnTo>
                  <a:lnTo>
                    <a:pt x="1683" y="38"/>
                  </a:lnTo>
                  <a:lnTo>
                    <a:pt x="1681" y="36"/>
                  </a:lnTo>
                  <a:lnTo>
                    <a:pt x="1678" y="35"/>
                  </a:lnTo>
                  <a:lnTo>
                    <a:pt x="1675" y="34"/>
                  </a:lnTo>
                  <a:lnTo>
                    <a:pt x="1671" y="34"/>
                  </a:lnTo>
                  <a:lnTo>
                    <a:pt x="1654" y="34"/>
                  </a:lnTo>
                  <a:close/>
                  <a:moveTo>
                    <a:pt x="1851" y="57"/>
                  </a:moveTo>
                  <a:lnTo>
                    <a:pt x="1851" y="85"/>
                  </a:lnTo>
                  <a:lnTo>
                    <a:pt x="1851" y="92"/>
                  </a:lnTo>
                  <a:lnTo>
                    <a:pt x="1850" y="98"/>
                  </a:lnTo>
                  <a:lnTo>
                    <a:pt x="1849" y="104"/>
                  </a:lnTo>
                  <a:lnTo>
                    <a:pt x="1848" y="109"/>
                  </a:lnTo>
                  <a:lnTo>
                    <a:pt x="1846" y="114"/>
                  </a:lnTo>
                  <a:lnTo>
                    <a:pt x="1844" y="118"/>
                  </a:lnTo>
                  <a:lnTo>
                    <a:pt x="1841" y="122"/>
                  </a:lnTo>
                  <a:lnTo>
                    <a:pt x="1838" y="126"/>
                  </a:lnTo>
                  <a:lnTo>
                    <a:pt x="1835" y="129"/>
                  </a:lnTo>
                  <a:lnTo>
                    <a:pt x="1831" y="132"/>
                  </a:lnTo>
                  <a:lnTo>
                    <a:pt x="1827" y="135"/>
                  </a:lnTo>
                  <a:lnTo>
                    <a:pt x="1822" y="137"/>
                  </a:lnTo>
                  <a:lnTo>
                    <a:pt x="1817" y="138"/>
                  </a:lnTo>
                  <a:lnTo>
                    <a:pt x="1811" y="139"/>
                  </a:lnTo>
                  <a:lnTo>
                    <a:pt x="1806" y="140"/>
                  </a:lnTo>
                  <a:lnTo>
                    <a:pt x="1799" y="140"/>
                  </a:lnTo>
                  <a:lnTo>
                    <a:pt x="1783" y="140"/>
                  </a:lnTo>
                  <a:lnTo>
                    <a:pt x="1783" y="223"/>
                  </a:lnTo>
                  <a:lnTo>
                    <a:pt x="1748" y="223"/>
                  </a:lnTo>
                  <a:lnTo>
                    <a:pt x="1748" y="2"/>
                  </a:lnTo>
                  <a:lnTo>
                    <a:pt x="1799" y="2"/>
                  </a:lnTo>
                  <a:lnTo>
                    <a:pt x="1806" y="2"/>
                  </a:lnTo>
                  <a:lnTo>
                    <a:pt x="1811" y="3"/>
                  </a:lnTo>
                  <a:lnTo>
                    <a:pt x="1817" y="4"/>
                  </a:lnTo>
                  <a:lnTo>
                    <a:pt x="1822" y="6"/>
                  </a:lnTo>
                  <a:lnTo>
                    <a:pt x="1827" y="8"/>
                  </a:lnTo>
                  <a:lnTo>
                    <a:pt x="1831" y="10"/>
                  </a:lnTo>
                  <a:lnTo>
                    <a:pt x="1835" y="13"/>
                  </a:lnTo>
                  <a:lnTo>
                    <a:pt x="1838" y="16"/>
                  </a:lnTo>
                  <a:lnTo>
                    <a:pt x="1841" y="20"/>
                  </a:lnTo>
                  <a:lnTo>
                    <a:pt x="1844" y="24"/>
                  </a:lnTo>
                  <a:lnTo>
                    <a:pt x="1846" y="28"/>
                  </a:lnTo>
                  <a:lnTo>
                    <a:pt x="1848" y="33"/>
                  </a:lnTo>
                  <a:lnTo>
                    <a:pt x="1850" y="44"/>
                  </a:lnTo>
                  <a:lnTo>
                    <a:pt x="1851" y="50"/>
                  </a:lnTo>
                  <a:lnTo>
                    <a:pt x="1851" y="57"/>
                  </a:lnTo>
                  <a:close/>
                  <a:moveTo>
                    <a:pt x="1783" y="34"/>
                  </a:moveTo>
                  <a:lnTo>
                    <a:pt x="1783" y="109"/>
                  </a:lnTo>
                  <a:lnTo>
                    <a:pt x="1799" y="109"/>
                  </a:lnTo>
                  <a:lnTo>
                    <a:pt x="1803" y="108"/>
                  </a:lnTo>
                  <a:lnTo>
                    <a:pt x="1807" y="108"/>
                  </a:lnTo>
                  <a:lnTo>
                    <a:pt x="1810" y="106"/>
                  </a:lnTo>
                  <a:lnTo>
                    <a:pt x="1812" y="104"/>
                  </a:lnTo>
                  <a:lnTo>
                    <a:pt x="1814" y="101"/>
                  </a:lnTo>
                  <a:lnTo>
                    <a:pt x="1815" y="98"/>
                  </a:lnTo>
                  <a:lnTo>
                    <a:pt x="1816" y="95"/>
                  </a:lnTo>
                  <a:lnTo>
                    <a:pt x="1816" y="93"/>
                  </a:lnTo>
                  <a:lnTo>
                    <a:pt x="1816" y="88"/>
                  </a:lnTo>
                  <a:lnTo>
                    <a:pt x="1816" y="55"/>
                  </a:lnTo>
                  <a:lnTo>
                    <a:pt x="1816" y="49"/>
                  </a:lnTo>
                  <a:lnTo>
                    <a:pt x="1815" y="45"/>
                  </a:lnTo>
                  <a:lnTo>
                    <a:pt x="1814" y="41"/>
                  </a:lnTo>
                  <a:lnTo>
                    <a:pt x="1812" y="38"/>
                  </a:lnTo>
                  <a:lnTo>
                    <a:pt x="1810" y="36"/>
                  </a:lnTo>
                  <a:lnTo>
                    <a:pt x="1807" y="35"/>
                  </a:lnTo>
                  <a:lnTo>
                    <a:pt x="1803" y="34"/>
                  </a:lnTo>
                  <a:lnTo>
                    <a:pt x="1799" y="34"/>
                  </a:lnTo>
                  <a:lnTo>
                    <a:pt x="1783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82200997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3F4E3BB7-DC16-4041-B25B-45AC6B2D93D2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6141259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7FAD3A-A4B2-4A69-ACC7-AFE82EB53170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7083643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155D38-11E0-4A98-BF90-5CECCAA98A29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438316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7C0D7A-6245-4CEA-8E54-0ED5CB75BFF6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552262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68B6F6-5EE6-43A5-AF36-071ED41D32D4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40844908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8F1EB-91EA-4224-9D39-B5E30279261C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7024716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47C74F-03A6-49C0-AC64-599325F03E35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4817473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9F93A615-236D-44E1-A47A-003DEBC4DAB1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5" name="Round Same Side Corner Rectangle 14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6" name="Freeform 6"/>
            <p:cNvSpPr>
              <a:spLocks noChangeAspect="1" noEditPoints="1"/>
            </p:cNvSpPr>
            <p:nvPr userDrawn="1"/>
          </p:nvSpPr>
          <p:spPr bwMode="auto">
            <a:xfrm>
              <a:off x="8908139" y="6472998"/>
              <a:ext cx="1865548" cy="212400"/>
            </a:xfrm>
            <a:custGeom>
              <a:avLst/>
              <a:gdLst>
                <a:gd name="T0" fmla="*/ 1899 w 1985"/>
                <a:gd name="T1" fmla="*/ 2 h 226"/>
                <a:gd name="T2" fmla="*/ 67 w 1985"/>
                <a:gd name="T3" fmla="*/ 143 h 226"/>
                <a:gd name="T4" fmla="*/ 59 w 1985"/>
                <a:gd name="T5" fmla="*/ 2 h 226"/>
                <a:gd name="T6" fmla="*/ 99 w 1985"/>
                <a:gd name="T7" fmla="*/ 26 h 226"/>
                <a:gd name="T8" fmla="*/ 95 w 1985"/>
                <a:gd name="T9" fmla="*/ 104 h 226"/>
                <a:gd name="T10" fmla="*/ 99 w 1985"/>
                <a:gd name="T11" fmla="*/ 133 h 226"/>
                <a:gd name="T12" fmla="*/ 106 w 1985"/>
                <a:gd name="T13" fmla="*/ 217 h 226"/>
                <a:gd name="T14" fmla="*/ 68 w 1985"/>
                <a:gd name="T15" fmla="*/ 89 h 226"/>
                <a:gd name="T16" fmla="*/ 52 w 1985"/>
                <a:gd name="T17" fmla="*/ 34 h 226"/>
                <a:gd name="T18" fmla="*/ 168 w 1985"/>
                <a:gd name="T19" fmla="*/ 153 h 226"/>
                <a:gd name="T20" fmla="*/ 316 w 1985"/>
                <a:gd name="T21" fmla="*/ 183 h 226"/>
                <a:gd name="T22" fmla="*/ 493 w 1985"/>
                <a:gd name="T23" fmla="*/ 223 h 226"/>
                <a:gd name="T24" fmla="*/ 668 w 1985"/>
                <a:gd name="T25" fmla="*/ 11 h 226"/>
                <a:gd name="T26" fmla="*/ 652 w 1985"/>
                <a:gd name="T27" fmla="*/ 62 h 226"/>
                <a:gd name="T28" fmla="*/ 631 w 1985"/>
                <a:gd name="T29" fmla="*/ 31 h 226"/>
                <a:gd name="T30" fmla="*/ 623 w 1985"/>
                <a:gd name="T31" fmla="*/ 75 h 226"/>
                <a:gd name="T32" fmla="*/ 682 w 1985"/>
                <a:gd name="T33" fmla="*/ 149 h 226"/>
                <a:gd name="T34" fmla="*/ 675 w 1985"/>
                <a:gd name="T35" fmla="*/ 208 h 226"/>
                <a:gd name="T36" fmla="*/ 621 w 1985"/>
                <a:gd name="T37" fmla="*/ 225 h 226"/>
                <a:gd name="T38" fmla="*/ 583 w 1985"/>
                <a:gd name="T39" fmla="*/ 188 h 226"/>
                <a:gd name="T40" fmla="*/ 622 w 1985"/>
                <a:gd name="T41" fmla="*/ 191 h 226"/>
                <a:gd name="T42" fmla="*/ 650 w 1985"/>
                <a:gd name="T43" fmla="*/ 178 h 226"/>
                <a:gd name="T44" fmla="*/ 604 w 1985"/>
                <a:gd name="T45" fmla="*/ 108 h 226"/>
                <a:gd name="T46" fmla="*/ 583 w 1985"/>
                <a:gd name="T47" fmla="*/ 43 h 226"/>
                <a:gd name="T48" fmla="*/ 616 w 1985"/>
                <a:gd name="T49" fmla="*/ 2 h 226"/>
                <a:gd name="T50" fmla="*/ 713 w 1985"/>
                <a:gd name="T51" fmla="*/ 223 h 226"/>
                <a:gd name="T52" fmla="*/ 950 w 1985"/>
                <a:gd name="T53" fmla="*/ 65 h 226"/>
                <a:gd name="T54" fmla="*/ 1051 w 1985"/>
                <a:gd name="T55" fmla="*/ 223 h 226"/>
                <a:gd name="T56" fmla="*/ 1170 w 1985"/>
                <a:gd name="T57" fmla="*/ 14 h 226"/>
                <a:gd name="T58" fmla="*/ 1150 w 1985"/>
                <a:gd name="T59" fmla="*/ 53 h 226"/>
                <a:gd name="T60" fmla="*/ 1125 w 1985"/>
                <a:gd name="T61" fmla="*/ 32 h 226"/>
                <a:gd name="T62" fmla="*/ 1126 w 1985"/>
                <a:gd name="T63" fmla="*/ 82 h 226"/>
                <a:gd name="T64" fmla="*/ 1181 w 1985"/>
                <a:gd name="T65" fmla="*/ 154 h 226"/>
                <a:gd name="T66" fmla="*/ 1170 w 1985"/>
                <a:gd name="T67" fmla="*/ 211 h 226"/>
                <a:gd name="T68" fmla="*/ 1114 w 1985"/>
                <a:gd name="T69" fmla="*/ 224 h 226"/>
                <a:gd name="T70" fmla="*/ 1080 w 1985"/>
                <a:gd name="T71" fmla="*/ 183 h 226"/>
                <a:gd name="T72" fmla="*/ 1123 w 1985"/>
                <a:gd name="T73" fmla="*/ 193 h 226"/>
                <a:gd name="T74" fmla="*/ 1148 w 1985"/>
                <a:gd name="T75" fmla="*/ 172 h 226"/>
                <a:gd name="T76" fmla="*/ 1096 w 1985"/>
                <a:gd name="T77" fmla="*/ 101 h 226"/>
                <a:gd name="T78" fmla="*/ 1082 w 1985"/>
                <a:gd name="T79" fmla="*/ 37 h 226"/>
                <a:gd name="T80" fmla="*/ 1120 w 1985"/>
                <a:gd name="T81" fmla="*/ 0 h 226"/>
                <a:gd name="T82" fmla="*/ 1326 w 1985"/>
                <a:gd name="T83" fmla="*/ 2 h 226"/>
                <a:gd name="T84" fmla="*/ 1376 w 1985"/>
                <a:gd name="T85" fmla="*/ 2 h 226"/>
                <a:gd name="T86" fmla="*/ 1522 w 1985"/>
                <a:gd name="T87" fmla="*/ 186 h 226"/>
                <a:gd name="T88" fmla="*/ 1552 w 1985"/>
                <a:gd name="T89" fmla="*/ 186 h 226"/>
                <a:gd name="T90" fmla="*/ 1583 w 1985"/>
                <a:gd name="T91" fmla="*/ 199 h 226"/>
                <a:gd name="T92" fmla="*/ 1536 w 1985"/>
                <a:gd name="T93" fmla="*/ 226 h 226"/>
                <a:gd name="T94" fmla="*/ 1489 w 1985"/>
                <a:gd name="T95" fmla="*/ 199 h 226"/>
                <a:gd name="T96" fmla="*/ 1722 w 1985"/>
                <a:gd name="T97" fmla="*/ 98 h 226"/>
                <a:gd name="T98" fmla="*/ 1688 w 1985"/>
                <a:gd name="T99" fmla="*/ 138 h 226"/>
                <a:gd name="T100" fmla="*/ 1688 w 1985"/>
                <a:gd name="T101" fmla="*/ 4 h 226"/>
                <a:gd name="T102" fmla="*/ 1722 w 1985"/>
                <a:gd name="T103" fmla="*/ 50 h 226"/>
                <a:gd name="T104" fmla="*/ 1687 w 1985"/>
                <a:gd name="T105" fmla="*/ 95 h 226"/>
                <a:gd name="T106" fmla="*/ 1671 w 1985"/>
                <a:gd name="T107" fmla="*/ 34 h 226"/>
                <a:gd name="T108" fmla="*/ 1838 w 1985"/>
                <a:gd name="T109" fmla="*/ 126 h 226"/>
                <a:gd name="T110" fmla="*/ 1748 w 1985"/>
                <a:gd name="T111" fmla="*/ 223 h 226"/>
                <a:gd name="T112" fmla="*/ 1841 w 1985"/>
                <a:gd name="T113" fmla="*/ 20 h 226"/>
                <a:gd name="T114" fmla="*/ 1807 w 1985"/>
                <a:gd name="T115" fmla="*/ 108 h 226"/>
                <a:gd name="T116" fmla="*/ 1814 w 1985"/>
                <a:gd name="T117" fmla="*/ 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5" h="226">
                  <a:moveTo>
                    <a:pt x="1906" y="153"/>
                  </a:moveTo>
                  <a:lnTo>
                    <a:pt x="1939" y="153"/>
                  </a:lnTo>
                  <a:lnTo>
                    <a:pt x="1922" y="41"/>
                  </a:lnTo>
                  <a:lnTo>
                    <a:pt x="1906" y="153"/>
                  </a:lnTo>
                  <a:close/>
                  <a:moveTo>
                    <a:pt x="1985" y="223"/>
                  </a:moveTo>
                  <a:lnTo>
                    <a:pt x="1950" y="223"/>
                  </a:lnTo>
                  <a:lnTo>
                    <a:pt x="1944" y="183"/>
                  </a:lnTo>
                  <a:lnTo>
                    <a:pt x="1901" y="183"/>
                  </a:lnTo>
                  <a:lnTo>
                    <a:pt x="1895" y="223"/>
                  </a:lnTo>
                  <a:lnTo>
                    <a:pt x="1863" y="223"/>
                  </a:lnTo>
                  <a:lnTo>
                    <a:pt x="1899" y="2"/>
                  </a:lnTo>
                  <a:lnTo>
                    <a:pt x="1950" y="2"/>
                  </a:lnTo>
                  <a:lnTo>
                    <a:pt x="1985" y="223"/>
                  </a:lnTo>
                  <a:close/>
                  <a:moveTo>
                    <a:pt x="73" y="223"/>
                  </a:moveTo>
                  <a:lnTo>
                    <a:pt x="72" y="219"/>
                  </a:lnTo>
                  <a:lnTo>
                    <a:pt x="71" y="214"/>
                  </a:lnTo>
                  <a:lnTo>
                    <a:pt x="70" y="207"/>
                  </a:lnTo>
                  <a:lnTo>
                    <a:pt x="70" y="196"/>
                  </a:lnTo>
                  <a:lnTo>
                    <a:pt x="70" y="161"/>
                  </a:lnTo>
                  <a:lnTo>
                    <a:pt x="69" y="154"/>
                  </a:lnTo>
                  <a:lnTo>
                    <a:pt x="68" y="148"/>
                  </a:lnTo>
                  <a:lnTo>
                    <a:pt x="67" y="143"/>
                  </a:lnTo>
                  <a:lnTo>
                    <a:pt x="64" y="140"/>
                  </a:lnTo>
                  <a:lnTo>
                    <a:pt x="61" y="137"/>
                  </a:lnTo>
                  <a:lnTo>
                    <a:pt x="57" y="135"/>
                  </a:lnTo>
                  <a:lnTo>
                    <a:pt x="52" y="134"/>
                  </a:lnTo>
                  <a:lnTo>
                    <a:pt x="47" y="133"/>
                  </a:lnTo>
                  <a:lnTo>
                    <a:pt x="35" y="133"/>
                  </a:lnTo>
                  <a:lnTo>
                    <a:pt x="35" y="223"/>
                  </a:lnTo>
                  <a:lnTo>
                    <a:pt x="0" y="223"/>
                  </a:lnTo>
                  <a:lnTo>
                    <a:pt x="0" y="2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65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6" y="5"/>
                  </a:lnTo>
                  <a:lnTo>
                    <a:pt x="80" y="7"/>
                  </a:lnTo>
                  <a:lnTo>
                    <a:pt x="85" y="9"/>
                  </a:lnTo>
                  <a:lnTo>
                    <a:pt x="88" y="12"/>
                  </a:lnTo>
                  <a:lnTo>
                    <a:pt x="92" y="15"/>
                  </a:lnTo>
                  <a:lnTo>
                    <a:pt x="95" y="18"/>
                  </a:lnTo>
                  <a:lnTo>
                    <a:pt x="97" y="22"/>
                  </a:lnTo>
                  <a:lnTo>
                    <a:pt x="99" y="26"/>
                  </a:lnTo>
                  <a:lnTo>
                    <a:pt x="101" y="31"/>
                  </a:lnTo>
                  <a:lnTo>
                    <a:pt x="102" y="36"/>
                  </a:lnTo>
                  <a:lnTo>
                    <a:pt x="103" y="41"/>
                  </a:lnTo>
                  <a:lnTo>
                    <a:pt x="104" y="47"/>
                  </a:lnTo>
                  <a:lnTo>
                    <a:pt x="104" y="53"/>
                  </a:lnTo>
                  <a:lnTo>
                    <a:pt x="104" y="70"/>
                  </a:lnTo>
                  <a:lnTo>
                    <a:pt x="104" y="78"/>
                  </a:lnTo>
                  <a:lnTo>
                    <a:pt x="103" y="86"/>
                  </a:lnTo>
                  <a:lnTo>
                    <a:pt x="101" y="93"/>
                  </a:lnTo>
                  <a:lnTo>
                    <a:pt x="99" y="99"/>
                  </a:lnTo>
                  <a:lnTo>
                    <a:pt x="95" y="104"/>
                  </a:lnTo>
                  <a:lnTo>
                    <a:pt x="93" y="106"/>
                  </a:lnTo>
                  <a:lnTo>
                    <a:pt x="91" y="108"/>
                  </a:lnTo>
                  <a:lnTo>
                    <a:pt x="89" y="110"/>
                  </a:lnTo>
                  <a:lnTo>
                    <a:pt x="87" y="112"/>
                  </a:lnTo>
                  <a:lnTo>
                    <a:pt x="84" y="114"/>
                  </a:lnTo>
                  <a:lnTo>
                    <a:pt x="81" y="115"/>
                  </a:lnTo>
                  <a:lnTo>
                    <a:pt x="87" y="118"/>
                  </a:lnTo>
                  <a:lnTo>
                    <a:pt x="92" y="122"/>
                  </a:lnTo>
                  <a:lnTo>
                    <a:pt x="96" y="127"/>
                  </a:lnTo>
                  <a:lnTo>
                    <a:pt x="98" y="130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2" y="139"/>
                  </a:lnTo>
                  <a:lnTo>
                    <a:pt x="103" y="143"/>
                  </a:lnTo>
                  <a:lnTo>
                    <a:pt x="103" y="146"/>
                  </a:lnTo>
                  <a:lnTo>
                    <a:pt x="104" y="154"/>
                  </a:lnTo>
                  <a:lnTo>
                    <a:pt x="104" y="162"/>
                  </a:lnTo>
                  <a:lnTo>
                    <a:pt x="104" y="196"/>
                  </a:lnTo>
                  <a:lnTo>
                    <a:pt x="105" y="204"/>
                  </a:lnTo>
                  <a:lnTo>
                    <a:pt x="105" y="211"/>
                  </a:lnTo>
                  <a:lnTo>
                    <a:pt x="105" y="214"/>
                  </a:lnTo>
                  <a:lnTo>
                    <a:pt x="106" y="217"/>
                  </a:lnTo>
                  <a:lnTo>
                    <a:pt x="108" y="223"/>
                  </a:lnTo>
                  <a:lnTo>
                    <a:pt x="73" y="223"/>
                  </a:lnTo>
                  <a:close/>
                  <a:moveTo>
                    <a:pt x="35" y="34"/>
                  </a:moveTo>
                  <a:lnTo>
                    <a:pt x="35" y="102"/>
                  </a:lnTo>
                  <a:lnTo>
                    <a:pt x="48" y="102"/>
                  </a:lnTo>
                  <a:lnTo>
                    <a:pt x="53" y="101"/>
                  </a:lnTo>
                  <a:lnTo>
                    <a:pt x="57" y="100"/>
                  </a:lnTo>
                  <a:lnTo>
                    <a:pt x="61" y="99"/>
                  </a:lnTo>
                  <a:lnTo>
                    <a:pt x="64" y="97"/>
                  </a:lnTo>
                  <a:lnTo>
                    <a:pt x="66" y="93"/>
                  </a:lnTo>
                  <a:lnTo>
                    <a:pt x="68" y="89"/>
                  </a:lnTo>
                  <a:lnTo>
                    <a:pt x="69" y="84"/>
                  </a:lnTo>
                  <a:lnTo>
                    <a:pt x="69" y="78"/>
                  </a:lnTo>
                  <a:lnTo>
                    <a:pt x="69" y="56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5" y="39"/>
                  </a:lnTo>
                  <a:lnTo>
                    <a:pt x="63" y="37"/>
                  </a:lnTo>
                  <a:lnTo>
                    <a:pt x="60" y="35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35" y="34"/>
                  </a:lnTo>
                  <a:close/>
                  <a:moveTo>
                    <a:pt x="248" y="223"/>
                  </a:moveTo>
                  <a:lnTo>
                    <a:pt x="212" y="223"/>
                  </a:lnTo>
                  <a:lnTo>
                    <a:pt x="206" y="183"/>
                  </a:lnTo>
                  <a:lnTo>
                    <a:pt x="164" y="183"/>
                  </a:lnTo>
                  <a:lnTo>
                    <a:pt x="158" y="223"/>
                  </a:lnTo>
                  <a:lnTo>
                    <a:pt x="126" y="223"/>
                  </a:lnTo>
                  <a:lnTo>
                    <a:pt x="161" y="2"/>
                  </a:lnTo>
                  <a:lnTo>
                    <a:pt x="212" y="2"/>
                  </a:lnTo>
                  <a:lnTo>
                    <a:pt x="248" y="223"/>
                  </a:lnTo>
                  <a:close/>
                  <a:moveTo>
                    <a:pt x="168" y="153"/>
                  </a:moveTo>
                  <a:lnTo>
                    <a:pt x="202" y="153"/>
                  </a:lnTo>
                  <a:lnTo>
                    <a:pt x="185" y="41"/>
                  </a:lnTo>
                  <a:lnTo>
                    <a:pt x="168" y="153"/>
                  </a:lnTo>
                  <a:close/>
                  <a:moveTo>
                    <a:pt x="316" y="183"/>
                  </a:moveTo>
                  <a:lnTo>
                    <a:pt x="343" y="2"/>
                  </a:lnTo>
                  <a:lnTo>
                    <a:pt x="375" y="2"/>
                  </a:lnTo>
                  <a:lnTo>
                    <a:pt x="340" y="223"/>
                  </a:lnTo>
                  <a:lnTo>
                    <a:pt x="289" y="223"/>
                  </a:lnTo>
                  <a:lnTo>
                    <a:pt x="254" y="2"/>
                  </a:lnTo>
                  <a:lnTo>
                    <a:pt x="290" y="2"/>
                  </a:lnTo>
                  <a:lnTo>
                    <a:pt x="316" y="183"/>
                  </a:lnTo>
                  <a:close/>
                  <a:moveTo>
                    <a:pt x="398" y="2"/>
                  </a:moveTo>
                  <a:lnTo>
                    <a:pt x="433" y="2"/>
                  </a:lnTo>
                  <a:lnTo>
                    <a:pt x="433" y="223"/>
                  </a:lnTo>
                  <a:lnTo>
                    <a:pt x="398" y="223"/>
                  </a:lnTo>
                  <a:lnTo>
                    <a:pt x="398" y="2"/>
                  </a:lnTo>
                  <a:close/>
                  <a:moveTo>
                    <a:pt x="456" y="2"/>
                  </a:moveTo>
                  <a:lnTo>
                    <a:pt x="564" y="2"/>
                  </a:lnTo>
                  <a:lnTo>
                    <a:pt x="564" y="34"/>
                  </a:lnTo>
                  <a:lnTo>
                    <a:pt x="527" y="34"/>
                  </a:lnTo>
                  <a:lnTo>
                    <a:pt x="527" y="223"/>
                  </a:lnTo>
                  <a:lnTo>
                    <a:pt x="493" y="223"/>
                  </a:lnTo>
                  <a:lnTo>
                    <a:pt x="493" y="34"/>
                  </a:lnTo>
                  <a:lnTo>
                    <a:pt x="456" y="34"/>
                  </a:lnTo>
                  <a:lnTo>
                    <a:pt x="456" y="2"/>
                  </a:lnTo>
                  <a:close/>
                  <a:moveTo>
                    <a:pt x="634" y="0"/>
                  </a:moveTo>
                  <a:lnTo>
                    <a:pt x="640" y="0"/>
                  </a:lnTo>
                  <a:lnTo>
                    <a:pt x="645" y="0"/>
                  </a:lnTo>
                  <a:lnTo>
                    <a:pt x="651" y="2"/>
                  </a:lnTo>
                  <a:lnTo>
                    <a:pt x="656" y="3"/>
                  </a:lnTo>
                  <a:lnTo>
                    <a:pt x="660" y="5"/>
                  </a:lnTo>
                  <a:lnTo>
                    <a:pt x="665" y="8"/>
                  </a:lnTo>
                  <a:lnTo>
                    <a:pt x="668" y="11"/>
                  </a:lnTo>
                  <a:lnTo>
                    <a:pt x="672" y="14"/>
                  </a:lnTo>
                  <a:lnTo>
                    <a:pt x="675" y="18"/>
                  </a:lnTo>
                  <a:lnTo>
                    <a:pt x="677" y="22"/>
                  </a:lnTo>
                  <a:lnTo>
                    <a:pt x="680" y="27"/>
                  </a:lnTo>
                  <a:lnTo>
                    <a:pt x="681" y="32"/>
                  </a:lnTo>
                  <a:lnTo>
                    <a:pt x="683" y="37"/>
                  </a:lnTo>
                  <a:lnTo>
                    <a:pt x="684" y="43"/>
                  </a:lnTo>
                  <a:lnTo>
                    <a:pt x="685" y="49"/>
                  </a:lnTo>
                  <a:lnTo>
                    <a:pt x="685" y="55"/>
                  </a:lnTo>
                  <a:lnTo>
                    <a:pt x="685" y="62"/>
                  </a:lnTo>
                  <a:lnTo>
                    <a:pt x="652" y="62"/>
                  </a:lnTo>
                  <a:lnTo>
                    <a:pt x="652" y="53"/>
                  </a:lnTo>
                  <a:lnTo>
                    <a:pt x="652" y="47"/>
                  </a:lnTo>
                  <a:lnTo>
                    <a:pt x="651" y="43"/>
                  </a:lnTo>
                  <a:lnTo>
                    <a:pt x="650" y="41"/>
                  </a:lnTo>
                  <a:lnTo>
                    <a:pt x="649" y="39"/>
                  </a:lnTo>
                  <a:lnTo>
                    <a:pt x="647" y="36"/>
                  </a:lnTo>
                  <a:lnTo>
                    <a:pt x="645" y="34"/>
                  </a:lnTo>
                  <a:lnTo>
                    <a:pt x="642" y="32"/>
                  </a:lnTo>
                  <a:lnTo>
                    <a:pt x="638" y="31"/>
                  </a:lnTo>
                  <a:lnTo>
                    <a:pt x="634" y="31"/>
                  </a:lnTo>
                  <a:lnTo>
                    <a:pt x="631" y="31"/>
                  </a:lnTo>
                  <a:lnTo>
                    <a:pt x="627" y="32"/>
                  </a:lnTo>
                  <a:lnTo>
                    <a:pt x="624" y="34"/>
                  </a:lnTo>
                  <a:lnTo>
                    <a:pt x="622" y="36"/>
                  </a:lnTo>
                  <a:lnTo>
                    <a:pt x="620" y="39"/>
                  </a:lnTo>
                  <a:lnTo>
                    <a:pt x="618" y="43"/>
                  </a:lnTo>
                  <a:lnTo>
                    <a:pt x="617" y="47"/>
                  </a:lnTo>
                  <a:lnTo>
                    <a:pt x="617" y="53"/>
                  </a:lnTo>
                  <a:lnTo>
                    <a:pt x="617" y="57"/>
                  </a:lnTo>
                  <a:lnTo>
                    <a:pt x="618" y="61"/>
                  </a:lnTo>
                  <a:lnTo>
                    <a:pt x="620" y="68"/>
                  </a:lnTo>
                  <a:lnTo>
                    <a:pt x="623" y="75"/>
                  </a:lnTo>
                  <a:lnTo>
                    <a:pt x="628" y="82"/>
                  </a:lnTo>
                  <a:lnTo>
                    <a:pt x="633" y="88"/>
                  </a:lnTo>
                  <a:lnTo>
                    <a:pt x="639" y="93"/>
                  </a:lnTo>
                  <a:lnTo>
                    <a:pt x="651" y="105"/>
                  </a:lnTo>
                  <a:lnTo>
                    <a:pt x="657" y="111"/>
                  </a:lnTo>
                  <a:lnTo>
                    <a:pt x="664" y="117"/>
                  </a:lnTo>
                  <a:lnTo>
                    <a:pt x="669" y="124"/>
                  </a:lnTo>
                  <a:lnTo>
                    <a:pt x="674" y="132"/>
                  </a:lnTo>
                  <a:lnTo>
                    <a:pt x="679" y="140"/>
                  </a:lnTo>
                  <a:lnTo>
                    <a:pt x="681" y="144"/>
                  </a:lnTo>
                  <a:lnTo>
                    <a:pt x="682" y="149"/>
                  </a:lnTo>
                  <a:lnTo>
                    <a:pt x="683" y="154"/>
                  </a:lnTo>
                  <a:lnTo>
                    <a:pt x="684" y="159"/>
                  </a:lnTo>
                  <a:lnTo>
                    <a:pt x="685" y="164"/>
                  </a:lnTo>
                  <a:lnTo>
                    <a:pt x="685" y="170"/>
                  </a:lnTo>
                  <a:lnTo>
                    <a:pt x="685" y="177"/>
                  </a:lnTo>
                  <a:lnTo>
                    <a:pt x="684" y="183"/>
                  </a:lnTo>
                  <a:lnTo>
                    <a:pt x="683" y="188"/>
                  </a:lnTo>
                  <a:lnTo>
                    <a:pt x="682" y="194"/>
                  </a:lnTo>
                  <a:lnTo>
                    <a:pt x="680" y="199"/>
                  </a:lnTo>
                  <a:lnTo>
                    <a:pt x="678" y="203"/>
                  </a:lnTo>
                  <a:lnTo>
                    <a:pt x="675" y="208"/>
                  </a:lnTo>
                  <a:lnTo>
                    <a:pt x="672" y="211"/>
                  </a:lnTo>
                  <a:lnTo>
                    <a:pt x="668" y="215"/>
                  </a:lnTo>
                  <a:lnTo>
                    <a:pt x="665" y="218"/>
                  </a:lnTo>
                  <a:lnTo>
                    <a:pt x="660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5" y="225"/>
                  </a:lnTo>
                  <a:lnTo>
                    <a:pt x="639" y="226"/>
                  </a:lnTo>
                  <a:lnTo>
                    <a:pt x="633" y="226"/>
                  </a:lnTo>
                  <a:lnTo>
                    <a:pt x="627" y="226"/>
                  </a:lnTo>
                  <a:lnTo>
                    <a:pt x="621" y="225"/>
                  </a:lnTo>
                  <a:lnTo>
                    <a:pt x="616" y="224"/>
                  </a:lnTo>
                  <a:lnTo>
                    <a:pt x="611" y="222"/>
                  </a:lnTo>
                  <a:lnTo>
                    <a:pt x="606" y="220"/>
                  </a:lnTo>
                  <a:lnTo>
                    <a:pt x="602" y="218"/>
                  </a:lnTo>
                  <a:lnTo>
                    <a:pt x="598" y="215"/>
                  </a:lnTo>
                  <a:lnTo>
                    <a:pt x="594" y="211"/>
                  </a:lnTo>
                  <a:lnTo>
                    <a:pt x="591" y="208"/>
                  </a:lnTo>
                  <a:lnTo>
                    <a:pt x="589" y="203"/>
                  </a:lnTo>
                  <a:lnTo>
                    <a:pt x="587" y="199"/>
                  </a:lnTo>
                  <a:lnTo>
                    <a:pt x="585" y="194"/>
                  </a:lnTo>
                  <a:lnTo>
                    <a:pt x="583" y="188"/>
                  </a:lnTo>
                  <a:lnTo>
                    <a:pt x="582" y="183"/>
                  </a:lnTo>
                  <a:lnTo>
                    <a:pt x="582" y="177"/>
                  </a:lnTo>
                  <a:lnTo>
                    <a:pt x="581" y="170"/>
                  </a:lnTo>
                  <a:lnTo>
                    <a:pt x="581" y="157"/>
                  </a:lnTo>
                  <a:lnTo>
                    <a:pt x="614" y="157"/>
                  </a:lnTo>
                  <a:lnTo>
                    <a:pt x="614" y="172"/>
                  </a:lnTo>
                  <a:lnTo>
                    <a:pt x="615" y="178"/>
                  </a:lnTo>
                  <a:lnTo>
                    <a:pt x="616" y="182"/>
                  </a:lnTo>
                  <a:lnTo>
                    <a:pt x="617" y="186"/>
                  </a:lnTo>
                  <a:lnTo>
                    <a:pt x="619" y="189"/>
                  </a:lnTo>
                  <a:lnTo>
                    <a:pt x="622" y="191"/>
                  </a:lnTo>
                  <a:lnTo>
                    <a:pt x="625" y="193"/>
                  </a:lnTo>
                  <a:lnTo>
                    <a:pt x="628" y="194"/>
                  </a:lnTo>
                  <a:lnTo>
                    <a:pt x="632" y="194"/>
                  </a:lnTo>
                  <a:lnTo>
                    <a:pt x="636" y="194"/>
                  </a:lnTo>
                  <a:lnTo>
                    <a:pt x="640" y="193"/>
                  </a:lnTo>
                  <a:lnTo>
                    <a:pt x="643" y="191"/>
                  </a:lnTo>
                  <a:lnTo>
                    <a:pt x="644" y="190"/>
                  </a:lnTo>
                  <a:lnTo>
                    <a:pt x="645" y="189"/>
                  </a:lnTo>
                  <a:lnTo>
                    <a:pt x="647" y="186"/>
                  </a:lnTo>
                  <a:lnTo>
                    <a:pt x="649" y="182"/>
                  </a:lnTo>
                  <a:lnTo>
                    <a:pt x="650" y="178"/>
                  </a:lnTo>
                  <a:lnTo>
                    <a:pt x="650" y="172"/>
                  </a:lnTo>
                  <a:lnTo>
                    <a:pt x="650" y="168"/>
                  </a:lnTo>
                  <a:lnTo>
                    <a:pt x="649" y="164"/>
                  </a:lnTo>
                  <a:lnTo>
                    <a:pt x="647" y="157"/>
                  </a:lnTo>
                  <a:lnTo>
                    <a:pt x="644" y="150"/>
                  </a:lnTo>
                  <a:lnTo>
                    <a:pt x="640" y="144"/>
                  </a:lnTo>
                  <a:lnTo>
                    <a:pt x="635" y="138"/>
                  </a:lnTo>
                  <a:lnTo>
                    <a:pt x="629" y="132"/>
                  </a:lnTo>
                  <a:lnTo>
                    <a:pt x="616" y="120"/>
                  </a:lnTo>
                  <a:lnTo>
                    <a:pt x="610" y="114"/>
                  </a:lnTo>
                  <a:lnTo>
                    <a:pt x="604" y="108"/>
                  </a:lnTo>
                  <a:lnTo>
                    <a:pt x="598" y="101"/>
                  </a:lnTo>
                  <a:lnTo>
                    <a:pt x="593" y="94"/>
                  </a:lnTo>
                  <a:lnTo>
                    <a:pt x="589" y="86"/>
                  </a:lnTo>
                  <a:lnTo>
                    <a:pt x="587" y="81"/>
                  </a:lnTo>
                  <a:lnTo>
                    <a:pt x="585" y="76"/>
                  </a:lnTo>
                  <a:lnTo>
                    <a:pt x="584" y="72"/>
                  </a:lnTo>
                  <a:lnTo>
                    <a:pt x="583" y="66"/>
                  </a:lnTo>
                  <a:lnTo>
                    <a:pt x="583" y="61"/>
                  </a:lnTo>
                  <a:lnTo>
                    <a:pt x="582" y="55"/>
                  </a:lnTo>
                  <a:lnTo>
                    <a:pt x="583" y="49"/>
                  </a:lnTo>
                  <a:lnTo>
                    <a:pt x="583" y="43"/>
                  </a:lnTo>
                  <a:lnTo>
                    <a:pt x="584" y="37"/>
                  </a:lnTo>
                  <a:lnTo>
                    <a:pt x="586" y="32"/>
                  </a:lnTo>
                  <a:lnTo>
                    <a:pt x="587" y="27"/>
                  </a:lnTo>
                  <a:lnTo>
                    <a:pt x="590" y="22"/>
                  </a:lnTo>
                  <a:lnTo>
                    <a:pt x="592" y="18"/>
                  </a:lnTo>
                  <a:lnTo>
                    <a:pt x="595" y="14"/>
                  </a:lnTo>
                  <a:lnTo>
                    <a:pt x="599" y="11"/>
                  </a:lnTo>
                  <a:lnTo>
                    <a:pt x="602" y="8"/>
                  </a:lnTo>
                  <a:lnTo>
                    <a:pt x="607" y="5"/>
                  </a:lnTo>
                  <a:lnTo>
                    <a:pt x="611" y="3"/>
                  </a:lnTo>
                  <a:lnTo>
                    <a:pt x="616" y="2"/>
                  </a:lnTo>
                  <a:lnTo>
                    <a:pt x="622" y="0"/>
                  </a:lnTo>
                  <a:lnTo>
                    <a:pt x="627" y="0"/>
                  </a:lnTo>
                  <a:lnTo>
                    <a:pt x="634" y="0"/>
                  </a:lnTo>
                  <a:close/>
                  <a:moveTo>
                    <a:pt x="748" y="95"/>
                  </a:moveTo>
                  <a:lnTo>
                    <a:pt x="795" y="95"/>
                  </a:lnTo>
                  <a:lnTo>
                    <a:pt x="795" y="127"/>
                  </a:lnTo>
                  <a:lnTo>
                    <a:pt x="748" y="127"/>
                  </a:lnTo>
                  <a:lnTo>
                    <a:pt x="748" y="192"/>
                  </a:lnTo>
                  <a:lnTo>
                    <a:pt x="808" y="192"/>
                  </a:lnTo>
                  <a:lnTo>
                    <a:pt x="808" y="223"/>
                  </a:lnTo>
                  <a:lnTo>
                    <a:pt x="713" y="223"/>
                  </a:lnTo>
                  <a:lnTo>
                    <a:pt x="713" y="2"/>
                  </a:lnTo>
                  <a:lnTo>
                    <a:pt x="808" y="2"/>
                  </a:lnTo>
                  <a:lnTo>
                    <a:pt x="808" y="34"/>
                  </a:lnTo>
                  <a:lnTo>
                    <a:pt x="748" y="34"/>
                  </a:lnTo>
                  <a:lnTo>
                    <a:pt x="748" y="95"/>
                  </a:lnTo>
                  <a:close/>
                  <a:moveTo>
                    <a:pt x="911" y="159"/>
                  </a:moveTo>
                  <a:lnTo>
                    <a:pt x="934" y="2"/>
                  </a:lnTo>
                  <a:lnTo>
                    <a:pt x="983" y="2"/>
                  </a:lnTo>
                  <a:lnTo>
                    <a:pt x="983" y="223"/>
                  </a:lnTo>
                  <a:lnTo>
                    <a:pt x="950" y="223"/>
                  </a:lnTo>
                  <a:lnTo>
                    <a:pt x="950" y="65"/>
                  </a:lnTo>
                  <a:lnTo>
                    <a:pt x="926" y="223"/>
                  </a:lnTo>
                  <a:lnTo>
                    <a:pt x="893" y="223"/>
                  </a:lnTo>
                  <a:lnTo>
                    <a:pt x="867" y="67"/>
                  </a:lnTo>
                  <a:lnTo>
                    <a:pt x="867" y="223"/>
                  </a:lnTo>
                  <a:lnTo>
                    <a:pt x="837" y="223"/>
                  </a:lnTo>
                  <a:lnTo>
                    <a:pt x="837" y="2"/>
                  </a:lnTo>
                  <a:lnTo>
                    <a:pt x="885" y="2"/>
                  </a:lnTo>
                  <a:lnTo>
                    <a:pt x="911" y="159"/>
                  </a:lnTo>
                  <a:close/>
                  <a:moveTo>
                    <a:pt x="1017" y="2"/>
                  </a:moveTo>
                  <a:lnTo>
                    <a:pt x="1051" y="2"/>
                  </a:lnTo>
                  <a:lnTo>
                    <a:pt x="1051" y="223"/>
                  </a:lnTo>
                  <a:lnTo>
                    <a:pt x="1017" y="223"/>
                  </a:lnTo>
                  <a:lnTo>
                    <a:pt x="1017" y="2"/>
                  </a:lnTo>
                  <a:close/>
                  <a:moveTo>
                    <a:pt x="1131" y="0"/>
                  </a:moveTo>
                  <a:lnTo>
                    <a:pt x="1138" y="0"/>
                  </a:lnTo>
                  <a:lnTo>
                    <a:pt x="1143" y="0"/>
                  </a:lnTo>
                  <a:lnTo>
                    <a:pt x="1149" y="2"/>
                  </a:lnTo>
                  <a:lnTo>
                    <a:pt x="1154" y="3"/>
                  </a:lnTo>
                  <a:lnTo>
                    <a:pt x="1158" y="5"/>
                  </a:lnTo>
                  <a:lnTo>
                    <a:pt x="1162" y="8"/>
                  </a:lnTo>
                  <a:lnTo>
                    <a:pt x="1166" y="11"/>
                  </a:lnTo>
                  <a:lnTo>
                    <a:pt x="1170" y="14"/>
                  </a:lnTo>
                  <a:lnTo>
                    <a:pt x="1173" y="18"/>
                  </a:lnTo>
                  <a:lnTo>
                    <a:pt x="1175" y="22"/>
                  </a:lnTo>
                  <a:lnTo>
                    <a:pt x="1178" y="27"/>
                  </a:lnTo>
                  <a:lnTo>
                    <a:pt x="1179" y="32"/>
                  </a:lnTo>
                  <a:lnTo>
                    <a:pt x="1181" y="37"/>
                  </a:lnTo>
                  <a:lnTo>
                    <a:pt x="1182" y="43"/>
                  </a:lnTo>
                  <a:lnTo>
                    <a:pt x="1182" y="49"/>
                  </a:lnTo>
                  <a:lnTo>
                    <a:pt x="1183" y="55"/>
                  </a:lnTo>
                  <a:lnTo>
                    <a:pt x="1183" y="62"/>
                  </a:lnTo>
                  <a:lnTo>
                    <a:pt x="1150" y="62"/>
                  </a:lnTo>
                  <a:lnTo>
                    <a:pt x="1150" y="53"/>
                  </a:lnTo>
                  <a:lnTo>
                    <a:pt x="1149" y="47"/>
                  </a:lnTo>
                  <a:lnTo>
                    <a:pt x="1149" y="43"/>
                  </a:lnTo>
                  <a:lnTo>
                    <a:pt x="1148" y="41"/>
                  </a:lnTo>
                  <a:lnTo>
                    <a:pt x="1147" y="39"/>
                  </a:lnTo>
                  <a:lnTo>
                    <a:pt x="1145" y="36"/>
                  </a:lnTo>
                  <a:lnTo>
                    <a:pt x="1143" y="34"/>
                  </a:lnTo>
                  <a:lnTo>
                    <a:pt x="1140" y="32"/>
                  </a:lnTo>
                  <a:lnTo>
                    <a:pt x="1136" y="31"/>
                  </a:lnTo>
                  <a:lnTo>
                    <a:pt x="1132" y="31"/>
                  </a:lnTo>
                  <a:lnTo>
                    <a:pt x="1128" y="31"/>
                  </a:lnTo>
                  <a:lnTo>
                    <a:pt x="1125" y="32"/>
                  </a:lnTo>
                  <a:lnTo>
                    <a:pt x="1122" y="34"/>
                  </a:lnTo>
                  <a:lnTo>
                    <a:pt x="1120" y="36"/>
                  </a:lnTo>
                  <a:lnTo>
                    <a:pt x="1118" y="39"/>
                  </a:lnTo>
                  <a:lnTo>
                    <a:pt x="1116" y="43"/>
                  </a:lnTo>
                  <a:lnTo>
                    <a:pt x="1115" y="47"/>
                  </a:lnTo>
                  <a:lnTo>
                    <a:pt x="1115" y="53"/>
                  </a:lnTo>
                  <a:lnTo>
                    <a:pt x="1115" y="57"/>
                  </a:lnTo>
                  <a:lnTo>
                    <a:pt x="1116" y="61"/>
                  </a:lnTo>
                  <a:lnTo>
                    <a:pt x="1118" y="68"/>
                  </a:lnTo>
                  <a:lnTo>
                    <a:pt x="1121" y="75"/>
                  </a:lnTo>
                  <a:lnTo>
                    <a:pt x="1126" y="82"/>
                  </a:lnTo>
                  <a:lnTo>
                    <a:pt x="1131" y="88"/>
                  </a:lnTo>
                  <a:lnTo>
                    <a:pt x="1136" y="93"/>
                  </a:lnTo>
                  <a:lnTo>
                    <a:pt x="1149" y="105"/>
                  </a:lnTo>
                  <a:lnTo>
                    <a:pt x="1155" y="111"/>
                  </a:lnTo>
                  <a:lnTo>
                    <a:pt x="1161" y="117"/>
                  </a:lnTo>
                  <a:lnTo>
                    <a:pt x="1167" y="124"/>
                  </a:lnTo>
                  <a:lnTo>
                    <a:pt x="1172" y="132"/>
                  </a:lnTo>
                  <a:lnTo>
                    <a:pt x="1177" y="140"/>
                  </a:lnTo>
                  <a:lnTo>
                    <a:pt x="1178" y="144"/>
                  </a:lnTo>
                  <a:lnTo>
                    <a:pt x="1180" y="149"/>
                  </a:lnTo>
                  <a:lnTo>
                    <a:pt x="1181" y="154"/>
                  </a:lnTo>
                  <a:lnTo>
                    <a:pt x="1182" y="159"/>
                  </a:lnTo>
                  <a:lnTo>
                    <a:pt x="1183" y="164"/>
                  </a:lnTo>
                  <a:lnTo>
                    <a:pt x="1183" y="170"/>
                  </a:lnTo>
                  <a:lnTo>
                    <a:pt x="1183" y="177"/>
                  </a:lnTo>
                  <a:lnTo>
                    <a:pt x="1182" y="183"/>
                  </a:lnTo>
                  <a:lnTo>
                    <a:pt x="1181" y="188"/>
                  </a:lnTo>
                  <a:lnTo>
                    <a:pt x="1180" y="194"/>
                  </a:lnTo>
                  <a:lnTo>
                    <a:pt x="1178" y="199"/>
                  </a:lnTo>
                  <a:lnTo>
                    <a:pt x="1176" y="203"/>
                  </a:lnTo>
                  <a:lnTo>
                    <a:pt x="1173" y="208"/>
                  </a:lnTo>
                  <a:lnTo>
                    <a:pt x="1170" y="211"/>
                  </a:lnTo>
                  <a:lnTo>
                    <a:pt x="1166" y="215"/>
                  </a:lnTo>
                  <a:lnTo>
                    <a:pt x="1162" y="218"/>
                  </a:lnTo>
                  <a:lnTo>
                    <a:pt x="1158" y="220"/>
                  </a:lnTo>
                  <a:lnTo>
                    <a:pt x="1154" y="222"/>
                  </a:lnTo>
                  <a:lnTo>
                    <a:pt x="1149" y="224"/>
                  </a:lnTo>
                  <a:lnTo>
                    <a:pt x="1143" y="225"/>
                  </a:lnTo>
                  <a:lnTo>
                    <a:pt x="1137" y="226"/>
                  </a:lnTo>
                  <a:lnTo>
                    <a:pt x="1131" y="226"/>
                  </a:lnTo>
                  <a:lnTo>
                    <a:pt x="1125" y="226"/>
                  </a:lnTo>
                  <a:lnTo>
                    <a:pt x="1119" y="225"/>
                  </a:lnTo>
                  <a:lnTo>
                    <a:pt x="1114" y="224"/>
                  </a:lnTo>
                  <a:lnTo>
                    <a:pt x="1109" y="222"/>
                  </a:lnTo>
                  <a:lnTo>
                    <a:pt x="1104" y="220"/>
                  </a:lnTo>
                  <a:lnTo>
                    <a:pt x="1100" y="218"/>
                  </a:lnTo>
                  <a:lnTo>
                    <a:pt x="1096" y="215"/>
                  </a:lnTo>
                  <a:lnTo>
                    <a:pt x="1092" y="211"/>
                  </a:lnTo>
                  <a:lnTo>
                    <a:pt x="1089" y="208"/>
                  </a:lnTo>
                  <a:lnTo>
                    <a:pt x="1087" y="203"/>
                  </a:lnTo>
                  <a:lnTo>
                    <a:pt x="1084" y="199"/>
                  </a:lnTo>
                  <a:lnTo>
                    <a:pt x="1083" y="194"/>
                  </a:lnTo>
                  <a:lnTo>
                    <a:pt x="1081" y="188"/>
                  </a:lnTo>
                  <a:lnTo>
                    <a:pt x="1080" y="183"/>
                  </a:lnTo>
                  <a:lnTo>
                    <a:pt x="1079" y="177"/>
                  </a:lnTo>
                  <a:lnTo>
                    <a:pt x="1079" y="170"/>
                  </a:lnTo>
                  <a:lnTo>
                    <a:pt x="1079" y="157"/>
                  </a:lnTo>
                  <a:lnTo>
                    <a:pt x="1112" y="157"/>
                  </a:lnTo>
                  <a:lnTo>
                    <a:pt x="1112" y="172"/>
                  </a:lnTo>
                  <a:lnTo>
                    <a:pt x="1112" y="178"/>
                  </a:lnTo>
                  <a:lnTo>
                    <a:pt x="1113" y="182"/>
                  </a:lnTo>
                  <a:lnTo>
                    <a:pt x="1115" y="186"/>
                  </a:lnTo>
                  <a:lnTo>
                    <a:pt x="1117" y="189"/>
                  </a:lnTo>
                  <a:lnTo>
                    <a:pt x="1120" y="191"/>
                  </a:lnTo>
                  <a:lnTo>
                    <a:pt x="1123" y="193"/>
                  </a:lnTo>
                  <a:lnTo>
                    <a:pt x="1126" y="194"/>
                  </a:lnTo>
                  <a:lnTo>
                    <a:pt x="1130" y="194"/>
                  </a:lnTo>
                  <a:lnTo>
                    <a:pt x="1134" y="194"/>
                  </a:lnTo>
                  <a:lnTo>
                    <a:pt x="1138" y="193"/>
                  </a:lnTo>
                  <a:lnTo>
                    <a:pt x="1141" y="191"/>
                  </a:lnTo>
                  <a:lnTo>
                    <a:pt x="1142" y="190"/>
                  </a:lnTo>
                  <a:lnTo>
                    <a:pt x="1143" y="189"/>
                  </a:lnTo>
                  <a:lnTo>
                    <a:pt x="1145" y="186"/>
                  </a:lnTo>
                  <a:lnTo>
                    <a:pt x="1147" y="182"/>
                  </a:lnTo>
                  <a:lnTo>
                    <a:pt x="1148" y="178"/>
                  </a:lnTo>
                  <a:lnTo>
                    <a:pt x="1148" y="172"/>
                  </a:lnTo>
                  <a:lnTo>
                    <a:pt x="1148" y="168"/>
                  </a:lnTo>
                  <a:lnTo>
                    <a:pt x="1147" y="164"/>
                  </a:lnTo>
                  <a:lnTo>
                    <a:pt x="1145" y="157"/>
                  </a:lnTo>
                  <a:lnTo>
                    <a:pt x="1142" y="150"/>
                  </a:lnTo>
                  <a:lnTo>
                    <a:pt x="1138" y="144"/>
                  </a:lnTo>
                  <a:lnTo>
                    <a:pt x="1132" y="138"/>
                  </a:lnTo>
                  <a:lnTo>
                    <a:pt x="1127" y="132"/>
                  </a:lnTo>
                  <a:lnTo>
                    <a:pt x="1114" y="120"/>
                  </a:lnTo>
                  <a:lnTo>
                    <a:pt x="1108" y="114"/>
                  </a:lnTo>
                  <a:lnTo>
                    <a:pt x="1102" y="108"/>
                  </a:lnTo>
                  <a:lnTo>
                    <a:pt x="1096" y="101"/>
                  </a:lnTo>
                  <a:lnTo>
                    <a:pt x="1091" y="94"/>
                  </a:lnTo>
                  <a:lnTo>
                    <a:pt x="1086" y="86"/>
                  </a:lnTo>
                  <a:lnTo>
                    <a:pt x="1085" y="81"/>
                  </a:lnTo>
                  <a:lnTo>
                    <a:pt x="1083" y="76"/>
                  </a:lnTo>
                  <a:lnTo>
                    <a:pt x="1082" y="72"/>
                  </a:lnTo>
                  <a:lnTo>
                    <a:pt x="1081" y="66"/>
                  </a:lnTo>
                  <a:lnTo>
                    <a:pt x="1080" y="61"/>
                  </a:lnTo>
                  <a:lnTo>
                    <a:pt x="1080" y="55"/>
                  </a:lnTo>
                  <a:lnTo>
                    <a:pt x="1080" y="49"/>
                  </a:lnTo>
                  <a:lnTo>
                    <a:pt x="1081" y="43"/>
                  </a:lnTo>
                  <a:lnTo>
                    <a:pt x="1082" y="37"/>
                  </a:lnTo>
                  <a:lnTo>
                    <a:pt x="1083" y="32"/>
                  </a:lnTo>
                  <a:lnTo>
                    <a:pt x="1085" y="27"/>
                  </a:lnTo>
                  <a:lnTo>
                    <a:pt x="1088" y="22"/>
                  </a:lnTo>
                  <a:lnTo>
                    <a:pt x="1090" y="18"/>
                  </a:lnTo>
                  <a:lnTo>
                    <a:pt x="1093" y="14"/>
                  </a:lnTo>
                  <a:lnTo>
                    <a:pt x="1097" y="11"/>
                  </a:lnTo>
                  <a:lnTo>
                    <a:pt x="1100" y="8"/>
                  </a:lnTo>
                  <a:lnTo>
                    <a:pt x="1105" y="5"/>
                  </a:lnTo>
                  <a:lnTo>
                    <a:pt x="1109" y="3"/>
                  </a:lnTo>
                  <a:lnTo>
                    <a:pt x="1114" y="2"/>
                  </a:lnTo>
                  <a:lnTo>
                    <a:pt x="1120" y="0"/>
                  </a:lnTo>
                  <a:lnTo>
                    <a:pt x="1125" y="0"/>
                  </a:lnTo>
                  <a:lnTo>
                    <a:pt x="1131" y="0"/>
                  </a:lnTo>
                  <a:close/>
                  <a:moveTo>
                    <a:pt x="1256" y="135"/>
                  </a:moveTo>
                  <a:lnTo>
                    <a:pt x="1245" y="155"/>
                  </a:lnTo>
                  <a:lnTo>
                    <a:pt x="1245" y="223"/>
                  </a:lnTo>
                  <a:lnTo>
                    <a:pt x="1211" y="223"/>
                  </a:lnTo>
                  <a:lnTo>
                    <a:pt x="1211" y="2"/>
                  </a:lnTo>
                  <a:lnTo>
                    <a:pt x="1245" y="2"/>
                  </a:lnTo>
                  <a:lnTo>
                    <a:pt x="1245" y="98"/>
                  </a:lnTo>
                  <a:lnTo>
                    <a:pt x="1291" y="2"/>
                  </a:lnTo>
                  <a:lnTo>
                    <a:pt x="1326" y="2"/>
                  </a:lnTo>
                  <a:lnTo>
                    <a:pt x="1277" y="101"/>
                  </a:lnTo>
                  <a:lnTo>
                    <a:pt x="1326" y="223"/>
                  </a:lnTo>
                  <a:lnTo>
                    <a:pt x="1290" y="223"/>
                  </a:lnTo>
                  <a:lnTo>
                    <a:pt x="1256" y="135"/>
                  </a:lnTo>
                  <a:close/>
                  <a:moveTo>
                    <a:pt x="1462" y="223"/>
                  </a:moveTo>
                  <a:lnTo>
                    <a:pt x="1427" y="223"/>
                  </a:lnTo>
                  <a:lnTo>
                    <a:pt x="1421" y="183"/>
                  </a:lnTo>
                  <a:lnTo>
                    <a:pt x="1378" y="183"/>
                  </a:lnTo>
                  <a:lnTo>
                    <a:pt x="1372" y="223"/>
                  </a:lnTo>
                  <a:lnTo>
                    <a:pt x="1340" y="223"/>
                  </a:lnTo>
                  <a:lnTo>
                    <a:pt x="1376" y="2"/>
                  </a:lnTo>
                  <a:lnTo>
                    <a:pt x="1426" y="2"/>
                  </a:lnTo>
                  <a:lnTo>
                    <a:pt x="1462" y="223"/>
                  </a:lnTo>
                  <a:close/>
                  <a:moveTo>
                    <a:pt x="1383" y="153"/>
                  </a:moveTo>
                  <a:lnTo>
                    <a:pt x="1416" y="153"/>
                  </a:lnTo>
                  <a:lnTo>
                    <a:pt x="1399" y="41"/>
                  </a:lnTo>
                  <a:lnTo>
                    <a:pt x="1383" y="153"/>
                  </a:lnTo>
                  <a:close/>
                  <a:moveTo>
                    <a:pt x="1519" y="2"/>
                  </a:moveTo>
                  <a:lnTo>
                    <a:pt x="1519" y="173"/>
                  </a:lnTo>
                  <a:lnTo>
                    <a:pt x="1519" y="178"/>
                  </a:lnTo>
                  <a:lnTo>
                    <a:pt x="1520" y="183"/>
                  </a:lnTo>
                  <a:lnTo>
                    <a:pt x="1522" y="186"/>
                  </a:lnTo>
                  <a:lnTo>
                    <a:pt x="1524" y="189"/>
                  </a:lnTo>
                  <a:lnTo>
                    <a:pt x="1526" y="192"/>
                  </a:lnTo>
                  <a:lnTo>
                    <a:pt x="1530" y="193"/>
                  </a:lnTo>
                  <a:lnTo>
                    <a:pt x="1533" y="194"/>
                  </a:lnTo>
                  <a:lnTo>
                    <a:pt x="1537" y="194"/>
                  </a:lnTo>
                  <a:lnTo>
                    <a:pt x="1541" y="194"/>
                  </a:lnTo>
                  <a:lnTo>
                    <a:pt x="1545" y="193"/>
                  </a:lnTo>
                  <a:lnTo>
                    <a:pt x="1548" y="192"/>
                  </a:lnTo>
                  <a:lnTo>
                    <a:pt x="1549" y="191"/>
                  </a:lnTo>
                  <a:lnTo>
                    <a:pt x="1550" y="189"/>
                  </a:lnTo>
                  <a:lnTo>
                    <a:pt x="1552" y="186"/>
                  </a:lnTo>
                  <a:lnTo>
                    <a:pt x="1554" y="183"/>
                  </a:lnTo>
                  <a:lnTo>
                    <a:pt x="1555" y="178"/>
                  </a:lnTo>
                  <a:lnTo>
                    <a:pt x="1555" y="173"/>
                  </a:lnTo>
                  <a:lnTo>
                    <a:pt x="1555" y="2"/>
                  </a:lnTo>
                  <a:lnTo>
                    <a:pt x="1588" y="2"/>
                  </a:lnTo>
                  <a:lnTo>
                    <a:pt x="1588" y="171"/>
                  </a:lnTo>
                  <a:lnTo>
                    <a:pt x="1588" y="177"/>
                  </a:lnTo>
                  <a:lnTo>
                    <a:pt x="1587" y="183"/>
                  </a:lnTo>
                  <a:lnTo>
                    <a:pt x="1586" y="189"/>
                  </a:lnTo>
                  <a:lnTo>
                    <a:pt x="1585" y="194"/>
                  </a:lnTo>
                  <a:lnTo>
                    <a:pt x="1583" y="199"/>
                  </a:lnTo>
                  <a:lnTo>
                    <a:pt x="1581" y="204"/>
                  </a:lnTo>
                  <a:lnTo>
                    <a:pt x="1578" y="208"/>
                  </a:lnTo>
                  <a:lnTo>
                    <a:pt x="1575" y="212"/>
                  </a:lnTo>
                  <a:lnTo>
                    <a:pt x="1571" y="215"/>
                  </a:lnTo>
                  <a:lnTo>
                    <a:pt x="1567" y="218"/>
                  </a:lnTo>
                  <a:lnTo>
                    <a:pt x="1563" y="220"/>
                  </a:lnTo>
                  <a:lnTo>
                    <a:pt x="1559" y="222"/>
                  </a:lnTo>
                  <a:lnTo>
                    <a:pt x="1554" y="224"/>
                  </a:lnTo>
                  <a:lnTo>
                    <a:pt x="1548" y="225"/>
                  </a:lnTo>
                  <a:lnTo>
                    <a:pt x="1542" y="226"/>
                  </a:lnTo>
                  <a:lnTo>
                    <a:pt x="1536" y="226"/>
                  </a:lnTo>
                  <a:lnTo>
                    <a:pt x="1530" y="226"/>
                  </a:lnTo>
                  <a:lnTo>
                    <a:pt x="1524" y="225"/>
                  </a:lnTo>
                  <a:lnTo>
                    <a:pt x="1519" y="224"/>
                  </a:lnTo>
                  <a:lnTo>
                    <a:pt x="1514" y="222"/>
                  </a:lnTo>
                  <a:lnTo>
                    <a:pt x="1509" y="220"/>
                  </a:lnTo>
                  <a:lnTo>
                    <a:pt x="1505" y="218"/>
                  </a:lnTo>
                  <a:lnTo>
                    <a:pt x="1501" y="215"/>
                  </a:lnTo>
                  <a:lnTo>
                    <a:pt x="1497" y="212"/>
                  </a:lnTo>
                  <a:lnTo>
                    <a:pt x="1494" y="208"/>
                  </a:lnTo>
                  <a:lnTo>
                    <a:pt x="1492" y="204"/>
                  </a:lnTo>
                  <a:lnTo>
                    <a:pt x="1489" y="199"/>
                  </a:lnTo>
                  <a:lnTo>
                    <a:pt x="1488" y="194"/>
                  </a:lnTo>
                  <a:lnTo>
                    <a:pt x="1486" y="189"/>
                  </a:lnTo>
                  <a:lnTo>
                    <a:pt x="1485" y="183"/>
                  </a:lnTo>
                  <a:lnTo>
                    <a:pt x="1484" y="177"/>
                  </a:lnTo>
                  <a:lnTo>
                    <a:pt x="1484" y="171"/>
                  </a:lnTo>
                  <a:lnTo>
                    <a:pt x="1484" y="2"/>
                  </a:lnTo>
                  <a:lnTo>
                    <a:pt x="1519" y="2"/>
                  </a:lnTo>
                  <a:close/>
                  <a:moveTo>
                    <a:pt x="1722" y="57"/>
                  </a:moveTo>
                  <a:lnTo>
                    <a:pt x="1722" y="85"/>
                  </a:lnTo>
                  <a:lnTo>
                    <a:pt x="1722" y="92"/>
                  </a:lnTo>
                  <a:lnTo>
                    <a:pt x="1722" y="98"/>
                  </a:lnTo>
                  <a:lnTo>
                    <a:pt x="1721" y="104"/>
                  </a:lnTo>
                  <a:lnTo>
                    <a:pt x="1719" y="109"/>
                  </a:lnTo>
                  <a:lnTo>
                    <a:pt x="1717" y="114"/>
                  </a:lnTo>
                  <a:lnTo>
                    <a:pt x="1715" y="118"/>
                  </a:lnTo>
                  <a:lnTo>
                    <a:pt x="1713" y="122"/>
                  </a:lnTo>
                  <a:lnTo>
                    <a:pt x="1710" y="126"/>
                  </a:lnTo>
                  <a:lnTo>
                    <a:pt x="1706" y="129"/>
                  </a:lnTo>
                  <a:lnTo>
                    <a:pt x="1702" y="132"/>
                  </a:lnTo>
                  <a:lnTo>
                    <a:pt x="1698" y="135"/>
                  </a:lnTo>
                  <a:lnTo>
                    <a:pt x="1693" y="137"/>
                  </a:lnTo>
                  <a:lnTo>
                    <a:pt x="1688" y="138"/>
                  </a:lnTo>
                  <a:lnTo>
                    <a:pt x="1683" y="139"/>
                  </a:lnTo>
                  <a:lnTo>
                    <a:pt x="1677" y="140"/>
                  </a:lnTo>
                  <a:lnTo>
                    <a:pt x="1671" y="140"/>
                  </a:lnTo>
                  <a:lnTo>
                    <a:pt x="1654" y="140"/>
                  </a:lnTo>
                  <a:lnTo>
                    <a:pt x="1654" y="223"/>
                  </a:lnTo>
                  <a:lnTo>
                    <a:pt x="1619" y="223"/>
                  </a:lnTo>
                  <a:lnTo>
                    <a:pt x="1619" y="2"/>
                  </a:lnTo>
                  <a:lnTo>
                    <a:pt x="1671" y="2"/>
                  </a:lnTo>
                  <a:lnTo>
                    <a:pt x="1677" y="2"/>
                  </a:lnTo>
                  <a:lnTo>
                    <a:pt x="1683" y="3"/>
                  </a:lnTo>
                  <a:lnTo>
                    <a:pt x="1688" y="4"/>
                  </a:lnTo>
                  <a:lnTo>
                    <a:pt x="1693" y="6"/>
                  </a:lnTo>
                  <a:lnTo>
                    <a:pt x="1698" y="8"/>
                  </a:lnTo>
                  <a:lnTo>
                    <a:pt x="1702" y="10"/>
                  </a:lnTo>
                  <a:lnTo>
                    <a:pt x="1706" y="13"/>
                  </a:lnTo>
                  <a:lnTo>
                    <a:pt x="1710" y="16"/>
                  </a:lnTo>
                  <a:lnTo>
                    <a:pt x="1713" y="20"/>
                  </a:lnTo>
                  <a:lnTo>
                    <a:pt x="1715" y="24"/>
                  </a:lnTo>
                  <a:lnTo>
                    <a:pt x="1717" y="28"/>
                  </a:lnTo>
                  <a:lnTo>
                    <a:pt x="1719" y="33"/>
                  </a:lnTo>
                  <a:lnTo>
                    <a:pt x="1722" y="44"/>
                  </a:lnTo>
                  <a:lnTo>
                    <a:pt x="1722" y="50"/>
                  </a:lnTo>
                  <a:lnTo>
                    <a:pt x="1722" y="57"/>
                  </a:lnTo>
                  <a:close/>
                  <a:moveTo>
                    <a:pt x="1654" y="34"/>
                  </a:moveTo>
                  <a:lnTo>
                    <a:pt x="1654" y="109"/>
                  </a:lnTo>
                  <a:lnTo>
                    <a:pt x="1671" y="109"/>
                  </a:lnTo>
                  <a:lnTo>
                    <a:pt x="1675" y="108"/>
                  </a:lnTo>
                  <a:lnTo>
                    <a:pt x="1678" y="108"/>
                  </a:lnTo>
                  <a:lnTo>
                    <a:pt x="1681" y="106"/>
                  </a:lnTo>
                  <a:lnTo>
                    <a:pt x="1683" y="104"/>
                  </a:lnTo>
                  <a:lnTo>
                    <a:pt x="1685" y="101"/>
                  </a:lnTo>
                  <a:lnTo>
                    <a:pt x="1687" y="98"/>
                  </a:lnTo>
                  <a:lnTo>
                    <a:pt x="1687" y="95"/>
                  </a:lnTo>
                  <a:lnTo>
                    <a:pt x="1687" y="93"/>
                  </a:lnTo>
                  <a:lnTo>
                    <a:pt x="1688" y="88"/>
                  </a:lnTo>
                  <a:lnTo>
                    <a:pt x="1688" y="55"/>
                  </a:lnTo>
                  <a:lnTo>
                    <a:pt x="1687" y="49"/>
                  </a:lnTo>
                  <a:lnTo>
                    <a:pt x="1687" y="45"/>
                  </a:lnTo>
                  <a:lnTo>
                    <a:pt x="1685" y="41"/>
                  </a:lnTo>
                  <a:lnTo>
                    <a:pt x="1683" y="38"/>
                  </a:lnTo>
                  <a:lnTo>
                    <a:pt x="1681" y="36"/>
                  </a:lnTo>
                  <a:lnTo>
                    <a:pt x="1678" y="35"/>
                  </a:lnTo>
                  <a:lnTo>
                    <a:pt x="1675" y="34"/>
                  </a:lnTo>
                  <a:lnTo>
                    <a:pt x="1671" y="34"/>
                  </a:lnTo>
                  <a:lnTo>
                    <a:pt x="1654" y="34"/>
                  </a:lnTo>
                  <a:close/>
                  <a:moveTo>
                    <a:pt x="1851" y="57"/>
                  </a:moveTo>
                  <a:lnTo>
                    <a:pt x="1851" y="85"/>
                  </a:lnTo>
                  <a:lnTo>
                    <a:pt x="1851" y="92"/>
                  </a:lnTo>
                  <a:lnTo>
                    <a:pt x="1850" y="98"/>
                  </a:lnTo>
                  <a:lnTo>
                    <a:pt x="1849" y="104"/>
                  </a:lnTo>
                  <a:lnTo>
                    <a:pt x="1848" y="109"/>
                  </a:lnTo>
                  <a:lnTo>
                    <a:pt x="1846" y="114"/>
                  </a:lnTo>
                  <a:lnTo>
                    <a:pt x="1844" y="118"/>
                  </a:lnTo>
                  <a:lnTo>
                    <a:pt x="1841" y="122"/>
                  </a:lnTo>
                  <a:lnTo>
                    <a:pt x="1838" y="126"/>
                  </a:lnTo>
                  <a:lnTo>
                    <a:pt x="1835" y="129"/>
                  </a:lnTo>
                  <a:lnTo>
                    <a:pt x="1831" y="132"/>
                  </a:lnTo>
                  <a:lnTo>
                    <a:pt x="1827" y="135"/>
                  </a:lnTo>
                  <a:lnTo>
                    <a:pt x="1822" y="137"/>
                  </a:lnTo>
                  <a:lnTo>
                    <a:pt x="1817" y="138"/>
                  </a:lnTo>
                  <a:lnTo>
                    <a:pt x="1811" y="139"/>
                  </a:lnTo>
                  <a:lnTo>
                    <a:pt x="1806" y="140"/>
                  </a:lnTo>
                  <a:lnTo>
                    <a:pt x="1799" y="140"/>
                  </a:lnTo>
                  <a:lnTo>
                    <a:pt x="1783" y="140"/>
                  </a:lnTo>
                  <a:lnTo>
                    <a:pt x="1783" y="223"/>
                  </a:lnTo>
                  <a:lnTo>
                    <a:pt x="1748" y="223"/>
                  </a:lnTo>
                  <a:lnTo>
                    <a:pt x="1748" y="2"/>
                  </a:lnTo>
                  <a:lnTo>
                    <a:pt x="1799" y="2"/>
                  </a:lnTo>
                  <a:lnTo>
                    <a:pt x="1806" y="2"/>
                  </a:lnTo>
                  <a:lnTo>
                    <a:pt x="1811" y="3"/>
                  </a:lnTo>
                  <a:lnTo>
                    <a:pt x="1817" y="4"/>
                  </a:lnTo>
                  <a:lnTo>
                    <a:pt x="1822" y="6"/>
                  </a:lnTo>
                  <a:lnTo>
                    <a:pt x="1827" y="8"/>
                  </a:lnTo>
                  <a:lnTo>
                    <a:pt x="1831" y="10"/>
                  </a:lnTo>
                  <a:lnTo>
                    <a:pt x="1835" y="13"/>
                  </a:lnTo>
                  <a:lnTo>
                    <a:pt x="1838" y="16"/>
                  </a:lnTo>
                  <a:lnTo>
                    <a:pt x="1841" y="20"/>
                  </a:lnTo>
                  <a:lnTo>
                    <a:pt x="1844" y="24"/>
                  </a:lnTo>
                  <a:lnTo>
                    <a:pt x="1846" y="28"/>
                  </a:lnTo>
                  <a:lnTo>
                    <a:pt x="1848" y="33"/>
                  </a:lnTo>
                  <a:lnTo>
                    <a:pt x="1850" y="44"/>
                  </a:lnTo>
                  <a:lnTo>
                    <a:pt x="1851" y="50"/>
                  </a:lnTo>
                  <a:lnTo>
                    <a:pt x="1851" y="57"/>
                  </a:lnTo>
                  <a:close/>
                  <a:moveTo>
                    <a:pt x="1783" y="34"/>
                  </a:moveTo>
                  <a:lnTo>
                    <a:pt x="1783" y="109"/>
                  </a:lnTo>
                  <a:lnTo>
                    <a:pt x="1799" y="109"/>
                  </a:lnTo>
                  <a:lnTo>
                    <a:pt x="1803" y="108"/>
                  </a:lnTo>
                  <a:lnTo>
                    <a:pt x="1807" y="108"/>
                  </a:lnTo>
                  <a:lnTo>
                    <a:pt x="1810" y="106"/>
                  </a:lnTo>
                  <a:lnTo>
                    <a:pt x="1812" y="104"/>
                  </a:lnTo>
                  <a:lnTo>
                    <a:pt x="1814" y="101"/>
                  </a:lnTo>
                  <a:lnTo>
                    <a:pt x="1815" y="98"/>
                  </a:lnTo>
                  <a:lnTo>
                    <a:pt x="1816" y="95"/>
                  </a:lnTo>
                  <a:lnTo>
                    <a:pt x="1816" y="93"/>
                  </a:lnTo>
                  <a:lnTo>
                    <a:pt x="1816" y="88"/>
                  </a:lnTo>
                  <a:lnTo>
                    <a:pt x="1816" y="55"/>
                  </a:lnTo>
                  <a:lnTo>
                    <a:pt x="1816" y="49"/>
                  </a:lnTo>
                  <a:lnTo>
                    <a:pt x="1815" y="45"/>
                  </a:lnTo>
                  <a:lnTo>
                    <a:pt x="1814" y="41"/>
                  </a:lnTo>
                  <a:lnTo>
                    <a:pt x="1812" y="38"/>
                  </a:lnTo>
                  <a:lnTo>
                    <a:pt x="1810" y="36"/>
                  </a:lnTo>
                  <a:lnTo>
                    <a:pt x="1807" y="35"/>
                  </a:lnTo>
                  <a:lnTo>
                    <a:pt x="1803" y="34"/>
                  </a:lnTo>
                  <a:lnTo>
                    <a:pt x="1799" y="34"/>
                  </a:lnTo>
                  <a:lnTo>
                    <a:pt x="1783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29911528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9B4657-7B72-4E2F-8962-F1384392533E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7" name="Round Same Side Corner Rectangle 16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8" name="Freeform 6"/>
            <p:cNvSpPr>
              <a:spLocks noChangeAspect="1" noEditPoints="1"/>
            </p:cNvSpPr>
            <p:nvPr userDrawn="1"/>
          </p:nvSpPr>
          <p:spPr bwMode="auto">
            <a:xfrm>
              <a:off x="8908139" y="6472998"/>
              <a:ext cx="1865548" cy="212400"/>
            </a:xfrm>
            <a:custGeom>
              <a:avLst/>
              <a:gdLst>
                <a:gd name="T0" fmla="*/ 1899 w 1985"/>
                <a:gd name="T1" fmla="*/ 2 h 226"/>
                <a:gd name="T2" fmla="*/ 67 w 1985"/>
                <a:gd name="T3" fmla="*/ 143 h 226"/>
                <a:gd name="T4" fmla="*/ 59 w 1985"/>
                <a:gd name="T5" fmla="*/ 2 h 226"/>
                <a:gd name="T6" fmla="*/ 99 w 1985"/>
                <a:gd name="T7" fmla="*/ 26 h 226"/>
                <a:gd name="T8" fmla="*/ 95 w 1985"/>
                <a:gd name="T9" fmla="*/ 104 h 226"/>
                <a:gd name="T10" fmla="*/ 99 w 1985"/>
                <a:gd name="T11" fmla="*/ 133 h 226"/>
                <a:gd name="T12" fmla="*/ 106 w 1985"/>
                <a:gd name="T13" fmla="*/ 217 h 226"/>
                <a:gd name="T14" fmla="*/ 68 w 1985"/>
                <a:gd name="T15" fmla="*/ 89 h 226"/>
                <a:gd name="T16" fmla="*/ 52 w 1985"/>
                <a:gd name="T17" fmla="*/ 34 h 226"/>
                <a:gd name="T18" fmla="*/ 168 w 1985"/>
                <a:gd name="T19" fmla="*/ 153 h 226"/>
                <a:gd name="T20" fmla="*/ 316 w 1985"/>
                <a:gd name="T21" fmla="*/ 183 h 226"/>
                <a:gd name="T22" fmla="*/ 493 w 1985"/>
                <a:gd name="T23" fmla="*/ 223 h 226"/>
                <a:gd name="T24" fmla="*/ 668 w 1985"/>
                <a:gd name="T25" fmla="*/ 11 h 226"/>
                <a:gd name="T26" fmla="*/ 652 w 1985"/>
                <a:gd name="T27" fmla="*/ 62 h 226"/>
                <a:gd name="T28" fmla="*/ 631 w 1985"/>
                <a:gd name="T29" fmla="*/ 31 h 226"/>
                <a:gd name="T30" fmla="*/ 623 w 1985"/>
                <a:gd name="T31" fmla="*/ 75 h 226"/>
                <a:gd name="T32" fmla="*/ 682 w 1985"/>
                <a:gd name="T33" fmla="*/ 149 h 226"/>
                <a:gd name="T34" fmla="*/ 675 w 1985"/>
                <a:gd name="T35" fmla="*/ 208 h 226"/>
                <a:gd name="T36" fmla="*/ 621 w 1985"/>
                <a:gd name="T37" fmla="*/ 225 h 226"/>
                <a:gd name="T38" fmla="*/ 583 w 1985"/>
                <a:gd name="T39" fmla="*/ 188 h 226"/>
                <a:gd name="T40" fmla="*/ 622 w 1985"/>
                <a:gd name="T41" fmla="*/ 191 h 226"/>
                <a:gd name="T42" fmla="*/ 650 w 1985"/>
                <a:gd name="T43" fmla="*/ 178 h 226"/>
                <a:gd name="T44" fmla="*/ 604 w 1985"/>
                <a:gd name="T45" fmla="*/ 108 h 226"/>
                <a:gd name="T46" fmla="*/ 583 w 1985"/>
                <a:gd name="T47" fmla="*/ 43 h 226"/>
                <a:gd name="T48" fmla="*/ 616 w 1985"/>
                <a:gd name="T49" fmla="*/ 2 h 226"/>
                <a:gd name="T50" fmla="*/ 713 w 1985"/>
                <a:gd name="T51" fmla="*/ 223 h 226"/>
                <a:gd name="T52" fmla="*/ 950 w 1985"/>
                <a:gd name="T53" fmla="*/ 65 h 226"/>
                <a:gd name="T54" fmla="*/ 1051 w 1985"/>
                <a:gd name="T55" fmla="*/ 223 h 226"/>
                <a:gd name="T56" fmla="*/ 1170 w 1985"/>
                <a:gd name="T57" fmla="*/ 14 h 226"/>
                <a:gd name="T58" fmla="*/ 1150 w 1985"/>
                <a:gd name="T59" fmla="*/ 53 h 226"/>
                <a:gd name="T60" fmla="*/ 1125 w 1985"/>
                <a:gd name="T61" fmla="*/ 32 h 226"/>
                <a:gd name="T62" fmla="*/ 1126 w 1985"/>
                <a:gd name="T63" fmla="*/ 82 h 226"/>
                <a:gd name="T64" fmla="*/ 1181 w 1985"/>
                <a:gd name="T65" fmla="*/ 154 h 226"/>
                <a:gd name="T66" fmla="*/ 1170 w 1985"/>
                <a:gd name="T67" fmla="*/ 211 h 226"/>
                <a:gd name="T68" fmla="*/ 1114 w 1985"/>
                <a:gd name="T69" fmla="*/ 224 h 226"/>
                <a:gd name="T70" fmla="*/ 1080 w 1985"/>
                <a:gd name="T71" fmla="*/ 183 h 226"/>
                <a:gd name="T72" fmla="*/ 1123 w 1985"/>
                <a:gd name="T73" fmla="*/ 193 h 226"/>
                <a:gd name="T74" fmla="*/ 1148 w 1985"/>
                <a:gd name="T75" fmla="*/ 172 h 226"/>
                <a:gd name="T76" fmla="*/ 1096 w 1985"/>
                <a:gd name="T77" fmla="*/ 101 h 226"/>
                <a:gd name="T78" fmla="*/ 1082 w 1985"/>
                <a:gd name="T79" fmla="*/ 37 h 226"/>
                <a:gd name="T80" fmla="*/ 1120 w 1985"/>
                <a:gd name="T81" fmla="*/ 0 h 226"/>
                <a:gd name="T82" fmla="*/ 1326 w 1985"/>
                <a:gd name="T83" fmla="*/ 2 h 226"/>
                <a:gd name="T84" fmla="*/ 1376 w 1985"/>
                <a:gd name="T85" fmla="*/ 2 h 226"/>
                <a:gd name="T86" fmla="*/ 1522 w 1985"/>
                <a:gd name="T87" fmla="*/ 186 h 226"/>
                <a:gd name="T88" fmla="*/ 1552 w 1985"/>
                <a:gd name="T89" fmla="*/ 186 h 226"/>
                <a:gd name="T90" fmla="*/ 1583 w 1985"/>
                <a:gd name="T91" fmla="*/ 199 h 226"/>
                <a:gd name="T92" fmla="*/ 1536 w 1985"/>
                <a:gd name="T93" fmla="*/ 226 h 226"/>
                <a:gd name="T94" fmla="*/ 1489 w 1985"/>
                <a:gd name="T95" fmla="*/ 199 h 226"/>
                <a:gd name="T96" fmla="*/ 1722 w 1985"/>
                <a:gd name="T97" fmla="*/ 98 h 226"/>
                <a:gd name="T98" fmla="*/ 1688 w 1985"/>
                <a:gd name="T99" fmla="*/ 138 h 226"/>
                <a:gd name="T100" fmla="*/ 1688 w 1985"/>
                <a:gd name="T101" fmla="*/ 4 h 226"/>
                <a:gd name="T102" fmla="*/ 1722 w 1985"/>
                <a:gd name="T103" fmla="*/ 50 h 226"/>
                <a:gd name="T104" fmla="*/ 1687 w 1985"/>
                <a:gd name="T105" fmla="*/ 95 h 226"/>
                <a:gd name="T106" fmla="*/ 1671 w 1985"/>
                <a:gd name="T107" fmla="*/ 34 h 226"/>
                <a:gd name="T108" fmla="*/ 1838 w 1985"/>
                <a:gd name="T109" fmla="*/ 126 h 226"/>
                <a:gd name="T110" fmla="*/ 1748 w 1985"/>
                <a:gd name="T111" fmla="*/ 223 h 226"/>
                <a:gd name="T112" fmla="*/ 1841 w 1985"/>
                <a:gd name="T113" fmla="*/ 20 h 226"/>
                <a:gd name="T114" fmla="*/ 1807 w 1985"/>
                <a:gd name="T115" fmla="*/ 108 h 226"/>
                <a:gd name="T116" fmla="*/ 1814 w 1985"/>
                <a:gd name="T117" fmla="*/ 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5" h="226">
                  <a:moveTo>
                    <a:pt x="1906" y="153"/>
                  </a:moveTo>
                  <a:lnTo>
                    <a:pt x="1939" y="153"/>
                  </a:lnTo>
                  <a:lnTo>
                    <a:pt x="1922" y="41"/>
                  </a:lnTo>
                  <a:lnTo>
                    <a:pt x="1906" y="153"/>
                  </a:lnTo>
                  <a:close/>
                  <a:moveTo>
                    <a:pt x="1985" y="223"/>
                  </a:moveTo>
                  <a:lnTo>
                    <a:pt x="1950" y="223"/>
                  </a:lnTo>
                  <a:lnTo>
                    <a:pt x="1944" y="183"/>
                  </a:lnTo>
                  <a:lnTo>
                    <a:pt x="1901" y="183"/>
                  </a:lnTo>
                  <a:lnTo>
                    <a:pt x="1895" y="223"/>
                  </a:lnTo>
                  <a:lnTo>
                    <a:pt x="1863" y="223"/>
                  </a:lnTo>
                  <a:lnTo>
                    <a:pt x="1899" y="2"/>
                  </a:lnTo>
                  <a:lnTo>
                    <a:pt x="1950" y="2"/>
                  </a:lnTo>
                  <a:lnTo>
                    <a:pt x="1985" y="223"/>
                  </a:lnTo>
                  <a:close/>
                  <a:moveTo>
                    <a:pt x="73" y="223"/>
                  </a:moveTo>
                  <a:lnTo>
                    <a:pt x="72" y="219"/>
                  </a:lnTo>
                  <a:lnTo>
                    <a:pt x="71" y="214"/>
                  </a:lnTo>
                  <a:lnTo>
                    <a:pt x="70" y="207"/>
                  </a:lnTo>
                  <a:lnTo>
                    <a:pt x="70" y="196"/>
                  </a:lnTo>
                  <a:lnTo>
                    <a:pt x="70" y="161"/>
                  </a:lnTo>
                  <a:lnTo>
                    <a:pt x="69" y="154"/>
                  </a:lnTo>
                  <a:lnTo>
                    <a:pt x="68" y="148"/>
                  </a:lnTo>
                  <a:lnTo>
                    <a:pt x="67" y="143"/>
                  </a:lnTo>
                  <a:lnTo>
                    <a:pt x="64" y="140"/>
                  </a:lnTo>
                  <a:lnTo>
                    <a:pt x="61" y="137"/>
                  </a:lnTo>
                  <a:lnTo>
                    <a:pt x="57" y="135"/>
                  </a:lnTo>
                  <a:lnTo>
                    <a:pt x="52" y="134"/>
                  </a:lnTo>
                  <a:lnTo>
                    <a:pt x="47" y="133"/>
                  </a:lnTo>
                  <a:lnTo>
                    <a:pt x="35" y="133"/>
                  </a:lnTo>
                  <a:lnTo>
                    <a:pt x="35" y="223"/>
                  </a:lnTo>
                  <a:lnTo>
                    <a:pt x="0" y="223"/>
                  </a:lnTo>
                  <a:lnTo>
                    <a:pt x="0" y="2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65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6" y="5"/>
                  </a:lnTo>
                  <a:lnTo>
                    <a:pt x="80" y="7"/>
                  </a:lnTo>
                  <a:lnTo>
                    <a:pt x="85" y="9"/>
                  </a:lnTo>
                  <a:lnTo>
                    <a:pt x="88" y="12"/>
                  </a:lnTo>
                  <a:lnTo>
                    <a:pt x="92" y="15"/>
                  </a:lnTo>
                  <a:lnTo>
                    <a:pt x="95" y="18"/>
                  </a:lnTo>
                  <a:lnTo>
                    <a:pt x="97" y="22"/>
                  </a:lnTo>
                  <a:lnTo>
                    <a:pt x="99" y="26"/>
                  </a:lnTo>
                  <a:lnTo>
                    <a:pt x="101" y="31"/>
                  </a:lnTo>
                  <a:lnTo>
                    <a:pt x="102" y="36"/>
                  </a:lnTo>
                  <a:lnTo>
                    <a:pt x="103" y="41"/>
                  </a:lnTo>
                  <a:lnTo>
                    <a:pt x="104" y="47"/>
                  </a:lnTo>
                  <a:lnTo>
                    <a:pt x="104" y="53"/>
                  </a:lnTo>
                  <a:lnTo>
                    <a:pt x="104" y="70"/>
                  </a:lnTo>
                  <a:lnTo>
                    <a:pt x="104" y="78"/>
                  </a:lnTo>
                  <a:lnTo>
                    <a:pt x="103" y="86"/>
                  </a:lnTo>
                  <a:lnTo>
                    <a:pt x="101" y="93"/>
                  </a:lnTo>
                  <a:lnTo>
                    <a:pt x="99" y="99"/>
                  </a:lnTo>
                  <a:lnTo>
                    <a:pt x="95" y="104"/>
                  </a:lnTo>
                  <a:lnTo>
                    <a:pt x="93" y="106"/>
                  </a:lnTo>
                  <a:lnTo>
                    <a:pt x="91" y="108"/>
                  </a:lnTo>
                  <a:lnTo>
                    <a:pt x="89" y="110"/>
                  </a:lnTo>
                  <a:lnTo>
                    <a:pt x="87" y="112"/>
                  </a:lnTo>
                  <a:lnTo>
                    <a:pt x="84" y="114"/>
                  </a:lnTo>
                  <a:lnTo>
                    <a:pt x="81" y="115"/>
                  </a:lnTo>
                  <a:lnTo>
                    <a:pt x="87" y="118"/>
                  </a:lnTo>
                  <a:lnTo>
                    <a:pt x="92" y="122"/>
                  </a:lnTo>
                  <a:lnTo>
                    <a:pt x="96" y="127"/>
                  </a:lnTo>
                  <a:lnTo>
                    <a:pt x="98" y="130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2" y="139"/>
                  </a:lnTo>
                  <a:lnTo>
                    <a:pt x="103" y="143"/>
                  </a:lnTo>
                  <a:lnTo>
                    <a:pt x="103" y="146"/>
                  </a:lnTo>
                  <a:lnTo>
                    <a:pt x="104" y="154"/>
                  </a:lnTo>
                  <a:lnTo>
                    <a:pt x="104" y="162"/>
                  </a:lnTo>
                  <a:lnTo>
                    <a:pt x="104" y="196"/>
                  </a:lnTo>
                  <a:lnTo>
                    <a:pt x="105" y="204"/>
                  </a:lnTo>
                  <a:lnTo>
                    <a:pt x="105" y="211"/>
                  </a:lnTo>
                  <a:lnTo>
                    <a:pt x="105" y="214"/>
                  </a:lnTo>
                  <a:lnTo>
                    <a:pt x="106" y="217"/>
                  </a:lnTo>
                  <a:lnTo>
                    <a:pt x="108" y="223"/>
                  </a:lnTo>
                  <a:lnTo>
                    <a:pt x="73" y="223"/>
                  </a:lnTo>
                  <a:close/>
                  <a:moveTo>
                    <a:pt x="35" y="34"/>
                  </a:moveTo>
                  <a:lnTo>
                    <a:pt x="35" y="102"/>
                  </a:lnTo>
                  <a:lnTo>
                    <a:pt x="48" y="102"/>
                  </a:lnTo>
                  <a:lnTo>
                    <a:pt x="53" y="101"/>
                  </a:lnTo>
                  <a:lnTo>
                    <a:pt x="57" y="100"/>
                  </a:lnTo>
                  <a:lnTo>
                    <a:pt x="61" y="99"/>
                  </a:lnTo>
                  <a:lnTo>
                    <a:pt x="64" y="97"/>
                  </a:lnTo>
                  <a:lnTo>
                    <a:pt x="66" y="93"/>
                  </a:lnTo>
                  <a:lnTo>
                    <a:pt x="68" y="89"/>
                  </a:lnTo>
                  <a:lnTo>
                    <a:pt x="69" y="84"/>
                  </a:lnTo>
                  <a:lnTo>
                    <a:pt x="69" y="78"/>
                  </a:lnTo>
                  <a:lnTo>
                    <a:pt x="69" y="56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5" y="39"/>
                  </a:lnTo>
                  <a:lnTo>
                    <a:pt x="63" y="37"/>
                  </a:lnTo>
                  <a:lnTo>
                    <a:pt x="60" y="35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35" y="34"/>
                  </a:lnTo>
                  <a:close/>
                  <a:moveTo>
                    <a:pt x="248" y="223"/>
                  </a:moveTo>
                  <a:lnTo>
                    <a:pt x="212" y="223"/>
                  </a:lnTo>
                  <a:lnTo>
                    <a:pt x="206" y="183"/>
                  </a:lnTo>
                  <a:lnTo>
                    <a:pt x="164" y="183"/>
                  </a:lnTo>
                  <a:lnTo>
                    <a:pt x="158" y="223"/>
                  </a:lnTo>
                  <a:lnTo>
                    <a:pt x="126" y="223"/>
                  </a:lnTo>
                  <a:lnTo>
                    <a:pt x="161" y="2"/>
                  </a:lnTo>
                  <a:lnTo>
                    <a:pt x="212" y="2"/>
                  </a:lnTo>
                  <a:lnTo>
                    <a:pt x="248" y="223"/>
                  </a:lnTo>
                  <a:close/>
                  <a:moveTo>
                    <a:pt x="168" y="153"/>
                  </a:moveTo>
                  <a:lnTo>
                    <a:pt x="202" y="153"/>
                  </a:lnTo>
                  <a:lnTo>
                    <a:pt x="185" y="41"/>
                  </a:lnTo>
                  <a:lnTo>
                    <a:pt x="168" y="153"/>
                  </a:lnTo>
                  <a:close/>
                  <a:moveTo>
                    <a:pt x="316" y="183"/>
                  </a:moveTo>
                  <a:lnTo>
                    <a:pt x="343" y="2"/>
                  </a:lnTo>
                  <a:lnTo>
                    <a:pt x="375" y="2"/>
                  </a:lnTo>
                  <a:lnTo>
                    <a:pt x="340" y="223"/>
                  </a:lnTo>
                  <a:lnTo>
                    <a:pt x="289" y="223"/>
                  </a:lnTo>
                  <a:lnTo>
                    <a:pt x="254" y="2"/>
                  </a:lnTo>
                  <a:lnTo>
                    <a:pt x="290" y="2"/>
                  </a:lnTo>
                  <a:lnTo>
                    <a:pt x="316" y="183"/>
                  </a:lnTo>
                  <a:close/>
                  <a:moveTo>
                    <a:pt x="398" y="2"/>
                  </a:moveTo>
                  <a:lnTo>
                    <a:pt x="433" y="2"/>
                  </a:lnTo>
                  <a:lnTo>
                    <a:pt x="433" y="223"/>
                  </a:lnTo>
                  <a:lnTo>
                    <a:pt x="398" y="223"/>
                  </a:lnTo>
                  <a:lnTo>
                    <a:pt x="398" y="2"/>
                  </a:lnTo>
                  <a:close/>
                  <a:moveTo>
                    <a:pt x="456" y="2"/>
                  </a:moveTo>
                  <a:lnTo>
                    <a:pt x="564" y="2"/>
                  </a:lnTo>
                  <a:lnTo>
                    <a:pt x="564" y="34"/>
                  </a:lnTo>
                  <a:lnTo>
                    <a:pt x="527" y="34"/>
                  </a:lnTo>
                  <a:lnTo>
                    <a:pt x="527" y="223"/>
                  </a:lnTo>
                  <a:lnTo>
                    <a:pt x="493" y="223"/>
                  </a:lnTo>
                  <a:lnTo>
                    <a:pt x="493" y="34"/>
                  </a:lnTo>
                  <a:lnTo>
                    <a:pt x="456" y="34"/>
                  </a:lnTo>
                  <a:lnTo>
                    <a:pt x="456" y="2"/>
                  </a:lnTo>
                  <a:close/>
                  <a:moveTo>
                    <a:pt x="634" y="0"/>
                  </a:moveTo>
                  <a:lnTo>
                    <a:pt x="640" y="0"/>
                  </a:lnTo>
                  <a:lnTo>
                    <a:pt x="645" y="0"/>
                  </a:lnTo>
                  <a:lnTo>
                    <a:pt x="651" y="2"/>
                  </a:lnTo>
                  <a:lnTo>
                    <a:pt x="656" y="3"/>
                  </a:lnTo>
                  <a:lnTo>
                    <a:pt x="660" y="5"/>
                  </a:lnTo>
                  <a:lnTo>
                    <a:pt x="665" y="8"/>
                  </a:lnTo>
                  <a:lnTo>
                    <a:pt x="668" y="11"/>
                  </a:lnTo>
                  <a:lnTo>
                    <a:pt x="672" y="14"/>
                  </a:lnTo>
                  <a:lnTo>
                    <a:pt x="675" y="18"/>
                  </a:lnTo>
                  <a:lnTo>
                    <a:pt x="677" y="22"/>
                  </a:lnTo>
                  <a:lnTo>
                    <a:pt x="680" y="27"/>
                  </a:lnTo>
                  <a:lnTo>
                    <a:pt x="681" y="32"/>
                  </a:lnTo>
                  <a:lnTo>
                    <a:pt x="683" y="37"/>
                  </a:lnTo>
                  <a:lnTo>
                    <a:pt x="684" y="43"/>
                  </a:lnTo>
                  <a:lnTo>
                    <a:pt x="685" y="49"/>
                  </a:lnTo>
                  <a:lnTo>
                    <a:pt x="685" y="55"/>
                  </a:lnTo>
                  <a:lnTo>
                    <a:pt x="685" y="62"/>
                  </a:lnTo>
                  <a:lnTo>
                    <a:pt x="652" y="62"/>
                  </a:lnTo>
                  <a:lnTo>
                    <a:pt x="652" y="53"/>
                  </a:lnTo>
                  <a:lnTo>
                    <a:pt x="652" y="47"/>
                  </a:lnTo>
                  <a:lnTo>
                    <a:pt x="651" y="43"/>
                  </a:lnTo>
                  <a:lnTo>
                    <a:pt x="650" y="41"/>
                  </a:lnTo>
                  <a:lnTo>
                    <a:pt x="649" y="39"/>
                  </a:lnTo>
                  <a:lnTo>
                    <a:pt x="647" y="36"/>
                  </a:lnTo>
                  <a:lnTo>
                    <a:pt x="645" y="34"/>
                  </a:lnTo>
                  <a:lnTo>
                    <a:pt x="642" y="32"/>
                  </a:lnTo>
                  <a:lnTo>
                    <a:pt x="638" y="31"/>
                  </a:lnTo>
                  <a:lnTo>
                    <a:pt x="634" y="31"/>
                  </a:lnTo>
                  <a:lnTo>
                    <a:pt x="631" y="31"/>
                  </a:lnTo>
                  <a:lnTo>
                    <a:pt x="627" y="32"/>
                  </a:lnTo>
                  <a:lnTo>
                    <a:pt x="624" y="34"/>
                  </a:lnTo>
                  <a:lnTo>
                    <a:pt x="622" y="36"/>
                  </a:lnTo>
                  <a:lnTo>
                    <a:pt x="620" y="39"/>
                  </a:lnTo>
                  <a:lnTo>
                    <a:pt x="618" y="43"/>
                  </a:lnTo>
                  <a:lnTo>
                    <a:pt x="617" y="47"/>
                  </a:lnTo>
                  <a:lnTo>
                    <a:pt x="617" y="53"/>
                  </a:lnTo>
                  <a:lnTo>
                    <a:pt x="617" y="57"/>
                  </a:lnTo>
                  <a:lnTo>
                    <a:pt x="618" y="61"/>
                  </a:lnTo>
                  <a:lnTo>
                    <a:pt x="620" y="68"/>
                  </a:lnTo>
                  <a:lnTo>
                    <a:pt x="623" y="75"/>
                  </a:lnTo>
                  <a:lnTo>
                    <a:pt x="628" y="82"/>
                  </a:lnTo>
                  <a:lnTo>
                    <a:pt x="633" y="88"/>
                  </a:lnTo>
                  <a:lnTo>
                    <a:pt x="639" y="93"/>
                  </a:lnTo>
                  <a:lnTo>
                    <a:pt x="651" y="105"/>
                  </a:lnTo>
                  <a:lnTo>
                    <a:pt x="657" y="111"/>
                  </a:lnTo>
                  <a:lnTo>
                    <a:pt x="664" y="117"/>
                  </a:lnTo>
                  <a:lnTo>
                    <a:pt x="669" y="124"/>
                  </a:lnTo>
                  <a:lnTo>
                    <a:pt x="674" y="132"/>
                  </a:lnTo>
                  <a:lnTo>
                    <a:pt x="679" y="140"/>
                  </a:lnTo>
                  <a:lnTo>
                    <a:pt x="681" y="144"/>
                  </a:lnTo>
                  <a:lnTo>
                    <a:pt x="682" y="149"/>
                  </a:lnTo>
                  <a:lnTo>
                    <a:pt x="683" y="154"/>
                  </a:lnTo>
                  <a:lnTo>
                    <a:pt x="684" y="159"/>
                  </a:lnTo>
                  <a:lnTo>
                    <a:pt x="685" y="164"/>
                  </a:lnTo>
                  <a:lnTo>
                    <a:pt x="685" y="170"/>
                  </a:lnTo>
                  <a:lnTo>
                    <a:pt x="685" y="177"/>
                  </a:lnTo>
                  <a:lnTo>
                    <a:pt x="684" y="183"/>
                  </a:lnTo>
                  <a:lnTo>
                    <a:pt x="683" y="188"/>
                  </a:lnTo>
                  <a:lnTo>
                    <a:pt x="682" y="194"/>
                  </a:lnTo>
                  <a:lnTo>
                    <a:pt x="680" y="199"/>
                  </a:lnTo>
                  <a:lnTo>
                    <a:pt x="678" y="203"/>
                  </a:lnTo>
                  <a:lnTo>
                    <a:pt x="675" y="208"/>
                  </a:lnTo>
                  <a:lnTo>
                    <a:pt x="672" y="211"/>
                  </a:lnTo>
                  <a:lnTo>
                    <a:pt x="668" y="215"/>
                  </a:lnTo>
                  <a:lnTo>
                    <a:pt x="665" y="218"/>
                  </a:lnTo>
                  <a:lnTo>
                    <a:pt x="660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5" y="225"/>
                  </a:lnTo>
                  <a:lnTo>
                    <a:pt x="639" y="226"/>
                  </a:lnTo>
                  <a:lnTo>
                    <a:pt x="633" y="226"/>
                  </a:lnTo>
                  <a:lnTo>
                    <a:pt x="627" y="226"/>
                  </a:lnTo>
                  <a:lnTo>
                    <a:pt x="621" y="225"/>
                  </a:lnTo>
                  <a:lnTo>
                    <a:pt x="616" y="224"/>
                  </a:lnTo>
                  <a:lnTo>
                    <a:pt x="611" y="222"/>
                  </a:lnTo>
                  <a:lnTo>
                    <a:pt x="606" y="220"/>
                  </a:lnTo>
                  <a:lnTo>
                    <a:pt x="602" y="218"/>
                  </a:lnTo>
                  <a:lnTo>
                    <a:pt x="598" y="215"/>
                  </a:lnTo>
                  <a:lnTo>
                    <a:pt x="594" y="211"/>
                  </a:lnTo>
                  <a:lnTo>
                    <a:pt x="591" y="208"/>
                  </a:lnTo>
                  <a:lnTo>
                    <a:pt x="589" y="203"/>
                  </a:lnTo>
                  <a:lnTo>
                    <a:pt x="587" y="199"/>
                  </a:lnTo>
                  <a:lnTo>
                    <a:pt x="585" y="194"/>
                  </a:lnTo>
                  <a:lnTo>
                    <a:pt x="583" y="188"/>
                  </a:lnTo>
                  <a:lnTo>
                    <a:pt x="582" y="183"/>
                  </a:lnTo>
                  <a:lnTo>
                    <a:pt x="582" y="177"/>
                  </a:lnTo>
                  <a:lnTo>
                    <a:pt x="581" y="170"/>
                  </a:lnTo>
                  <a:lnTo>
                    <a:pt x="581" y="157"/>
                  </a:lnTo>
                  <a:lnTo>
                    <a:pt x="614" y="157"/>
                  </a:lnTo>
                  <a:lnTo>
                    <a:pt x="614" y="172"/>
                  </a:lnTo>
                  <a:lnTo>
                    <a:pt x="615" y="178"/>
                  </a:lnTo>
                  <a:lnTo>
                    <a:pt x="616" y="182"/>
                  </a:lnTo>
                  <a:lnTo>
                    <a:pt x="617" y="186"/>
                  </a:lnTo>
                  <a:lnTo>
                    <a:pt x="619" y="189"/>
                  </a:lnTo>
                  <a:lnTo>
                    <a:pt x="622" y="191"/>
                  </a:lnTo>
                  <a:lnTo>
                    <a:pt x="625" y="193"/>
                  </a:lnTo>
                  <a:lnTo>
                    <a:pt x="628" y="194"/>
                  </a:lnTo>
                  <a:lnTo>
                    <a:pt x="632" y="194"/>
                  </a:lnTo>
                  <a:lnTo>
                    <a:pt x="636" y="194"/>
                  </a:lnTo>
                  <a:lnTo>
                    <a:pt x="640" y="193"/>
                  </a:lnTo>
                  <a:lnTo>
                    <a:pt x="643" y="191"/>
                  </a:lnTo>
                  <a:lnTo>
                    <a:pt x="644" y="190"/>
                  </a:lnTo>
                  <a:lnTo>
                    <a:pt x="645" y="189"/>
                  </a:lnTo>
                  <a:lnTo>
                    <a:pt x="647" y="186"/>
                  </a:lnTo>
                  <a:lnTo>
                    <a:pt x="649" y="182"/>
                  </a:lnTo>
                  <a:lnTo>
                    <a:pt x="650" y="178"/>
                  </a:lnTo>
                  <a:lnTo>
                    <a:pt x="650" y="172"/>
                  </a:lnTo>
                  <a:lnTo>
                    <a:pt x="650" y="168"/>
                  </a:lnTo>
                  <a:lnTo>
                    <a:pt x="649" y="164"/>
                  </a:lnTo>
                  <a:lnTo>
                    <a:pt x="647" y="157"/>
                  </a:lnTo>
                  <a:lnTo>
                    <a:pt x="644" y="150"/>
                  </a:lnTo>
                  <a:lnTo>
                    <a:pt x="640" y="144"/>
                  </a:lnTo>
                  <a:lnTo>
                    <a:pt x="635" y="138"/>
                  </a:lnTo>
                  <a:lnTo>
                    <a:pt x="629" y="132"/>
                  </a:lnTo>
                  <a:lnTo>
                    <a:pt x="616" y="120"/>
                  </a:lnTo>
                  <a:lnTo>
                    <a:pt x="610" y="114"/>
                  </a:lnTo>
                  <a:lnTo>
                    <a:pt x="604" y="108"/>
                  </a:lnTo>
                  <a:lnTo>
                    <a:pt x="598" y="101"/>
                  </a:lnTo>
                  <a:lnTo>
                    <a:pt x="593" y="94"/>
                  </a:lnTo>
                  <a:lnTo>
                    <a:pt x="589" y="86"/>
                  </a:lnTo>
                  <a:lnTo>
                    <a:pt x="587" y="81"/>
                  </a:lnTo>
                  <a:lnTo>
                    <a:pt x="585" y="76"/>
                  </a:lnTo>
                  <a:lnTo>
                    <a:pt x="584" y="72"/>
                  </a:lnTo>
                  <a:lnTo>
                    <a:pt x="583" y="66"/>
                  </a:lnTo>
                  <a:lnTo>
                    <a:pt x="583" y="61"/>
                  </a:lnTo>
                  <a:lnTo>
                    <a:pt x="582" y="55"/>
                  </a:lnTo>
                  <a:lnTo>
                    <a:pt x="583" y="49"/>
                  </a:lnTo>
                  <a:lnTo>
                    <a:pt x="583" y="43"/>
                  </a:lnTo>
                  <a:lnTo>
                    <a:pt x="584" y="37"/>
                  </a:lnTo>
                  <a:lnTo>
                    <a:pt x="586" y="32"/>
                  </a:lnTo>
                  <a:lnTo>
                    <a:pt x="587" y="27"/>
                  </a:lnTo>
                  <a:lnTo>
                    <a:pt x="590" y="22"/>
                  </a:lnTo>
                  <a:lnTo>
                    <a:pt x="592" y="18"/>
                  </a:lnTo>
                  <a:lnTo>
                    <a:pt x="595" y="14"/>
                  </a:lnTo>
                  <a:lnTo>
                    <a:pt x="599" y="11"/>
                  </a:lnTo>
                  <a:lnTo>
                    <a:pt x="602" y="8"/>
                  </a:lnTo>
                  <a:lnTo>
                    <a:pt x="607" y="5"/>
                  </a:lnTo>
                  <a:lnTo>
                    <a:pt x="611" y="3"/>
                  </a:lnTo>
                  <a:lnTo>
                    <a:pt x="616" y="2"/>
                  </a:lnTo>
                  <a:lnTo>
                    <a:pt x="622" y="0"/>
                  </a:lnTo>
                  <a:lnTo>
                    <a:pt x="627" y="0"/>
                  </a:lnTo>
                  <a:lnTo>
                    <a:pt x="634" y="0"/>
                  </a:lnTo>
                  <a:close/>
                  <a:moveTo>
                    <a:pt x="748" y="95"/>
                  </a:moveTo>
                  <a:lnTo>
                    <a:pt x="795" y="95"/>
                  </a:lnTo>
                  <a:lnTo>
                    <a:pt x="795" y="127"/>
                  </a:lnTo>
                  <a:lnTo>
                    <a:pt x="748" y="127"/>
                  </a:lnTo>
                  <a:lnTo>
                    <a:pt x="748" y="192"/>
                  </a:lnTo>
                  <a:lnTo>
                    <a:pt x="808" y="192"/>
                  </a:lnTo>
                  <a:lnTo>
                    <a:pt x="808" y="223"/>
                  </a:lnTo>
                  <a:lnTo>
                    <a:pt x="713" y="223"/>
                  </a:lnTo>
                  <a:lnTo>
                    <a:pt x="713" y="2"/>
                  </a:lnTo>
                  <a:lnTo>
                    <a:pt x="808" y="2"/>
                  </a:lnTo>
                  <a:lnTo>
                    <a:pt x="808" y="34"/>
                  </a:lnTo>
                  <a:lnTo>
                    <a:pt x="748" y="34"/>
                  </a:lnTo>
                  <a:lnTo>
                    <a:pt x="748" y="95"/>
                  </a:lnTo>
                  <a:close/>
                  <a:moveTo>
                    <a:pt x="911" y="159"/>
                  </a:moveTo>
                  <a:lnTo>
                    <a:pt x="934" y="2"/>
                  </a:lnTo>
                  <a:lnTo>
                    <a:pt x="983" y="2"/>
                  </a:lnTo>
                  <a:lnTo>
                    <a:pt x="983" y="223"/>
                  </a:lnTo>
                  <a:lnTo>
                    <a:pt x="950" y="223"/>
                  </a:lnTo>
                  <a:lnTo>
                    <a:pt x="950" y="65"/>
                  </a:lnTo>
                  <a:lnTo>
                    <a:pt x="926" y="223"/>
                  </a:lnTo>
                  <a:lnTo>
                    <a:pt x="893" y="223"/>
                  </a:lnTo>
                  <a:lnTo>
                    <a:pt x="867" y="67"/>
                  </a:lnTo>
                  <a:lnTo>
                    <a:pt x="867" y="223"/>
                  </a:lnTo>
                  <a:lnTo>
                    <a:pt x="837" y="223"/>
                  </a:lnTo>
                  <a:lnTo>
                    <a:pt x="837" y="2"/>
                  </a:lnTo>
                  <a:lnTo>
                    <a:pt x="885" y="2"/>
                  </a:lnTo>
                  <a:lnTo>
                    <a:pt x="911" y="159"/>
                  </a:lnTo>
                  <a:close/>
                  <a:moveTo>
                    <a:pt x="1017" y="2"/>
                  </a:moveTo>
                  <a:lnTo>
                    <a:pt x="1051" y="2"/>
                  </a:lnTo>
                  <a:lnTo>
                    <a:pt x="1051" y="223"/>
                  </a:lnTo>
                  <a:lnTo>
                    <a:pt x="1017" y="223"/>
                  </a:lnTo>
                  <a:lnTo>
                    <a:pt x="1017" y="2"/>
                  </a:lnTo>
                  <a:close/>
                  <a:moveTo>
                    <a:pt x="1131" y="0"/>
                  </a:moveTo>
                  <a:lnTo>
                    <a:pt x="1138" y="0"/>
                  </a:lnTo>
                  <a:lnTo>
                    <a:pt x="1143" y="0"/>
                  </a:lnTo>
                  <a:lnTo>
                    <a:pt x="1149" y="2"/>
                  </a:lnTo>
                  <a:lnTo>
                    <a:pt x="1154" y="3"/>
                  </a:lnTo>
                  <a:lnTo>
                    <a:pt x="1158" y="5"/>
                  </a:lnTo>
                  <a:lnTo>
                    <a:pt x="1162" y="8"/>
                  </a:lnTo>
                  <a:lnTo>
                    <a:pt x="1166" y="11"/>
                  </a:lnTo>
                  <a:lnTo>
                    <a:pt x="1170" y="14"/>
                  </a:lnTo>
                  <a:lnTo>
                    <a:pt x="1173" y="18"/>
                  </a:lnTo>
                  <a:lnTo>
                    <a:pt x="1175" y="22"/>
                  </a:lnTo>
                  <a:lnTo>
                    <a:pt x="1178" y="27"/>
                  </a:lnTo>
                  <a:lnTo>
                    <a:pt x="1179" y="32"/>
                  </a:lnTo>
                  <a:lnTo>
                    <a:pt x="1181" y="37"/>
                  </a:lnTo>
                  <a:lnTo>
                    <a:pt x="1182" y="43"/>
                  </a:lnTo>
                  <a:lnTo>
                    <a:pt x="1182" y="49"/>
                  </a:lnTo>
                  <a:lnTo>
                    <a:pt x="1183" y="55"/>
                  </a:lnTo>
                  <a:lnTo>
                    <a:pt x="1183" y="62"/>
                  </a:lnTo>
                  <a:lnTo>
                    <a:pt x="1150" y="62"/>
                  </a:lnTo>
                  <a:lnTo>
                    <a:pt x="1150" y="53"/>
                  </a:lnTo>
                  <a:lnTo>
                    <a:pt x="1149" y="47"/>
                  </a:lnTo>
                  <a:lnTo>
                    <a:pt x="1149" y="43"/>
                  </a:lnTo>
                  <a:lnTo>
                    <a:pt x="1148" y="41"/>
                  </a:lnTo>
                  <a:lnTo>
                    <a:pt x="1147" y="39"/>
                  </a:lnTo>
                  <a:lnTo>
                    <a:pt x="1145" y="36"/>
                  </a:lnTo>
                  <a:lnTo>
                    <a:pt x="1143" y="34"/>
                  </a:lnTo>
                  <a:lnTo>
                    <a:pt x="1140" y="32"/>
                  </a:lnTo>
                  <a:lnTo>
                    <a:pt x="1136" y="31"/>
                  </a:lnTo>
                  <a:lnTo>
                    <a:pt x="1132" y="31"/>
                  </a:lnTo>
                  <a:lnTo>
                    <a:pt x="1128" y="31"/>
                  </a:lnTo>
                  <a:lnTo>
                    <a:pt x="1125" y="32"/>
                  </a:lnTo>
                  <a:lnTo>
                    <a:pt x="1122" y="34"/>
                  </a:lnTo>
                  <a:lnTo>
                    <a:pt x="1120" y="36"/>
                  </a:lnTo>
                  <a:lnTo>
                    <a:pt x="1118" y="39"/>
                  </a:lnTo>
                  <a:lnTo>
                    <a:pt x="1116" y="43"/>
                  </a:lnTo>
                  <a:lnTo>
                    <a:pt x="1115" y="47"/>
                  </a:lnTo>
                  <a:lnTo>
                    <a:pt x="1115" y="53"/>
                  </a:lnTo>
                  <a:lnTo>
                    <a:pt x="1115" y="57"/>
                  </a:lnTo>
                  <a:lnTo>
                    <a:pt x="1116" y="61"/>
                  </a:lnTo>
                  <a:lnTo>
                    <a:pt x="1118" y="68"/>
                  </a:lnTo>
                  <a:lnTo>
                    <a:pt x="1121" y="75"/>
                  </a:lnTo>
                  <a:lnTo>
                    <a:pt x="1126" y="82"/>
                  </a:lnTo>
                  <a:lnTo>
                    <a:pt x="1131" y="88"/>
                  </a:lnTo>
                  <a:lnTo>
                    <a:pt x="1136" y="93"/>
                  </a:lnTo>
                  <a:lnTo>
                    <a:pt x="1149" y="105"/>
                  </a:lnTo>
                  <a:lnTo>
                    <a:pt x="1155" y="111"/>
                  </a:lnTo>
                  <a:lnTo>
                    <a:pt x="1161" y="117"/>
                  </a:lnTo>
                  <a:lnTo>
                    <a:pt x="1167" y="124"/>
                  </a:lnTo>
                  <a:lnTo>
                    <a:pt x="1172" y="132"/>
                  </a:lnTo>
                  <a:lnTo>
                    <a:pt x="1177" y="140"/>
                  </a:lnTo>
                  <a:lnTo>
                    <a:pt x="1178" y="144"/>
                  </a:lnTo>
                  <a:lnTo>
                    <a:pt x="1180" y="149"/>
                  </a:lnTo>
                  <a:lnTo>
                    <a:pt x="1181" y="154"/>
                  </a:lnTo>
                  <a:lnTo>
                    <a:pt x="1182" y="159"/>
                  </a:lnTo>
                  <a:lnTo>
                    <a:pt x="1183" y="164"/>
                  </a:lnTo>
                  <a:lnTo>
                    <a:pt x="1183" y="170"/>
                  </a:lnTo>
                  <a:lnTo>
                    <a:pt x="1183" y="177"/>
                  </a:lnTo>
                  <a:lnTo>
                    <a:pt x="1182" y="183"/>
                  </a:lnTo>
                  <a:lnTo>
                    <a:pt x="1181" y="188"/>
                  </a:lnTo>
                  <a:lnTo>
                    <a:pt x="1180" y="194"/>
                  </a:lnTo>
                  <a:lnTo>
                    <a:pt x="1178" y="199"/>
                  </a:lnTo>
                  <a:lnTo>
                    <a:pt x="1176" y="203"/>
                  </a:lnTo>
                  <a:lnTo>
                    <a:pt x="1173" y="208"/>
                  </a:lnTo>
                  <a:lnTo>
                    <a:pt x="1170" y="211"/>
                  </a:lnTo>
                  <a:lnTo>
                    <a:pt x="1166" y="215"/>
                  </a:lnTo>
                  <a:lnTo>
                    <a:pt x="1162" y="218"/>
                  </a:lnTo>
                  <a:lnTo>
                    <a:pt x="1158" y="220"/>
                  </a:lnTo>
                  <a:lnTo>
                    <a:pt x="1154" y="222"/>
                  </a:lnTo>
                  <a:lnTo>
                    <a:pt x="1149" y="224"/>
                  </a:lnTo>
                  <a:lnTo>
                    <a:pt x="1143" y="225"/>
                  </a:lnTo>
                  <a:lnTo>
                    <a:pt x="1137" y="226"/>
                  </a:lnTo>
                  <a:lnTo>
                    <a:pt x="1131" y="226"/>
                  </a:lnTo>
                  <a:lnTo>
                    <a:pt x="1125" y="226"/>
                  </a:lnTo>
                  <a:lnTo>
                    <a:pt x="1119" y="225"/>
                  </a:lnTo>
                  <a:lnTo>
                    <a:pt x="1114" y="224"/>
                  </a:lnTo>
                  <a:lnTo>
                    <a:pt x="1109" y="222"/>
                  </a:lnTo>
                  <a:lnTo>
                    <a:pt x="1104" y="220"/>
                  </a:lnTo>
                  <a:lnTo>
                    <a:pt x="1100" y="218"/>
                  </a:lnTo>
                  <a:lnTo>
                    <a:pt x="1096" y="215"/>
                  </a:lnTo>
                  <a:lnTo>
                    <a:pt x="1092" y="211"/>
                  </a:lnTo>
                  <a:lnTo>
                    <a:pt x="1089" y="208"/>
                  </a:lnTo>
                  <a:lnTo>
                    <a:pt x="1087" y="203"/>
                  </a:lnTo>
                  <a:lnTo>
                    <a:pt x="1084" y="199"/>
                  </a:lnTo>
                  <a:lnTo>
                    <a:pt x="1083" y="194"/>
                  </a:lnTo>
                  <a:lnTo>
                    <a:pt x="1081" y="188"/>
                  </a:lnTo>
                  <a:lnTo>
                    <a:pt x="1080" y="183"/>
                  </a:lnTo>
                  <a:lnTo>
                    <a:pt x="1079" y="177"/>
                  </a:lnTo>
                  <a:lnTo>
                    <a:pt x="1079" y="170"/>
                  </a:lnTo>
                  <a:lnTo>
                    <a:pt x="1079" y="157"/>
                  </a:lnTo>
                  <a:lnTo>
                    <a:pt x="1112" y="157"/>
                  </a:lnTo>
                  <a:lnTo>
                    <a:pt x="1112" y="172"/>
                  </a:lnTo>
                  <a:lnTo>
                    <a:pt x="1112" y="178"/>
                  </a:lnTo>
                  <a:lnTo>
                    <a:pt x="1113" y="182"/>
                  </a:lnTo>
                  <a:lnTo>
                    <a:pt x="1115" y="186"/>
                  </a:lnTo>
                  <a:lnTo>
                    <a:pt x="1117" y="189"/>
                  </a:lnTo>
                  <a:lnTo>
                    <a:pt x="1120" y="191"/>
                  </a:lnTo>
                  <a:lnTo>
                    <a:pt x="1123" y="193"/>
                  </a:lnTo>
                  <a:lnTo>
                    <a:pt x="1126" y="194"/>
                  </a:lnTo>
                  <a:lnTo>
                    <a:pt x="1130" y="194"/>
                  </a:lnTo>
                  <a:lnTo>
                    <a:pt x="1134" y="194"/>
                  </a:lnTo>
                  <a:lnTo>
                    <a:pt x="1138" y="193"/>
                  </a:lnTo>
                  <a:lnTo>
                    <a:pt x="1141" y="191"/>
                  </a:lnTo>
                  <a:lnTo>
                    <a:pt x="1142" y="190"/>
                  </a:lnTo>
                  <a:lnTo>
                    <a:pt x="1143" y="189"/>
                  </a:lnTo>
                  <a:lnTo>
                    <a:pt x="1145" y="186"/>
                  </a:lnTo>
                  <a:lnTo>
                    <a:pt x="1147" y="182"/>
                  </a:lnTo>
                  <a:lnTo>
                    <a:pt x="1148" y="178"/>
                  </a:lnTo>
                  <a:lnTo>
                    <a:pt x="1148" y="172"/>
                  </a:lnTo>
                  <a:lnTo>
                    <a:pt x="1148" y="168"/>
                  </a:lnTo>
                  <a:lnTo>
                    <a:pt x="1147" y="164"/>
                  </a:lnTo>
                  <a:lnTo>
                    <a:pt x="1145" y="157"/>
                  </a:lnTo>
                  <a:lnTo>
                    <a:pt x="1142" y="150"/>
                  </a:lnTo>
                  <a:lnTo>
                    <a:pt x="1138" y="144"/>
                  </a:lnTo>
                  <a:lnTo>
                    <a:pt x="1132" y="138"/>
                  </a:lnTo>
                  <a:lnTo>
                    <a:pt x="1127" y="132"/>
                  </a:lnTo>
                  <a:lnTo>
                    <a:pt x="1114" y="120"/>
                  </a:lnTo>
                  <a:lnTo>
                    <a:pt x="1108" y="114"/>
                  </a:lnTo>
                  <a:lnTo>
                    <a:pt x="1102" y="108"/>
                  </a:lnTo>
                  <a:lnTo>
                    <a:pt x="1096" y="101"/>
                  </a:lnTo>
                  <a:lnTo>
                    <a:pt x="1091" y="94"/>
                  </a:lnTo>
                  <a:lnTo>
                    <a:pt x="1086" y="86"/>
                  </a:lnTo>
                  <a:lnTo>
                    <a:pt x="1085" y="81"/>
                  </a:lnTo>
                  <a:lnTo>
                    <a:pt x="1083" y="76"/>
                  </a:lnTo>
                  <a:lnTo>
                    <a:pt x="1082" y="72"/>
                  </a:lnTo>
                  <a:lnTo>
                    <a:pt x="1081" y="66"/>
                  </a:lnTo>
                  <a:lnTo>
                    <a:pt x="1080" y="61"/>
                  </a:lnTo>
                  <a:lnTo>
                    <a:pt x="1080" y="55"/>
                  </a:lnTo>
                  <a:lnTo>
                    <a:pt x="1080" y="49"/>
                  </a:lnTo>
                  <a:lnTo>
                    <a:pt x="1081" y="43"/>
                  </a:lnTo>
                  <a:lnTo>
                    <a:pt x="1082" y="37"/>
                  </a:lnTo>
                  <a:lnTo>
                    <a:pt x="1083" y="32"/>
                  </a:lnTo>
                  <a:lnTo>
                    <a:pt x="1085" y="27"/>
                  </a:lnTo>
                  <a:lnTo>
                    <a:pt x="1088" y="22"/>
                  </a:lnTo>
                  <a:lnTo>
                    <a:pt x="1090" y="18"/>
                  </a:lnTo>
                  <a:lnTo>
                    <a:pt x="1093" y="14"/>
                  </a:lnTo>
                  <a:lnTo>
                    <a:pt x="1097" y="11"/>
                  </a:lnTo>
                  <a:lnTo>
                    <a:pt x="1100" y="8"/>
                  </a:lnTo>
                  <a:lnTo>
                    <a:pt x="1105" y="5"/>
                  </a:lnTo>
                  <a:lnTo>
                    <a:pt x="1109" y="3"/>
                  </a:lnTo>
                  <a:lnTo>
                    <a:pt x="1114" y="2"/>
                  </a:lnTo>
                  <a:lnTo>
                    <a:pt x="1120" y="0"/>
                  </a:lnTo>
                  <a:lnTo>
                    <a:pt x="1125" y="0"/>
                  </a:lnTo>
                  <a:lnTo>
                    <a:pt x="1131" y="0"/>
                  </a:lnTo>
                  <a:close/>
                  <a:moveTo>
                    <a:pt x="1256" y="135"/>
                  </a:moveTo>
                  <a:lnTo>
                    <a:pt x="1245" y="155"/>
                  </a:lnTo>
                  <a:lnTo>
                    <a:pt x="1245" y="223"/>
                  </a:lnTo>
                  <a:lnTo>
                    <a:pt x="1211" y="223"/>
                  </a:lnTo>
                  <a:lnTo>
                    <a:pt x="1211" y="2"/>
                  </a:lnTo>
                  <a:lnTo>
                    <a:pt x="1245" y="2"/>
                  </a:lnTo>
                  <a:lnTo>
                    <a:pt x="1245" y="98"/>
                  </a:lnTo>
                  <a:lnTo>
                    <a:pt x="1291" y="2"/>
                  </a:lnTo>
                  <a:lnTo>
                    <a:pt x="1326" y="2"/>
                  </a:lnTo>
                  <a:lnTo>
                    <a:pt x="1277" y="101"/>
                  </a:lnTo>
                  <a:lnTo>
                    <a:pt x="1326" y="223"/>
                  </a:lnTo>
                  <a:lnTo>
                    <a:pt x="1290" y="223"/>
                  </a:lnTo>
                  <a:lnTo>
                    <a:pt x="1256" y="135"/>
                  </a:lnTo>
                  <a:close/>
                  <a:moveTo>
                    <a:pt x="1462" y="223"/>
                  </a:moveTo>
                  <a:lnTo>
                    <a:pt x="1427" y="223"/>
                  </a:lnTo>
                  <a:lnTo>
                    <a:pt x="1421" y="183"/>
                  </a:lnTo>
                  <a:lnTo>
                    <a:pt x="1378" y="183"/>
                  </a:lnTo>
                  <a:lnTo>
                    <a:pt x="1372" y="223"/>
                  </a:lnTo>
                  <a:lnTo>
                    <a:pt x="1340" y="223"/>
                  </a:lnTo>
                  <a:lnTo>
                    <a:pt x="1376" y="2"/>
                  </a:lnTo>
                  <a:lnTo>
                    <a:pt x="1426" y="2"/>
                  </a:lnTo>
                  <a:lnTo>
                    <a:pt x="1462" y="223"/>
                  </a:lnTo>
                  <a:close/>
                  <a:moveTo>
                    <a:pt x="1383" y="153"/>
                  </a:moveTo>
                  <a:lnTo>
                    <a:pt x="1416" y="153"/>
                  </a:lnTo>
                  <a:lnTo>
                    <a:pt x="1399" y="41"/>
                  </a:lnTo>
                  <a:lnTo>
                    <a:pt x="1383" y="153"/>
                  </a:lnTo>
                  <a:close/>
                  <a:moveTo>
                    <a:pt x="1519" y="2"/>
                  </a:moveTo>
                  <a:lnTo>
                    <a:pt x="1519" y="173"/>
                  </a:lnTo>
                  <a:lnTo>
                    <a:pt x="1519" y="178"/>
                  </a:lnTo>
                  <a:lnTo>
                    <a:pt x="1520" y="183"/>
                  </a:lnTo>
                  <a:lnTo>
                    <a:pt x="1522" y="186"/>
                  </a:lnTo>
                  <a:lnTo>
                    <a:pt x="1524" y="189"/>
                  </a:lnTo>
                  <a:lnTo>
                    <a:pt x="1526" y="192"/>
                  </a:lnTo>
                  <a:lnTo>
                    <a:pt x="1530" y="193"/>
                  </a:lnTo>
                  <a:lnTo>
                    <a:pt x="1533" y="194"/>
                  </a:lnTo>
                  <a:lnTo>
                    <a:pt x="1537" y="194"/>
                  </a:lnTo>
                  <a:lnTo>
                    <a:pt x="1541" y="194"/>
                  </a:lnTo>
                  <a:lnTo>
                    <a:pt x="1545" y="193"/>
                  </a:lnTo>
                  <a:lnTo>
                    <a:pt x="1548" y="192"/>
                  </a:lnTo>
                  <a:lnTo>
                    <a:pt x="1549" y="191"/>
                  </a:lnTo>
                  <a:lnTo>
                    <a:pt x="1550" y="189"/>
                  </a:lnTo>
                  <a:lnTo>
                    <a:pt x="1552" y="186"/>
                  </a:lnTo>
                  <a:lnTo>
                    <a:pt x="1554" y="183"/>
                  </a:lnTo>
                  <a:lnTo>
                    <a:pt x="1555" y="178"/>
                  </a:lnTo>
                  <a:lnTo>
                    <a:pt x="1555" y="173"/>
                  </a:lnTo>
                  <a:lnTo>
                    <a:pt x="1555" y="2"/>
                  </a:lnTo>
                  <a:lnTo>
                    <a:pt x="1588" y="2"/>
                  </a:lnTo>
                  <a:lnTo>
                    <a:pt x="1588" y="171"/>
                  </a:lnTo>
                  <a:lnTo>
                    <a:pt x="1588" y="177"/>
                  </a:lnTo>
                  <a:lnTo>
                    <a:pt x="1587" y="183"/>
                  </a:lnTo>
                  <a:lnTo>
                    <a:pt x="1586" y="189"/>
                  </a:lnTo>
                  <a:lnTo>
                    <a:pt x="1585" y="194"/>
                  </a:lnTo>
                  <a:lnTo>
                    <a:pt x="1583" y="199"/>
                  </a:lnTo>
                  <a:lnTo>
                    <a:pt x="1581" y="204"/>
                  </a:lnTo>
                  <a:lnTo>
                    <a:pt x="1578" y="208"/>
                  </a:lnTo>
                  <a:lnTo>
                    <a:pt x="1575" y="212"/>
                  </a:lnTo>
                  <a:lnTo>
                    <a:pt x="1571" y="215"/>
                  </a:lnTo>
                  <a:lnTo>
                    <a:pt x="1567" y="218"/>
                  </a:lnTo>
                  <a:lnTo>
                    <a:pt x="1563" y="220"/>
                  </a:lnTo>
                  <a:lnTo>
                    <a:pt x="1559" y="222"/>
                  </a:lnTo>
                  <a:lnTo>
                    <a:pt x="1554" y="224"/>
                  </a:lnTo>
                  <a:lnTo>
                    <a:pt x="1548" y="225"/>
                  </a:lnTo>
                  <a:lnTo>
                    <a:pt x="1542" y="226"/>
                  </a:lnTo>
                  <a:lnTo>
                    <a:pt x="1536" y="226"/>
                  </a:lnTo>
                  <a:lnTo>
                    <a:pt x="1530" y="226"/>
                  </a:lnTo>
                  <a:lnTo>
                    <a:pt x="1524" y="225"/>
                  </a:lnTo>
                  <a:lnTo>
                    <a:pt x="1519" y="224"/>
                  </a:lnTo>
                  <a:lnTo>
                    <a:pt x="1514" y="222"/>
                  </a:lnTo>
                  <a:lnTo>
                    <a:pt x="1509" y="220"/>
                  </a:lnTo>
                  <a:lnTo>
                    <a:pt x="1505" y="218"/>
                  </a:lnTo>
                  <a:lnTo>
                    <a:pt x="1501" y="215"/>
                  </a:lnTo>
                  <a:lnTo>
                    <a:pt x="1497" y="212"/>
                  </a:lnTo>
                  <a:lnTo>
                    <a:pt x="1494" y="208"/>
                  </a:lnTo>
                  <a:lnTo>
                    <a:pt x="1492" y="204"/>
                  </a:lnTo>
                  <a:lnTo>
                    <a:pt x="1489" y="199"/>
                  </a:lnTo>
                  <a:lnTo>
                    <a:pt x="1488" y="194"/>
                  </a:lnTo>
                  <a:lnTo>
                    <a:pt x="1486" y="189"/>
                  </a:lnTo>
                  <a:lnTo>
                    <a:pt x="1485" y="183"/>
                  </a:lnTo>
                  <a:lnTo>
                    <a:pt x="1484" y="177"/>
                  </a:lnTo>
                  <a:lnTo>
                    <a:pt x="1484" y="171"/>
                  </a:lnTo>
                  <a:lnTo>
                    <a:pt x="1484" y="2"/>
                  </a:lnTo>
                  <a:lnTo>
                    <a:pt x="1519" y="2"/>
                  </a:lnTo>
                  <a:close/>
                  <a:moveTo>
                    <a:pt x="1722" y="57"/>
                  </a:moveTo>
                  <a:lnTo>
                    <a:pt x="1722" y="85"/>
                  </a:lnTo>
                  <a:lnTo>
                    <a:pt x="1722" y="92"/>
                  </a:lnTo>
                  <a:lnTo>
                    <a:pt x="1722" y="98"/>
                  </a:lnTo>
                  <a:lnTo>
                    <a:pt x="1721" y="104"/>
                  </a:lnTo>
                  <a:lnTo>
                    <a:pt x="1719" y="109"/>
                  </a:lnTo>
                  <a:lnTo>
                    <a:pt x="1717" y="114"/>
                  </a:lnTo>
                  <a:lnTo>
                    <a:pt x="1715" y="118"/>
                  </a:lnTo>
                  <a:lnTo>
                    <a:pt x="1713" y="122"/>
                  </a:lnTo>
                  <a:lnTo>
                    <a:pt x="1710" y="126"/>
                  </a:lnTo>
                  <a:lnTo>
                    <a:pt x="1706" y="129"/>
                  </a:lnTo>
                  <a:lnTo>
                    <a:pt x="1702" y="132"/>
                  </a:lnTo>
                  <a:lnTo>
                    <a:pt x="1698" y="135"/>
                  </a:lnTo>
                  <a:lnTo>
                    <a:pt x="1693" y="137"/>
                  </a:lnTo>
                  <a:lnTo>
                    <a:pt x="1688" y="138"/>
                  </a:lnTo>
                  <a:lnTo>
                    <a:pt x="1683" y="139"/>
                  </a:lnTo>
                  <a:lnTo>
                    <a:pt x="1677" y="140"/>
                  </a:lnTo>
                  <a:lnTo>
                    <a:pt x="1671" y="140"/>
                  </a:lnTo>
                  <a:lnTo>
                    <a:pt x="1654" y="140"/>
                  </a:lnTo>
                  <a:lnTo>
                    <a:pt x="1654" y="223"/>
                  </a:lnTo>
                  <a:lnTo>
                    <a:pt x="1619" y="223"/>
                  </a:lnTo>
                  <a:lnTo>
                    <a:pt x="1619" y="2"/>
                  </a:lnTo>
                  <a:lnTo>
                    <a:pt x="1671" y="2"/>
                  </a:lnTo>
                  <a:lnTo>
                    <a:pt x="1677" y="2"/>
                  </a:lnTo>
                  <a:lnTo>
                    <a:pt x="1683" y="3"/>
                  </a:lnTo>
                  <a:lnTo>
                    <a:pt x="1688" y="4"/>
                  </a:lnTo>
                  <a:lnTo>
                    <a:pt x="1693" y="6"/>
                  </a:lnTo>
                  <a:lnTo>
                    <a:pt x="1698" y="8"/>
                  </a:lnTo>
                  <a:lnTo>
                    <a:pt x="1702" y="10"/>
                  </a:lnTo>
                  <a:lnTo>
                    <a:pt x="1706" y="13"/>
                  </a:lnTo>
                  <a:lnTo>
                    <a:pt x="1710" y="16"/>
                  </a:lnTo>
                  <a:lnTo>
                    <a:pt x="1713" y="20"/>
                  </a:lnTo>
                  <a:lnTo>
                    <a:pt x="1715" y="24"/>
                  </a:lnTo>
                  <a:lnTo>
                    <a:pt x="1717" y="28"/>
                  </a:lnTo>
                  <a:lnTo>
                    <a:pt x="1719" y="33"/>
                  </a:lnTo>
                  <a:lnTo>
                    <a:pt x="1722" y="44"/>
                  </a:lnTo>
                  <a:lnTo>
                    <a:pt x="1722" y="50"/>
                  </a:lnTo>
                  <a:lnTo>
                    <a:pt x="1722" y="57"/>
                  </a:lnTo>
                  <a:close/>
                  <a:moveTo>
                    <a:pt x="1654" y="34"/>
                  </a:moveTo>
                  <a:lnTo>
                    <a:pt x="1654" y="109"/>
                  </a:lnTo>
                  <a:lnTo>
                    <a:pt x="1671" y="109"/>
                  </a:lnTo>
                  <a:lnTo>
                    <a:pt x="1675" y="108"/>
                  </a:lnTo>
                  <a:lnTo>
                    <a:pt x="1678" y="108"/>
                  </a:lnTo>
                  <a:lnTo>
                    <a:pt x="1681" y="106"/>
                  </a:lnTo>
                  <a:lnTo>
                    <a:pt x="1683" y="104"/>
                  </a:lnTo>
                  <a:lnTo>
                    <a:pt x="1685" y="101"/>
                  </a:lnTo>
                  <a:lnTo>
                    <a:pt x="1687" y="98"/>
                  </a:lnTo>
                  <a:lnTo>
                    <a:pt x="1687" y="95"/>
                  </a:lnTo>
                  <a:lnTo>
                    <a:pt x="1687" y="93"/>
                  </a:lnTo>
                  <a:lnTo>
                    <a:pt x="1688" y="88"/>
                  </a:lnTo>
                  <a:lnTo>
                    <a:pt x="1688" y="55"/>
                  </a:lnTo>
                  <a:lnTo>
                    <a:pt x="1687" y="49"/>
                  </a:lnTo>
                  <a:lnTo>
                    <a:pt x="1687" y="45"/>
                  </a:lnTo>
                  <a:lnTo>
                    <a:pt x="1685" y="41"/>
                  </a:lnTo>
                  <a:lnTo>
                    <a:pt x="1683" y="38"/>
                  </a:lnTo>
                  <a:lnTo>
                    <a:pt x="1681" y="36"/>
                  </a:lnTo>
                  <a:lnTo>
                    <a:pt x="1678" y="35"/>
                  </a:lnTo>
                  <a:lnTo>
                    <a:pt x="1675" y="34"/>
                  </a:lnTo>
                  <a:lnTo>
                    <a:pt x="1671" y="34"/>
                  </a:lnTo>
                  <a:lnTo>
                    <a:pt x="1654" y="34"/>
                  </a:lnTo>
                  <a:close/>
                  <a:moveTo>
                    <a:pt x="1851" y="57"/>
                  </a:moveTo>
                  <a:lnTo>
                    <a:pt x="1851" y="85"/>
                  </a:lnTo>
                  <a:lnTo>
                    <a:pt x="1851" y="92"/>
                  </a:lnTo>
                  <a:lnTo>
                    <a:pt x="1850" y="98"/>
                  </a:lnTo>
                  <a:lnTo>
                    <a:pt x="1849" y="104"/>
                  </a:lnTo>
                  <a:lnTo>
                    <a:pt x="1848" y="109"/>
                  </a:lnTo>
                  <a:lnTo>
                    <a:pt x="1846" y="114"/>
                  </a:lnTo>
                  <a:lnTo>
                    <a:pt x="1844" y="118"/>
                  </a:lnTo>
                  <a:lnTo>
                    <a:pt x="1841" y="122"/>
                  </a:lnTo>
                  <a:lnTo>
                    <a:pt x="1838" y="126"/>
                  </a:lnTo>
                  <a:lnTo>
                    <a:pt x="1835" y="129"/>
                  </a:lnTo>
                  <a:lnTo>
                    <a:pt x="1831" y="132"/>
                  </a:lnTo>
                  <a:lnTo>
                    <a:pt x="1827" y="135"/>
                  </a:lnTo>
                  <a:lnTo>
                    <a:pt x="1822" y="137"/>
                  </a:lnTo>
                  <a:lnTo>
                    <a:pt x="1817" y="138"/>
                  </a:lnTo>
                  <a:lnTo>
                    <a:pt x="1811" y="139"/>
                  </a:lnTo>
                  <a:lnTo>
                    <a:pt x="1806" y="140"/>
                  </a:lnTo>
                  <a:lnTo>
                    <a:pt x="1799" y="140"/>
                  </a:lnTo>
                  <a:lnTo>
                    <a:pt x="1783" y="140"/>
                  </a:lnTo>
                  <a:lnTo>
                    <a:pt x="1783" y="223"/>
                  </a:lnTo>
                  <a:lnTo>
                    <a:pt x="1748" y="223"/>
                  </a:lnTo>
                  <a:lnTo>
                    <a:pt x="1748" y="2"/>
                  </a:lnTo>
                  <a:lnTo>
                    <a:pt x="1799" y="2"/>
                  </a:lnTo>
                  <a:lnTo>
                    <a:pt x="1806" y="2"/>
                  </a:lnTo>
                  <a:lnTo>
                    <a:pt x="1811" y="3"/>
                  </a:lnTo>
                  <a:lnTo>
                    <a:pt x="1817" y="4"/>
                  </a:lnTo>
                  <a:lnTo>
                    <a:pt x="1822" y="6"/>
                  </a:lnTo>
                  <a:lnTo>
                    <a:pt x="1827" y="8"/>
                  </a:lnTo>
                  <a:lnTo>
                    <a:pt x="1831" y="10"/>
                  </a:lnTo>
                  <a:lnTo>
                    <a:pt x="1835" y="13"/>
                  </a:lnTo>
                  <a:lnTo>
                    <a:pt x="1838" y="16"/>
                  </a:lnTo>
                  <a:lnTo>
                    <a:pt x="1841" y="20"/>
                  </a:lnTo>
                  <a:lnTo>
                    <a:pt x="1844" y="24"/>
                  </a:lnTo>
                  <a:lnTo>
                    <a:pt x="1846" y="28"/>
                  </a:lnTo>
                  <a:lnTo>
                    <a:pt x="1848" y="33"/>
                  </a:lnTo>
                  <a:lnTo>
                    <a:pt x="1850" y="44"/>
                  </a:lnTo>
                  <a:lnTo>
                    <a:pt x="1851" y="50"/>
                  </a:lnTo>
                  <a:lnTo>
                    <a:pt x="1851" y="57"/>
                  </a:lnTo>
                  <a:close/>
                  <a:moveTo>
                    <a:pt x="1783" y="34"/>
                  </a:moveTo>
                  <a:lnTo>
                    <a:pt x="1783" y="109"/>
                  </a:lnTo>
                  <a:lnTo>
                    <a:pt x="1799" y="109"/>
                  </a:lnTo>
                  <a:lnTo>
                    <a:pt x="1803" y="108"/>
                  </a:lnTo>
                  <a:lnTo>
                    <a:pt x="1807" y="108"/>
                  </a:lnTo>
                  <a:lnTo>
                    <a:pt x="1810" y="106"/>
                  </a:lnTo>
                  <a:lnTo>
                    <a:pt x="1812" y="104"/>
                  </a:lnTo>
                  <a:lnTo>
                    <a:pt x="1814" y="101"/>
                  </a:lnTo>
                  <a:lnTo>
                    <a:pt x="1815" y="98"/>
                  </a:lnTo>
                  <a:lnTo>
                    <a:pt x="1816" y="95"/>
                  </a:lnTo>
                  <a:lnTo>
                    <a:pt x="1816" y="93"/>
                  </a:lnTo>
                  <a:lnTo>
                    <a:pt x="1816" y="88"/>
                  </a:lnTo>
                  <a:lnTo>
                    <a:pt x="1816" y="55"/>
                  </a:lnTo>
                  <a:lnTo>
                    <a:pt x="1816" y="49"/>
                  </a:lnTo>
                  <a:lnTo>
                    <a:pt x="1815" y="45"/>
                  </a:lnTo>
                  <a:lnTo>
                    <a:pt x="1814" y="41"/>
                  </a:lnTo>
                  <a:lnTo>
                    <a:pt x="1812" y="38"/>
                  </a:lnTo>
                  <a:lnTo>
                    <a:pt x="1810" y="36"/>
                  </a:lnTo>
                  <a:lnTo>
                    <a:pt x="1807" y="35"/>
                  </a:lnTo>
                  <a:lnTo>
                    <a:pt x="1803" y="34"/>
                  </a:lnTo>
                  <a:lnTo>
                    <a:pt x="1799" y="34"/>
                  </a:lnTo>
                  <a:lnTo>
                    <a:pt x="1783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07015974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73192DA-BE39-4C6A-9914-08D7D22422D6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7" name="Round Same Side Corner Rectangle 16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8" name="Freeform 6"/>
            <p:cNvSpPr>
              <a:spLocks noChangeAspect="1" noEditPoints="1"/>
            </p:cNvSpPr>
            <p:nvPr userDrawn="1"/>
          </p:nvSpPr>
          <p:spPr bwMode="auto">
            <a:xfrm>
              <a:off x="8908139" y="6472998"/>
              <a:ext cx="1865548" cy="212400"/>
            </a:xfrm>
            <a:custGeom>
              <a:avLst/>
              <a:gdLst>
                <a:gd name="T0" fmla="*/ 1899 w 1985"/>
                <a:gd name="T1" fmla="*/ 2 h 226"/>
                <a:gd name="T2" fmla="*/ 67 w 1985"/>
                <a:gd name="T3" fmla="*/ 143 h 226"/>
                <a:gd name="T4" fmla="*/ 59 w 1985"/>
                <a:gd name="T5" fmla="*/ 2 h 226"/>
                <a:gd name="T6" fmla="*/ 99 w 1985"/>
                <a:gd name="T7" fmla="*/ 26 h 226"/>
                <a:gd name="T8" fmla="*/ 95 w 1985"/>
                <a:gd name="T9" fmla="*/ 104 h 226"/>
                <a:gd name="T10" fmla="*/ 99 w 1985"/>
                <a:gd name="T11" fmla="*/ 133 h 226"/>
                <a:gd name="T12" fmla="*/ 106 w 1985"/>
                <a:gd name="T13" fmla="*/ 217 h 226"/>
                <a:gd name="T14" fmla="*/ 68 w 1985"/>
                <a:gd name="T15" fmla="*/ 89 h 226"/>
                <a:gd name="T16" fmla="*/ 52 w 1985"/>
                <a:gd name="T17" fmla="*/ 34 h 226"/>
                <a:gd name="T18" fmla="*/ 168 w 1985"/>
                <a:gd name="T19" fmla="*/ 153 h 226"/>
                <a:gd name="T20" fmla="*/ 316 w 1985"/>
                <a:gd name="T21" fmla="*/ 183 h 226"/>
                <a:gd name="T22" fmla="*/ 493 w 1985"/>
                <a:gd name="T23" fmla="*/ 223 h 226"/>
                <a:gd name="T24" fmla="*/ 668 w 1985"/>
                <a:gd name="T25" fmla="*/ 11 h 226"/>
                <a:gd name="T26" fmla="*/ 652 w 1985"/>
                <a:gd name="T27" fmla="*/ 62 h 226"/>
                <a:gd name="T28" fmla="*/ 631 w 1985"/>
                <a:gd name="T29" fmla="*/ 31 h 226"/>
                <a:gd name="T30" fmla="*/ 623 w 1985"/>
                <a:gd name="T31" fmla="*/ 75 h 226"/>
                <a:gd name="T32" fmla="*/ 682 w 1985"/>
                <a:gd name="T33" fmla="*/ 149 h 226"/>
                <a:gd name="T34" fmla="*/ 675 w 1985"/>
                <a:gd name="T35" fmla="*/ 208 h 226"/>
                <a:gd name="T36" fmla="*/ 621 w 1985"/>
                <a:gd name="T37" fmla="*/ 225 h 226"/>
                <a:gd name="T38" fmla="*/ 583 w 1985"/>
                <a:gd name="T39" fmla="*/ 188 h 226"/>
                <a:gd name="T40" fmla="*/ 622 w 1985"/>
                <a:gd name="T41" fmla="*/ 191 h 226"/>
                <a:gd name="T42" fmla="*/ 650 w 1985"/>
                <a:gd name="T43" fmla="*/ 178 h 226"/>
                <a:gd name="T44" fmla="*/ 604 w 1985"/>
                <a:gd name="T45" fmla="*/ 108 h 226"/>
                <a:gd name="T46" fmla="*/ 583 w 1985"/>
                <a:gd name="T47" fmla="*/ 43 h 226"/>
                <a:gd name="T48" fmla="*/ 616 w 1985"/>
                <a:gd name="T49" fmla="*/ 2 h 226"/>
                <a:gd name="T50" fmla="*/ 713 w 1985"/>
                <a:gd name="T51" fmla="*/ 223 h 226"/>
                <a:gd name="T52" fmla="*/ 950 w 1985"/>
                <a:gd name="T53" fmla="*/ 65 h 226"/>
                <a:gd name="T54" fmla="*/ 1051 w 1985"/>
                <a:gd name="T55" fmla="*/ 223 h 226"/>
                <a:gd name="T56" fmla="*/ 1170 w 1985"/>
                <a:gd name="T57" fmla="*/ 14 h 226"/>
                <a:gd name="T58" fmla="*/ 1150 w 1985"/>
                <a:gd name="T59" fmla="*/ 53 h 226"/>
                <a:gd name="T60" fmla="*/ 1125 w 1985"/>
                <a:gd name="T61" fmla="*/ 32 h 226"/>
                <a:gd name="T62" fmla="*/ 1126 w 1985"/>
                <a:gd name="T63" fmla="*/ 82 h 226"/>
                <a:gd name="T64" fmla="*/ 1181 w 1985"/>
                <a:gd name="T65" fmla="*/ 154 h 226"/>
                <a:gd name="T66" fmla="*/ 1170 w 1985"/>
                <a:gd name="T67" fmla="*/ 211 h 226"/>
                <a:gd name="T68" fmla="*/ 1114 w 1985"/>
                <a:gd name="T69" fmla="*/ 224 h 226"/>
                <a:gd name="T70" fmla="*/ 1080 w 1985"/>
                <a:gd name="T71" fmla="*/ 183 h 226"/>
                <a:gd name="T72" fmla="*/ 1123 w 1985"/>
                <a:gd name="T73" fmla="*/ 193 h 226"/>
                <a:gd name="T74" fmla="*/ 1148 w 1985"/>
                <a:gd name="T75" fmla="*/ 172 h 226"/>
                <a:gd name="T76" fmla="*/ 1096 w 1985"/>
                <a:gd name="T77" fmla="*/ 101 h 226"/>
                <a:gd name="T78" fmla="*/ 1082 w 1985"/>
                <a:gd name="T79" fmla="*/ 37 h 226"/>
                <a:gd name="T80" fmla="*/ 1120 w 1985"/>
                <a:gd name="T81" fmla="*/ 0 h 226"/>
                <a:gd name="T82" fmla="*/ 1326 w 1985"/>
                <a:gd name="T83" fmla="*/ 2 h 226"/>
                <a:gd name="T84" fmla="*/ 1376 w 1985"/>
                <a:gd name="T85" fmla="*/ 2 h 226"/>
                <a:gd name="T86" fmla="*/ 1522 w 1985"/>
                <a:gd name="T87" fmla="*/ 186 h 226"/>
                <a:gd name="T88" fmla="*/ 1552 w 1985"/>
                <a:gd name="T89" fmla="*/ 186 h 226"/>
                <a:gd name="T90" fmla="*/ 1583 w 1985"/>
                <a:gd name="T91" fmla="*/ 199 h 226"/>
                <a:gd name="T92" fmla="*/ 1536 w 1985"/>
                <a:gd name="T93" fmla="*/ 226 h 226"/>
                <a:gd name="T94" fmla="*/ 1489 w 1985"/>
                <a:gd name="T95" fmla="*/ 199 h 226"/>
                <a:gd name="T96" fmla="*/ 1722 w 1985"/>
                <a:gd name="T97" fmla="*/ 98 h 226"/>
                <a:gd name="T98" fmla="*/ 1688 w 1985"/>
                <a:gd name="T99" fmla="*/ 138 h 226"/>
                <a:gd name="T100" fmla="*/ 1688 w 1985"/>
                <a:gd name="T101" fmla="*/ 4 h 226"/>
                <a:gd name="T102" fmla="*/ 1722 w 1985"/>
                <a:gd name="T103" fmla="*/ 50 h 226"/>
                <a:gd name="T104" fmla="*/ 1687 w 1985"/>
                <a:gd name="T105" fmla="*/ 95 h 226"/>
                <a:gd name="T106" fmla="*/ 1671 w 1985"/>
                <a:gd name="T107" fmla="*/ 34 h 226"/>
                <a:gd name="T108" fmla="*/ 1838 w 1985"/>
                <a:gd name="T109" fmla="*/ 126 h 226"/>
                <a:gd name="T110" fmla="*/ 1748 w 1985"/>
                <a:gd name="T111" fmla="*/ 223 h 226"/>
                <a:gd name="T112" fmla="*/ 1841 w 1985"/>
                <a:gd name="T113" fmla="*/ 20 h 226"/>
                <a:gd name="T114" fmla="*/ 1807 w 1985"/>
                <a:gd name="T115" fmla="*/ 108 h 226"/>
                <a:gd name="T116" fmla="*/ 1814 w 1985"/>
                <a:gd name="T117" fmla="*/ 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5" h="226">
                  <a:moveTo>
                    <a:pt x="1906" y="153"/>
                  </a:moveTo>
                  <a:lnTo>
                    <a:pt x="1939" y="153"/>
                  </a:lnTo>
                  <a:lnTo>
                    <a:pt x="1922" y="41"/>
                  </a:lnTo>
                  <a:lnTo>
                    <a:pt x="1906" y="153"/>
                  </a:lnTo>
                  <a:close/>
                  <a:moveTo>
                    <a:pt x="1985" y="223"/>
                  </a:moveTo>
                  <a:lnTo>
                    <a:pt x="1950" y="223"/>
                  </a:lnTo>
                  <a:lnTo>
                    <a:pt x="1944" y="183"/>
                  </a:lnTo>
                  <a:lnTo>
                    <a:pt x="1901" y="183"/>
                  </a:lnTo>
                  <a:lnTo>
                    <a:pt x="1895" y="223"/>
                  </a:lnTo>
                  <a:lnTo>
                    <a:pt x="1863" y="223"/>
                  </a:lnTo>
                  <a:lnTo>
                    <a:pt x="1899" y="2"/>
                  </a:lnTo>
                  <a:lnTo>
                    <a:pt x="1950" y="2"/>
                  </a:lnTo>
                  <a:lnTo>
                    <a:pt x="1985" y="223"/>
                  </a:lnTo>
                  <a:close/>
                  <a:moveTo>
                    <a:pt x="73" y="223"/>
                  </a:moveTo>
                  <a:lnTo>
                    <a:pt x="72" y="219"/>
                  </a:lnTo>
                  <a:lnTo>
                    <a:pt x="71" y="214"/>
                  </a:lnTo>
                  <a:lnTo>
                    <a:pt x="70" y="207"/>
                  </a:lnTo>
                  <a:lnTo>
                    <a:pt x="70" y="196"/>
                  </a:lnTo>
                  <a:lnTo>
                    <a:pt x="70" y="161"/>
                  </a:lnTo>
                  <a:lnTo>
                    <a:pt x="69" y="154"/>
                  </a:lnTo>
                  <a:lnTo>
                    <a:pt x="68" y="148"/>
                  </a:lnTo>
                  <a:lnTo>
                    <a:pt x="67" y="143"/>
                  </a:lnTo>
                  <a:lnTo>
                    <a:pt x="64" y="140"/>
                  </a:lnTo>
                  <a:lnTo>
                    <a:pt x="61" y="137"/>
                  </a:lnTo>
                  <a:lnTo>
                    <a:pt x="57" y="135"/>
                  </a:lnTo>
                  <a:lnTo>
                    <a:pt x="52" y="134"/>
                  </a:lnTo>
                  <a:lnTo>
                    <a:pt x="47" y="133"/>
                  </a:lnTo>
                  <a:lnTo>
                    <a:pt x="35" y="133"/>
                  </a:lnTo>
                  <a:lnTo>
                    <a:pt x="35" y="223"/>
                  </a:lnTo>
                  <a:lnTo>
                    <a:pt x="0" y="223"/>
                  </a:lnTo>
                  <a:lnTo>
                    <a:pt x="0" y="2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65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6" y="5"/>
                  </a:lnTo>
                  <a:lnTo>
                    <a:pt x="80" y="7"/>
                  </a:lnTo>
                  <a:lnTo>
                    <a:pt x="85" y="9"/>
                  </a:lnTo>
                  <a:lnTo>
                    <a:pt x="88" y="12"/>
                  </a:lnTo>
                  <a:lnTo>
                    <a:pt x="92" y="15"/>
                  </a:lnTo>
                  <a:lnTo>
                    <a:pt x="95" y="18"/>
                  </a:lnTo>
                  <a:lnTo>
                    <a:pt x="97" y="22"/>
                  </a:lnTo>
                  <a:lnTo>
                    <a:pt x="99" y="26"/>
                  </a:lnTo>
                  <a:lnTo>
                    <a:pt x="101" y="31"/>
                  </a:lnTo>
                  <a:lnTo>
                    <a:pt x="102" y="36"/>
                  </a:lnTo>
                  <a:lnTo>
                    <a:pt x="103" y="41"/>
                  </a:lnTo>
                  <a:lnTo>
                    <a:pt x="104" y="47"/>
                  </a:lnTo>
                  <a:lnTo>
                    <a:pt x="104" y="53"/>
                  </a:lnTo>
                  <a:lnTo>
                    <a:pt x="104" y="70"/>
                  </a:lnTo>
                  <a:lnTo>
                    <a:pt x="104" y="78"/>
                  </a:lnTo>
                  <a:lnTo>
                    <a:pt x="103" y="86"/>
                  </a:lnTo>
                  <a:lnTo>
                    <a:pt x="101" y="93"/>
                  </a:lnTo>
                  <a:lnTo>
                    <a:pt x="99" y="99"/>
                  </a:lnTo>
                  <a:lnTo>
                    <a:pt x="95" y="104"/>
                  </a:lnTo>
                  <a:lnTo>
                    <a:pt x="93" y="106"/>
                  </a:lnTo>
                  <a:lnTo>
                    <a:pt x="91" y="108"/>
                  </a:lnTo>
                  <a:lnTo>
                    <a:pt x="89" y="110"/>
                  </a:lnTo>
                  <a:lnTo>
                    <a:pt x="87" y="112"/>
                  </a:lnTo>
                  <a:lnTo>
                    <a:pt x="84" y="114"/>
                  </a:lnTo>
                  <a:lnTo>
                    <a:pt x="81" y="115"/>
                  </a:lnTo>
                  <a:lnTo>
                    <a:pt x="87" y="118"/>
                  </a:lnTo>
                  <a:lnTo>
                    <a:pt x="92" y="122"/>
                  </a:lnTo>
                  <a:lnTo>
                    <a:pt x="96" y="127"/>
                  </a:lnTo>
                  <a:lnTo>
                    <a:pt x="98" y="130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2" y="139"/>
                  </a:lnTo>
                  <a:lnTo>
                    <a:pt x="103" y="143"/>
                  </a:lnTo>
                  <a:lnTo>
                    <a:pt x="103" y="146"/>
                  </a:lnTo>
                  <a:lnTo>
                    <a:pt x="104" y="154"/>
                  </a:lnTo>
                  <a:lnTo>
                    <a:pt x="104" y="162"/>
                  </a:lnTo>
                  <a:lnTo>
                    <a:pt x="104" y="196"/>
                  </a:lnTo>
                  <a:lnTo>
                    <a:pt x="105" y="204"/>
                  </a:lnTo>
                  <a:lnTo>
                    <a:pt x="105" y="211"/>
                  </a:lnTo>
                  <a:lnTo>
                    <a:pt x="105" y="214"/>
                  </a:lnTo>
                  <a:lnTo>
                    <a:pt x="106" y="217"/>
                  </a:lnTo>
                  <a:lnTo>
                    <a:pt x="108" y="223"/>
                  </a:lnTo>
                  <a:lnTo>
                    <a:pt x="73" y="223"/>
                  </a:lnTo>
                  <a:close/>
                  <a:moveTo>
                    <a:pt x="35" y="34"/>
                  </a:moveTo>
                  <a:lnTo>
                    <a:pt x="35" y="102"/>
                  </a:lnTo>
                  <a:lnTo>
                    <a:pt x="48" y="102"/>
                  </a:lnTo>
                  <a:lnTo>
                    <a:pt x="53" y="101"/>
                  </a:lnTo>
                  <a:lnTo>
                    <a:pt x="57" y="100"/>
                  </a:lnTo>
                  <a:lnTo>
                    <a:pt x="61" y="99"/>
                  </a:lnTo>
                  <a:lnTo>
                    <a:pt x="64" y="97"/>
                  </a:lnTo>
                  <a:lnTo>
                    <a:pt x="66" y="93"/>
                  </a:lnTo>
                  <a:lnTo>
                    <a:pt x="68" y="89"/>
                  </a:lnTo>
                  <a:lnTo>
                    <a:pt x="69" y="84"/>
                  </a:lnTo>
                  <a:lnTo>
                    <a:pt x="69" y="78"/>
                  </a:lnTo>
                  <a:lnTo>
                    <a:pt x="69" y="56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5" y="39"/>
                  </a:lnTo>
                  <a:lnTo>
                    <a:pt x="63" y="37"/>
                  </a:lnTo>
                  <a:lnTo>
                    <a:pt x="60" y="35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35" y="34"/>
                  </a:lnTo>
                  <a:close/>
                  <a:moveTo>
                    <a:pt x="248" y="223"/>
                  </a:moveTo>
                  <a:lnTo>
                    <a:pt x="212" y="223"/>
                  </a:lnTo>
                  <a:lnTo>
                    <a:pt x="206" y="183"/>
                  </a:lnTo>
                  <a:lnTo>
                    <a:pt x="164" y="183"/>
                  </a:lnTo>
                  <a:lnTo>
                    <a:pt x="158" y="223"/>
                  </a:lnTo>
                  <a:lnTo>
                    <a:pt x="126" y="223"/>
                  </a:lnTo>
                  <a:lnTo>
                    <a:pt x="161" y="2"/>
                  </a:lnTo>
                  <a:lnTo>
                    <a:pt x="212" y="2"/>
                  </a:lnTo>
                  <a:lnTo>
                    <a:pt x="248" y="223"/>
                  </a:lnTo>
                  <a:close/>
                  <a:moveTo>
                    <a:pt x="168" y="153"/>
                  </a:moveTo>
                  <a:lnTo>
                    <a:pt x="202" y="153"/>
                  </a:lnTo>
                  <a:lnTo>
                    <a:pt x="185" y="41"/>
                  </a:lnTo>
                  <a:lnTo>
                    <a:pt x="168" y="153"/>
                  </a:lnTo>
                  <a:close/>
                  <a:moveTo>
                    <a:pt x="316" y="183"/>
                  </a:moveTo>
                  <a:lnTo>
                    <a:pt x="343" y="2"/>
                  </a:lnTo>
                  <a:lnTo>
                    <a:pt x="375" y="2"/>
                  </a:lnTo>
                  <a:lnTo>
                    <a:pt x="340" y="223"/>
                  </a:lnTo>
                  <a:lnTo>
                    <a:pt x="289" y="223"/>
                  </a:lnTo>
                  <a:lnTo>
                    <a:pt x="254" y="2"/>
                  </a:lnTo>
                  <a:lnTo>
                    <a:pt x="290" y="2"/>
                  </a:lnTo>
                  <a:lnTo>
                    <a:pt x="316" y="183"/>
                  </a:lnTo>
                  <a:close/>
                  <a:moveTo>
                    <a:pt x="398" y="2"/>
                  </a:moveTo>
                  <a:lnTo>
                    <a:pt x="433" y="2"/>
                  </a:lnTo>
                  <a:lnTo>
                    <a:pt x="433" y="223"/>
                  </a:lnTo>
                  <a:lnTo>
                    <a:pt x="398" y="223"/>
                  </a:lnTo>
                  <a:lnTo>
                    <a:pt x="398" y="2"/>
                  </a:lnTo>
                  <a:close/>
                  <a:moveTo>
                    <a:pt x="456" y="2"/>
                  </a:moveTo>
                  <a:lnTo>
                    <a:pt x="564" y="2"/>
                  </a:lnTo>
                  <a:lnTo>
                    <a:pt x="564" y="34"/>
                  </a:lnTo>
                  <a:lnTo>
                    <a:pt x="527" y="34"/>
                  </a:lnTo>
                  <a:lnTo>
                    <a:pt x="527" y="223"/>
                  </a:lnTo>
                  <a:lnTo>
                    <a:pt x="493" y="223"/>
                  </a:lnTo>
                  <a:lnTo>
                    <a:pt x="493" y="34"/>
                  </a:lnTo>
                  <a:lnTo>
                    <a:pt x="456" y="34"/>
                  </a:lnTo>
                  <a:lnTo>
                    <a:pt x="456" y="2"/>
                  </a:lnTo>
                  <a:close/>
                  <a:moveTo>
                    <a:pt x="634" y="0"/>
                  </a:moveTo>
                  <a:lnTo>
                    <a:pt x="640" y="0"/>
                  </a:lnTo>
                  <a:lnTo>
                    <a:pt x="645" y="0"/>
                  </a:lnTo>
                  <a:lnTo>
                    <a:pt x="651" y="2"/>
                  </a:lnTo>
                  <a:lnTo>
                    <a:pt x="656" y="3"/>
                  </a:lnTo>
                  <a:lnTo>
                    <a:pt x="660" y="5"/>
                  </a:lnTo>
                  <a:lnTo>
                    <a:pt x="665" y="8"/>
                  </a:lnTo>
                  <a:lnTo>
                    <a:pt x="668" y="11"/>
                  </a:lnTo>
                  <a:lnTo>
                    <a:pt x="672" y="14"/>
                  </a:lnTo>
                  <a:lnTo>
                    <a:pt x="675" y="18"/>
                  </a:lnTo>
                  <a:lnTo>
                    <a:pt x="677" y="22"/>
                  </a:lnTo>
                  <a:lnTo>
                    <a:pt x="680" y="27"/>
                  </a:lnTo>
                  <a:lnTo>
                    <a:pt x="681" y="32"/>
                  </a:lnTo>
                  <a:lnTo>
                    <a:pt x="683" y="37"/>
                  </a:lnTo>
                  <a:lnTo>
                    <a:pt x="684" y="43"/>
                  </a:lnTo>
                  <a:lnTo>
                    <a:pt x="685" y="49"/>
                  </a:lnTo>
                  <a:lnTo>
                    <a:pt x="685" y="55"/>
                  </a:lnTo>
                  <a:lnTo>
                    <a:pt x="685" y="62"/>
                  </a:lnTo>
                  <a:lnTo>
                    <a:pt x="652" y="62"/>
                  </a:lnTo>
                  <a:lnTo>
                    <a:pt x="652" y="53"/>
                  </a:lnTo>
                  <a:lnTo>
                    <a:pt x="652" y="47"/>
                  </a:lnTo>
                  <a:lnTo>
                    <a:pt x="651" y="43"/>
                  </a:lnTo>
                  <a:lnTo>
                    <a:pt x="650" y="41"/>
                  </a:lnTo>
                  <a:lnTo>
                    <a:pt x="649" y="39"/>
                  </a:lnTo>
                  <a:lnTo>
                    <a:pt x="647" y="36"/>
                  </a:lnTo>
                  <a:lnTo>
                    <a:pt x="645" y="34"/>
                  </a:lnTo>
                  <a:lnTo>
                    <a:pt x="642" y="32"/>
                  </a:lnTo>
                  <a:lnTo>
                    <a:pt x="638" y="31"/>
                  </a:lnTo>
                  <a:lnTo>
                    <a:pt x="634" y="31"/>
                  </a:lnTo>
                  <a:lnTo>
                    <a:pt x="631" y="31"/>
                  </a:lnTo>
                  <a:lnTo>
                    <a:pt x="627" y="32"/>
                  </a:lnTo>
                  <a:lnTo>
                    <a:pt x="624" y="34"/>
                  </a:lnTo>
                  <a:lnTo>
                    <a:pt x="622" y="36"/>
                  </a:lnTo>
                  <a:lnTo>
                    <a:pt x="620" y="39"/>
                  </a:lnTo>
                  <a:lnTo>
                    <a:pt x="618" y="43"/>
                  </a:lnTo>
                  <a:lnTo>
                    <a:pt x="617" y="47"/>
                  </a:lnTo>
                  <a:lnTo>
                    <a:pt x="617" y="53"/>
                  </a:lnTo>
                  <a:lnTo>
                    <a:pt x="617" y="57"/>
                  </a:lnTo>
                  <a:lnTo>
                    <a:pt x="618" y="61"/>
                  </a:lnTo>
                  <a:lnTo>
                    <a:pt x="620" y="68"/>
                  </a:lnTo>
                  <a:lnTo>
                    <a:pt x="623" y="75"/>
                  </a:lnTo>
                  <a:lnTo>
                    <a:pt x="628" y="82"/>
                  </a:lnTo>
                  <a:lnTo>
                    <a:pt x="633" y="88"/>
                  </a:lnTo>
                  <a:lnTo>
                    <a:pt x="639" y="93"/>
                  </a:lnTo>
                  <a:lnTo>
                    <a:pt x="651" y="105"/>
                  </a:lnTo>
                  <a:lnTo>
                    <a:pt x="657" y="111"/>
                  </a:lnTo>
                  <a:lnTo>
                    <a:pt x="664" y="117"/>
                  </a:lnTo>
                  <a:lnTo>
                    <a:pt x="669" y="124"/>
                  </a:lnTo>
                  <a:lnTo>
                    <a:pt x="674" y="132"/>
                  </a:lnTo>
                  <a:lnTo>
                    <a:pt x="679" y="140"/>
                  </a:lnTo>
                  <a:lnTo>
                    <a:pt x="681" y="144"/>
                  </a:lnTo>
                  <a:lnTo>
                    <a:pt x="682" y="149"/>
                  </a:lnTo>
                  <a:lnTo>
                    <a:pt x="683" y="154"/>
                  </a:lnTo>
                  <a:lnTo>
                    <a:pt x="684" y="159"/>
                  </a:lnTo>
                  <a:lnTo>
                    <a:pt x="685" y="164"/>
                  </a:lnTo>
                  <a:lnTo>
                    <a:pt x="685" y="170"/>
                  </a:lnTo>
                  <a:lnTo>
                    <a:pt x="685" y="177"/>
                  </a:lnTo>
                  <a:lnTo>
                    <a:pt x="684" y="183"/>
                  </a:lnTo>
                  <a:lnTo>
                    <a:pt x="683" y="188"/>
                  </a:lnTo>
                  <a:lnTo>
                    <a:pt x="682" y="194"/>
                  </a:lnTo>
                  <a:lnTo>
                    <a:pt x="680" y="199"/>
                  </a:lnTo>
                  <a:lnTo>
                    <a:pt x="678" y="203"/>
                  </a:lnTo>
                  <a:lnTo>
                    <a:pt x="675" y="208"/>
                  </a:lnTo>
                  <a:lnTo>
                    <a:pt x="672" y="211"/>
                  </a:lnTo>
                  <a:lnTo>
                    <a:pt x="668" y="215"/>
                  </a:lnTo>
                  <a:lnTo>
                    <a:pt x="665" y="218"/>
                  </a:lnTo>
                  <a:lnTo>
                    <a:pt x="660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5" y="225"/>
                  </a:lnTo>
                  <a:lnTo>
                    <a:pt x="639" y="226"/>
                  </a:lnTo>
                  <a:lnTo>
                    <a:pt x="633" y="226"/>
                  </a:lnTo>
                  <a:lnTo>
                    <a:pt x="627" y="226"/>
                  </a:lnTo>
                  <a:lnTo>
                    <a:pt x="621" y="225"/>
                  </a:lnTo>
                  <a:lnTo>
                    <a:pt x="616" y="224"/>
                  </a:lnTo>
                  <a:lnTo>
                    <a:pt x="611" y="222"/>
                  </a:lnTo>
                  <a:lnTo>
                    <a:pt x="606" y="220"/>
                  </a:lnTo>
                  <a:lnTo>
                    <a:pt x="602" y="218"/>
                  </a:lnTo>
                  <a:lnTo>
                    <a:pt x="598" y="215"/>
                  </a:lnTo>
                  <a:lnTo>
                    <a:pt x="594" y="211"/>
                  </a:lnTo>
                  <a:lnTo>
                    <a:pt x="591" y="208"/>
                  </a:lnTo>
                  <a:lnTo>
                    <a:pt x="589" y="203"/>
                  </a:lnTo>
                  <a:lnTo>
                    <a:pt x="587" y="199"/>
                  </a:lnTo>
                  <a:lnTo>
                    <a:pt x="585" y="194"/>
                  </a:lnTo>
                  <a:lnTo>
                    <a:pt x="583" y="188"/>
                  </a:lnTo>
                  <a:lnTo>
                    <a:pt x="582" y="183"/>
                  </a:lnTo>
                  <a:lnTo>
                    <a:pt x="582" y="177"/>
                  </a:lnTo>
                  <a:lnTo>
                    <a:pt x="581" y="170"/>
                  </a:lnTo>
                  <a:lnTo>
                    <a:pt x="581" y="157"/>
                  </a:lnTo>
                  <a:lnTo>
                    <a:pt x="614" y="157"/>
                  </a:lnTo>
                  <a:lnTo>
                    <a:pt x="614" y="172"/>
                  </a:lnTo>
                  <a:lnTo>
                    <a:pt x="615" y="178"/>
                  </a:lnTo>
                  <a:lnTo>
                    <a:pt x="616" y="182"/>
                  </a:lnTo>
                  <a:lnTo>
                    <a:pt x="617" y="186"/>
                  </a:lnTo>
                  <a:lnTo>
                    <a:pt x="619" y="189"/>
                  </a:lnTo>
                  <a:lnTo>
                    <a:pt x="622" y="191"/>
                  </a:lnTo>
                  <a:lnTo>
                    <a:pt x="625" y="193"/>
                  </a:lnTo>
                  <a:lnTo>
                    <a:pt x="628" y="194"/>
                  </a:lnTo>
                  <a:lnTo>
                    <a:pt x="632" y="194"/>
                  </a:lnTo>
                  <a:lnTo>
                    <a:pt x="636" y="194"/>
                  </a:lnTo>
                  <a:lnTo>
                    <a:pt x="640" y="193"/>
                  </a:lnTo>
                  <a:lnTo>
                    <a:pt x="643" y="191"/>
                  </a:lnTo>
                  <a:lnTo>
                    <a:pt x="644" y="190"/>
                  </a:lnTo>
                  <a:lnTo>
                    <a:pt x="645" y="189"/>
                  </a:lnTo>
                  <a:lnTo>
                    <a:pt x="647" y="186"/>
                  </a:lnTo>
                  <a:lnTo>
                    <a:pt x="649" y="182"/>
                  </a:lnTo>
                  <a:lnTo>
                    <a:pt x="650" y="178"/>
                  </a:lnTo>
                  <a:lnTo>
                    <a:pt x="650" y="172"/>
                  </a:lnTo>
                  <a:lnTo>
                    <a:pt x="650" y="168"/>
                  </a:lnTo>
                  <a:lnTo>
                    <a:pt x="649" y="164"/>
                  </a:lnTo>
                  <a:lnTo>
                    <a:pt x="647" y="157"/>
                  </a:lnTo>
                  <a:lnTo>
                    <a:pt x="644" y="150"/>
                  </a:lnTo>
                  <a:lnTo>
                    <a:pt x="640" y="144"/>
                  </a:lnTo>
                  <a:lnTo>
                    <a:pt x="635" y="138"/>
                  </a:lnTo>
                  <a:lnTo>
                    <a:pt x="629" y="132"/>
                  </a:lnTo>
                  <a:lnTo>
                    <a:pt x="616" y="120"/>
                  </a:lnTo>
                  <a:lnTo>
                    <a:pt x="610" y="114"/>
                  </a:lnTo>
                  <a:lnTo>
                    <a:pt x="604" y="108"/>
                  </a:lnTo>
                  <a:lnTo>
                    <a:pt x="598" y="101"/>
                  </a:lnTo>
                  <a:lnTo>
                    <a:pt x="593" y="94"/>
                  </a:lnTo>
                  <a:lnTo>
                    <a:pt x="589" y="86"/>
                  </a:lnTo>
                  <a:lnTo>
                    <a:pt x="587" y="81"/>
                  </a:lnTo>
                  <a:lnTo>
                    <a:pt x="585" y="76"/>
                  </a:lnTo>
                  <a:lnTo>
                    <a:pt x="584" y="72"/>
                  </a:lnTo>
                  <a:lnTo>
                    <a:pt x="583" y="66"/>
                  </a:lnTo>
                  <a:lnTo>
                    <a:pt x="583" y="61"/>
                  </a:lnTo>
                  <a:lnTo>
                    <a:pt x="582" y="55"/>
                  </a:lnTo>
                  <a:lnTo>
                    <a:pt x="583" y="49"/>
                  </a:lnTo>
                  <a:lnTo>
                    <a:pt x="583" y="43"/>
                  </a:lnTo>
                  <a:lnTo>
                    <a:pt x="584" y="37"/>
                  </a:lnTo>
                  <a:lnTo>
                    <a:pt x="586" y="32"/>
                  </a:lnTo>
                  <a:lnTo>
                    <a:pt x="587" y="27"/>
                  </a:lnTo>
                  <a:lnTo>
                    <a:pt x="590" y="22"/>
                  </a:lnTo>
                  <a:lnTo>
                    <a:pt x="592" y="18"/>
                  </a:lnTo>
                  <a:lnTo>
                    <a:pt x="595" y="14"/>
                  </a:lnTo>
                  <a:lnTo>
                    <a:pt x="599" y="11"/>
                  </a:lnTo>
                  <a:lnTo>
                    <a:pt x="602" y="8"/>
                  </a:lnTo>
                  <a:lnTo>
                    <a:pt x="607" y="5"/>
                  </a:lnTo>
                  <a:lnTo>
                    <a:pt x="611" y="3"/>
                  </a:lnTo>
                  <a:lnTo>
                    <a:pt x="616" y="2"/>
                  </a:lnTo>
                  <a:lnTo>
                    <a:pt x="622" y="0"/>
                  </a:lnTo>
                  <a:lnTo>
                    <a:pt x="627" y="0"/>
                  </a:lnTo>
                  <a:lnTo>
                    <a:pt x="634" y="0"/>
                  </a:lnTo>
                  <a:close/>
                  <a:moveTo>
                    <a:pt x="748" y="95"/>
                  </a:moveTo>
                  <a:lnTo>
                    <a:pt x="795" y="95"/>
                  </a:lnTo>
                  <a:lnTo>
                    <a:pt x="795" y="127"/>
                  </a:lnTo>
                  <a:lnTo>
                    <a:pt x="748" y="127"/>
                  </a:lnTo>
                  <a:lnTo>
                    <a:pt x="748" y="192"/>
                  </a:lnTo>
                  <a:lnTo>
                    <a:pt x="808" y="192"/>
                  </a:lnTo>
                  <a:lnTo>
                    <a:pt x="808" y="223"/>
                  </a:lnTo>
                  <a:lnTo>
                    <a:pt x="713" y="223"/>
                  </a:lnTo>
                  <a:lnTo>
                    <a:pt x="713" y="2"/>
                  </a:lnTo>
                  <a:lnTo>
                    <a:pt x="808" y="2"/>
                  </a:lnTo>
                  <a:lnTo>
                    <a:pt x="808" y="34"/>
                  </a:lnTo>
                  <a:lnTo>
                    <a:pt x="748" y="34"/>
                  </a:lnTo>
                  <a:lnTo>
                    <a:pt x="748" y="95"/>
                  </a:lnTo>
                  <a:close/>
                  <a:moveTo>
                    <a:pt x="911" y="159"/>
                  </a:moveTo>
                  <a:lnTo>
                    <a:pt x="934" y="2"/>
                  </a:lnTo>
                  <a:lnTo>
                    <a:pt x="983" y="2"/>
                  </a:lnTo>
                  <a:lnTo>
                    <a:pt x="983" y="223"/>
                  </a:lnTo>
                  <a:lnTo>
                    <a:pt x="950" y="223"/>
                  </a:lnTo>
                  <a:lnTo>
                    <a:pt x="950" y="65"/>
                  </a:lnTo>
                  <a:lnTo>
                    <a:pt x="926" y="223"/>
                  </a:lnTo>
                  <a:lnTo>
                    <a:pt x="893" y="223"/>
                  </a:lnTo>
                  <a:lnTo>
                    <a:pt x="867" y="67"/>
                  </a:lnTo>
                  <a:lnTo>
                    <a:pt x="867" y="223"/>
                  </a:lnTo>
                  <a:lnTo>
                    <a:pt x="837" y="223"/>
                  </a:lnTo>
                  <a:lnTo>
                    <a:pt x="837" y="2"/>
                  </a:lnTo>
                  <a:lnTo>
                    <a:pt x="885" y="2"/>
                  </a:lnTo>
                  <a:lnTo>
                    <a:pt x="911" y="159"/>
                  </a:lnTo>
                  <a:close/>
                  <a:moveTo>
                    <a:pt x="1017" y="2"/>
                  </a:moveTo>
                  <a:lnTo>
                    <a:pt x="1051" y="2"/>
                  </a:lnTo>
                  <a:lnTo>
                    <a:pt x="1051" y="223"/>
                  </a:lnTo>
                  <a:lnTo>
                    <a:pt x="1017" y="223"/>
                  </a:lnTo>
                  <a:lnTo>
                    <a:pt x="1017" y="2"/>
                  </a:lnTo>
                  <a:close/>
                  <a:moveTo>
                    <a:pt x="1131" y="0"/>
                  </a:moveTo>
                  <a:lnTo>
                    <a:pt x="1138" y="0"/>
                  </a:lnTo>
                  <a:lnTo>
                    <a:pt x="1143" y="0"/>
                  </a:lnTo>
                  <a:lnTo>
                    <a:pt x="1149" y="2"/>
                  </a:lnTo>
                  <a:lnTo>
                    <a:pt x="1154" y="3"/>
                  </a:lnTo>
                  <a:lnTo>
                    <a:pt x="1158" y="5"/>
                  </a:lnTo>
                  <a:lnTo>
                    <a:pt x="1162" y="8"/>
                  </a:lnTo>
                  <a:lnTo>
                    <a:pt x="1166" y="11"/>
                  </a:lnTo>
                  <a:lnTo>
                    <a:pt x="1170" y="14"/>
                  </a:lnTo>
                  <a:lnTo>
                    <a:pt x="1173" y="18"/>
                  </a:lnTo>
                  <a:lnTo>
                    <a:pt x="1175" y="22"/>
                  </a:lnTo>
                  <a:lnTo>
                    <a:pt x="1178" y="27"/>
                  </a:lnTo>
                  <a:lnTo>
                    <a:pt x="1179" y="32"/>
                  </a:lnTo>
                  <a:lnTo>
                    <a:pt x="1181" y="37"/>
                  </a:lnTo>
                  <a:lnTo>
                    <a:pt x="1182" y="43"/>
                  </a:lnTo>
                  <a:lnTo>
                    <a:pt x="1182" y="49"/>
                  </a:lnTo>
                  <a:lnTo>
                    <a:pt x="1183" y="55"/>
                  </a:lnTo>
                  <a:lnTo>
                    <a:pt x="1183" y="62"/>
                  </a:lnTo>
                  <a:lnTo>
                    <a:pt x="1150" y="62"/>
                  </a:lnTo>
                  <a:lnTo>
                    <a:pt x="1150" y="53"/>
                  </a:lnTo>
                  <a:lnTo>
                    <a:pt x="1149" y="47"/>
                  </a:lnTo>
                  <a:lnTo>
                    <a:pt x="1149" y="43"/>
                  </a:lnTo>
                  <a:lnTo>
                    <a:pt x="1148" y="41"/>
                  </a:lnTo>
                  <a:lnTo>
                    <a:pt x="1147" y="39"/>
                  </a:lnTo>
                  <a:lnTo>
                    <a:pt x="1145" y="36"/>
                  </a:lnTo>
                  <a:lnTo>
                    <a:pt x="1143" y="34"/>
                  </a:lnTo>
                  <a:lnTo>
                    <a:pt x="1140" y="32"/>
                  </a:lnTo>
                  <a:lnTo>
                    <a:pt x="1136" y="31"/>
                  </a:lnTo>
                  <a:lnTo>
                    <a:pt x="1132" y="31"/>
                  </a:lnTo>
                  <a:lnTo>
                    <a:pt x="1128" y="31"/>
                  </a:lnTo>
                  <a:lnTo>
                    <a:pt x="1125" y="32"/>
                  </a:lnTo>
                  <a:lnTo>
                    <a:pt x="1122" y="34"/>
                  </a:lnTo>
                  <a:lnTo>
                    <a:pt x="1120" y="36"/>
                  </a:lnTo>
                  <a:lnTo>
                    <a:pt x="1118" y="39"/>
                  </a:lnTo>
                  <a:lnTo>
                    <a:pt x="1116" y="43"/>
                  </a:lnTo>
                  <a:lnTo>
                    <a:pt x="1115" y="47"/>
                  </a:lnTo>
                  <a:lnTo>
                    <a:pt x="1115" y="53"/>
                  </a:lnTo>
                  <a:lnTo>
                    <a:pt x="1115" y="57"/>
                  </a:lnTo>
                  <a:lnTo>
                    <a:pt x="1116" y="61"/>
                  </a:lnTo>
                  <a:lnTo>
                    <a:pt x="1118" y="68"/>
                  </a:lnTo>
                  <a:lnTo>
                    <a:pt x="1121" y="75"/>
                  </a:lnTo>
                  <a:lnTo>
                    <a:pt x="1126" y="82"/>
                  </a:lnTo>
                  <a:lnTo>
                    <a:pt x="1131" y="88"/>
                  </a:lnTo>
                  <a:lnTo>
                    <a:pt x="1136" y="93"/>
                  </a:lnTo>
                  <a:lnTo>
                    <a:pt x="1149" y="105"/>
                  </a:lnTo>
                  <a:lnTo>
                    <a:pt x="1155" y="111"/>
                  </a:lnTo>
                  <a:lnTo>
                    <a:pt x="1161" y="117"/>
                  </a:lnTo>
                  <a:lnTo>
                    <a:pt x="1167" y="124"/>
                  </a:lnTo>
                  <a:lnTo>
                    <a:pt x="1172" y="132"/>
                  </a:lnTo>
                  <a:lnTo>
                    <a:pt x="1177" y="140"/>
                  </a:lnTo>
                  <a:lnTo>
                    <a:pt x="1178" y="144"/>
                  </a:lnTo>
                  <a:lnTo>
                    <a:pt x="1180" y="149"/>
                  </a:lnTo>
                  <a:lnTo>
                    <a:pt x="1181" y="154"/>
                  </a:lnTo>
                  <a:lnTo>
                    <a:pt x="1182" y="159"/>
                  </a:lnTo>
                  <a:lnTo>
                    <a:pt x="1183" y="164"/>
                  </a:lnTo>
                  <a:lnTo>
                    <a:pt x="1183" y="170"/>
                  </a:lnTo>
                  <a:lnTo>
                    <a:pt x="1183" y="177"/>
                  </a:lnTo>
                  <a:lnTo>
                    <a:pt x="1182" y="183"/>
                  </a:lnTo>
                  <a:lnTo>
                    <a:pt x="1181" y="188"/>
                  </a:lnTo>
                  <a:lnTo>
                    <a:pt x="1180" y="194"/>
                  </a:lnTo>
                  <a:lnTo>
                    <a:pt x="1178" y="199"/>
                  </a:lnTo>
                  <a:lnTo>
                    <a:pt x="1176" y="203"/>
                  </a:lnTo>
                  <a:lnTo>
                    <a:pt x="1173" y="208"/>
                  </a:lnTo>
                  <a:lnTo>
                    <a:pt x="1170" y="211"/>
                  </a:lnTo>
                  <a:lnTo>
                    <a:pt x="1166" y="215"/>
                  </a:lnTo>
                  <a:lnTo>
                    <a:pt x="1162" y="218"/>
                  </a:lnTo>
                  <a:lnTo>
                    <a:pt x="1158" y="220"/>
                  </a:lnTo>
                  <a:lnTo>
                    <a:pt x="1154" y="222"/>
                  </a:lnTo>
                  <a:lnTo>
                    <a:pt x="1149" y="224"/>
                  </a:lnTo>
                  <a:lnTo>
                    <a:pt x="1143" y="225"/>
                  </a:lnTo>
                  <a:lnTo>
                    <a:pt x="1137" y="226"/>
                  </a:lnTo>
                  <a:lnTo>
                    <a:pt x="1131" y="226"/>
                  </a:lnTo>
                  <a:lnTo>
                    <a:pt x="1125" y="226"/>
                  </a:lnTo>
                  <a:lnTo>
                    <a:pt x="1119" y="225"/>
                  </a:lnTo>
                  <a:lnTo>
                    <a:pt x="1114" y="224"/>
                  </a:lnTo>
                  <a:lnTo>
                    <a:pt x="1109" y="222"/>
                  </a:lnTo>
                  <a:lnTo>
                    <a:pt x="1104" y="220"/>
                  </a:lnTo>
                  <a:lnTo>
                    <a:pt x="1100" y="218"/>
                  </a:lnTo>
                  <a:lnTo>
                    <a:pt x="1096" y="215"/>
                  </a:lnTo>
                  <a:lnTo>
                    <a:pt x="1092" y="211"/>
                  </a:lnTo>
                  <a:lnTo>
                    <a:pt x="1089" y="208"/>
                  </a:lnTo>
                  <a:lnTo>
                    <a:pt x="1087" y="203"/>
                  </a:lnTo>
                  <a:lnTo>
                    <a:pt x="1084" y="199"/>
                  </a:lnTo>
                  <a:lnTo>
                    <a:pt x="1083" y="194"/>
                  </a:lnTo>
                  <a:lnTo>
                    <a:pt x="1081" y="188"/>
                  </a:lnTo>
                  <a:lnTo>
                    <a:pt x="1080" y="183"/>
                  </a:lnTo>
                  <a:lnTo>
                    <a:pt x="1079" y="177"/>
                  </a:lnTo>
                  <a:lnTo>
                    <a:pt x="1079" y="170"/>
                  </a:lnTo>
                  <a:lnTo>
                    <a:pt x="1079" y="157"/>
                  </a:lnTo>
                  <a:lnTo>
                    <a:pt x="1112" y="157"/>
                  </a:lnTo>
                  <a:lnTo>
                    <a:pt x="1112" y="172"/>
                  </a:lnTo>
                  <a:lnTo>
                    <a:pt x="1112" y="178"/>
                  </a:lnTo>
                  <a:lnTo>
                    <a:pt x="1113" y="182"/>
                  </a:lnTo>
                  <a:lnTo>
                    <a:pt x="1115" y="186"/>
                  </a:lnTo>
                  <a:lnTo>
                    <a:pt x="1117" y="189"/>
                  </a:lnTo>
                  <a:lnTo>
                    <a:pt x="1120" y="191"/>
                  </a:lnTo>
                  <a:lnTo>
                    <a:pt x="1123" y="193"/>
                  </a:lnTo>
                  <a:lnTo>
                    <a:pt x="1126" y="194"/>
                  </a:lnTo>
                  <a:lnTo>
                    <a:pt x="1130" y="194"/>
                  </a:lnTo>
                  <a:lnTo>
                    <a:pt x="1134" y="194"/>
                  </a:lnTo>
                  <a:lnTo>
                    <a:pt x="1138" y="193"/>
                  </a:lnTo>
                  <a:lnTo>
                    <a:pt x="1141" y="191"/>
                  </a:lnTo>
                  <a:lnTo>
                    <a:pt x="1142" y="190"/>
                  </a:lnTo>
                  <a:lnTo>
                    <a:pt x="1143" y="189"/>
                  </a:lnTo>
                  <a:lnTo>
                    <a:pt x="1145" y="186"/>
                  </a:lnTo>
                  <a:lnTo>
                    <a:pt x="1147" y="182"/>
                  </a:lnTo>
                  <a:lnTo>
                    <a:pt x="1148" y="178"/>
                  </a:lnTo>
                  <a:lnTo>
                    <a:pt x="1148" y="172"/>
                  </a:lnTo>
                  <a:lnTo>
                    <a:pt x="1148" y="168"/>
                  </a:lnTo>
                  <a:lnTo>
                    <a:pt x="1147" y="164"/>
                  </a:lnTo>
                  <a:lnTo>
                    <a:pt x="1145" y="157"/>
                  </a:lnTo>
                  <a:lnTo>
                    <a:pt x="1142" y="150"/>
                  </a:lnTo>
                  <a:lnTo>
                    <a:pt x="1138" y="144"/>
                  </a:lnTo>
                  <a:lnTo>
                    <a:pt x="1132" y="138"/>
                  </a:lnTo>
                  <a:lnTo>
                    <a:pt x="1127" y="132"/>
                  </a:lnTo>
                  <a:lnTo>
                    <a:pt x="1114" y="120"/>
                  </a:lnTo>
                  <a:lnTo>
                    <a:pt x="1108" y="114"/>
                  </a:lnTo>
                  <a:lnTo>
                    <a:pt x="1102" y="108"/>
                  </a:lnTo>
                  <a:lnTo>
                    <a:pt x="1096" y="101"/>
                  </a:lnTo>
                  <a:lnTo>
                    <a:pt x="1091" y="94"/>
                  </a:lnTo>
                  <a:lnTo>
                    <a:pt x="1086" y="86"/>
                  </a:lnTo>
                  <a:lnTo>
                    <a:pt x="1085" y="81"/>
                  </a:lnTo>
                  <a:lnTo>
                    <a:pt x="1083" y="76"/>
                  </a:lnTo>
                  <a:lnTo>
                    <a:pt x="1082" y="72"/>
                  </a:lnTo>
                  <a:lnTo>
                    <a:pt x="1081" y="66"/>
                  </a:lnTo>
                  <a:lnTo>
                    <a:pt x="1080" y="61"/>
                  </a:lnTo>
                  <a:lnTo>
                    <a:pt x="1080" y="55"/>
                  </a:lnTo>
                  <a:lnTo>
                    <a:pt x="1080" y="49"/>
                  </a:lnTo>
                  <a:lnTo>
                    <a:pt x="1081" y="43"/>
                  </a:lnTo>
                  <a:lnTo>
                    <a:pt x="1082" y="37"/>
                  </a:lnTo>
                  <a:lnTo>
                    <a:pt x="1083" y="32"/>
                  </a:lnTo>
                  <a:lnTo>
                    <a:pt x="1085" y="27"/>
                  </a:lnTo>
                  <a:lnTo>
                    <a:pt x="1088" y="22"/>
                  </a:lnTo>
                  <a:lnTo>
                    <a:pt x="1090" y="18"/>
                  </a:lnTo>
                  <a:lnTo>
                    <a:pt x="1093" y="14"/>
                  </a:lnTo>
                  <a:lnTo>
                    <a:pt x="1097" y="11"/>
                  </a:lnTo>
                  <a:lnTo>
                    <a:pt x="1100" y="8"/>
                  </a:lnTo>
                  <a:lnTo>
                    <a:pt x="1105" y="5"/>
                  </a:lnTo>
                  <a:lnTo>
                    <a:pt x="1109" y="3"/>
                  </a:lnTo>
                  <a:lnTo>
                    <a:pt x="1114" y="2"/>
                  </a:lnTo>
                  <a:lnTo>
                    <a:pt x="1120" y="0"/>
                  </a:lnTo>
                  <a:lnTo>
                    <a:pt x="1125" y="0"/>
                  </a:lnTo>
                  <a:lnTo>
                    <a:pt x="1131" y="0"/>
                  </a:lnTo>
                  <a:close/>
                  <a:moveTo>
                    <a:pt x="1256" y="135"/>
                  </a:moveTo>
                  <a:lnTo>
                    <a:pt x="1245" y="155"/>
                  </a:lnTo>
                  <a:lnTo>
                    <a:pt x="1245" y="223"/>
                  </a:lnTo>
                  <a:lnTo>
                    <a:pt x="1211" y="223"/>
                  </a:lnTo>
                  <a:lnTo>
                    <a:pt x="1211" y="2"/>
                  </a:lnTo>
                  <a:lnTo>
                    <a:pt x="1245" y="2"/>
                  </a:lnTo>
                  <a:lnTo>
                    <a:pt x="1245" y="98"/>
                  </a:lnTo>
                  <a:lnTo>
                    <a:pt x="1291" y="2"/>
                  </a:lnTo>
                  <a:lnTo>
                    <a:pt x="1326" y="2"/>
                  </a:lnTo>
                  <a:lnTo>
                    <a:pt x="1277" y="101"/>
                  </a:lnTo>
                  <a:lnTo>
                    <a:pt x="1326" y="223"/>
                  </a:lnTo>
                  <a:lnTo>
                    <a:pt x="1290" y="223"/>
                  </a:lnTo>
                  <a:lnTo>
                    <a:pt x="1256" y="135"/>
                  </a:lnTo>
                  <a:close/>
                  <a:moveTo>
                    <a:pt x="1462" y="223"/>
                  </a:moveTo>
                  <a:lnTo>
                    <a:pt x="1427" y="223"/>
                  </a:lnTo>
                  <a:lnTo>
                    <a:pt x="1421" y="183"/>
                  </a:lnTo>
                  <a:lnTo>
                    <a:pt x="1378" y="183"/>
                  </a:lnTo>
                  <a:lnTo>
                    <a:pt x="1372" y="223"/>
                  </a:lnTo>
                  <a:lnTo>
                    <a:pt x="1340" y="223"/>
                  </a:lnTo>
                  <a:lnTo>
                    <a:pt x="1376" y="2"/>
                  </a:lnTo>
                  <a:lnTo>
                    <a:pt x="1426" y="2"/>
                  </a:lnTo>
                  <a:lnTo>
                    <a:pt x="1462" y="223"/>
                  </a:lnTo>
                  <a:close/>
                  <a:moveTo>
                    <a:pt x="1383" y="153"/>
                  </a:moveTo>
                  <a:lnTo>
                    <a:pt x="1416" y="153"/>
                  </a:lnTo>
                  <a:lnTo>
                    <a:pt x="1399" y="41"/>
                  </a:lnTo>
                  <a:lnTo>
                    <a:pt x="1383" y="153"/>
                  </a:lnTo>
                  <a:close/>
                  <a:moveTo>
                    <a:pt x="1519" y="2"/>
                  </a:moveTo>
                  <a:lnTo>
                    <a:pt x="1519" y="173"/>
                  </a:lnTo>
                  <a:lnTo>
                    <a:pt x="1519" y="178"/>
                  </a:lnTo>
                  <a:lnTo>
                    <a:pt x="1520" y="183"/>
                  </a:lnTo>
                  <a:lnTo>
                    <a:pt x="1522" y="186"/>
                  </a:lnTo>
                  <a:lnTo>
                    <a:pt x="1524" y="189"/>
                  </a:lnTo>
                  <a:lnTo>
                    <a:pt x="1526" y="192"/>
                  </a:lnTo>
                  <a:lnTo>
                    <a:pt x="1530" y="193"/>
                  </a:lnTo>
                  <a:lnTo>
                    <a:pt x="1533" y="194"/>
                  </a:lnTo>
                  <a:lnTo>
                    <a:pt x="1537" y="194"/>
                  </a:lnTo>
                  <a:lnTo>
                    <a:pt x="1541" y="194"/>
                  </a:lnTo>
                  <a:lnTo>
                    <a:pt x="1545" y="193"/>
                  </a:lnTo>
                  <a:lnTo>
                    <a:pt x="1548" y="192"/>
                  </a:lnTo>
                  <a:lnTo>
                    <a:pt x="1549" y="191"/>
                  </a:lnTo>
                  <a:lnTo>
                    <a:pt x="1550" y="189"/>
                  </a:lnTo>
                  <a:lnTo>
                    <a:pt x="1552" y="186"/>
                  </a:lnTo>
                  <a:lnTo>
                    <a:pt x="1554" y="183"/>
                  </a:lnTo>
                  <a:lnTo>
                    <a:pt x="1555" y="178"/>
                  </a:lnTo>
                  <a:lnTo>
                    <a:pt x="1555" y="173"/>
                  </a:lnTo>
                  <a:lnTo>
                    <a:pt x="1555" y="2"/>
                  </a:lnTo>
                  <a:lnTo>
                    <a:pt x="1588" y="2"/>
                  </a:lnTo>
                  <a:lnTo>
                    <a:pt x="1588" y="171"/>
                  </a:lnTo>
                  <a:lnTo>
                    <a:pt x="1588" y="177"/>
                  </a:lnTo>
                  <a:lnTo>
                    <a:pt x="1587" y="183"/>
                  </a:lnTo>
                  <a:lnTo>
                    <a:pt x="1586" y="189"/>
                  </a:lnTo>
                  <a:lnTo>
                    <a:pt x="1585" y="194"/>
                  </a:lnTo>
                  <a:lnTo>
                    <a:pt x="1583" y="199"/>
                  </a:lnTo>
                  <a:lnTo>
                    <a:pt x="1581" y="204"/>
                  </a:lnTo>
                  <a:lnTo>
                    <a:pt x="1578" y="208"/>
                  </a:lnTo>
                  <a:lnTo>
                    <a:pt x="1575" y="212"/>
                  </a:lnTo>
                  <a:lnTo>
                    <a:pt x="1571" y="215"/>
                  </a:lnTo>
                  <a:lnTo>
                    <a:pt x="1567" y="218"/>
                  </a:lnTo>
                  <a:lnTo>
                    <a:pt x="1563" y="220"/>
                  </a:lnTo>
                  <a:lnTo>
                    <a:pt x="1559" y="222"/>
                  </a:lnTo>
                  <a:lnTo>
                    <a:pt x="1554" y="224"/>
                  </a:lnTo>
                  <a:lnTo>
                    <a:pt x="1548" y="225"/>
                  </a:lnTo>
                  <a:lnTo>
                    <a:pt x="1542" y="226"/>
                  </a:lnTo>
                  <a:lnTo>
                    <a:pt x="1536" y="226"/>
                  </a:lnTo>
                  <a:lnTo>
                    <a:pt x="1530" y="226"/>
                  </a:lnTo>
                  <a:lnTo>
                    <a:pt x="1524" y="225"/>
                  </a:lnTo>
                  <a:lnTo>
                    <a:pt x="1519" y="224"/>
                  </a:lnTo>
                  <a:lnTo>
                    <a:pt x="1514" y="222"/>
                  </a:lnTo>
                  <a:lnTo>
                    <a:pt x="1509" y="220"/>
                  </a:lnTo>
                  <a:lnTo>
                    <a:pt x="1505" y="218"/>
                  </a:lnTo>
                  <a:lnTo>
                    <a:pt x="1501" y="215"/>
                  </a:lnTo>
                  <a:lnTo>
                    <a:pt x="1497" y="212"/>
                  </a:lnTo>
                  <a:lnTo>
                    <a:pt x="1494" y="208"/>
                  </a:lnTo>
                  <a:lnTo>
                    <a:pt x="1492" y="204"/>
                  </a:lnTo>
                  <a:lnTo>
                    <a:pt x="1489" y="199"/>
                  </a:lnTo>
                  <a:lnTo>
                    <a:pt x="1488" y="194"/>
                  </a:lnTo>
                  <a:lnTo>
                    <a:pt x="1486" y="189"/>
                  </a:lnTo>
                  <a:lnTo>
                    <a:pt x="1485" y="183"/>
                  </a:lnTo>
                  <a:lnTo>
                    <a:pt x="1484" y="177"/>
                  </a:lnTo>
                  <a:lnTo>
                    <a:pt x="1484" y="171"/>
                  </a:lnTo>
                  <a:lnTo>
                    <a:pt x="1484" y="2"/>
                  </a:lnTo>
                  <a:lnTo>
                    <a:pt x="1519" y="2"/>
                  </a:lnTo>
                  <a:close/>
                  <a:moveTo>
                    <a:pt x="1722" y="57"/>
                  </a:moveTo>
                  <a:lnTo>
                    <a:pt x="1722" y="85"/>
                  </a:lnTo>
                  <a:lnTo>
                    <a:pt x="1722" y="92"/>
                  </a:lnTo>
                  <a:lnTo>
                    <a:pt x="1722" y="98"/>
                  </a:lnTo>
                  <a:lnTo>
                    <a:pt x="1721" y="104"/>
                  </a:lnTo>
                  <a:lnTo>
                    <a:pt x="1719" y="109"/>
                  </a:lnTo>
                  <a:lnTo>
                    <a:pt x="1717" y="114"/>
                  </a:lnTo>
                  <a:lnTo>
                    <a:pt x="1715" y="118"/>
                  </a:lnTo>
                  <a:lnTo>
                    <a:pt x="1713" y="122"/>
                  </a:lnTo>
                  <a:lnTo>
                    <a:pt x="1710" y="126"/>
                  </a:lnTo>
                  <a:lnTo>
                    <a:pt x="1706" y="129"/>
                  </a:lnTo>
                  <a:lnTo>
                    <a:pt x="1702" y="132"/>
                  </a:lnTo>
                  <a:lnTo>
                    <a:pt x="1698" y="135"/>
                  </a:lnTo>
                  <a:lnTo>
                    <a:pt x="1693" y="137"/>
                  </a:lnTo>
                  <a:lnTo>
                    <a:pt x="1688" y="138"/>
                  </a:lnTo>
                  <a:lnTo>
                    <a:pt x="1683" y="139"/>
                  </a:lnTo>
                  <a:lnTo>
                    <a:pt x="1677" y="140"/>
                  </a:lnTo>
                  <a:lnTo>
                    <a:pt x="1671" y="140"/>
                  </a:lnTo>
                  <a:lnTo>
                    <a:pt x="1654" y="140"/>
                  </a:lnTo>
                  <a:lnTo>
                    <a:pt x="1654" y="223"/>
                  </a:lnTo>
                  <a:lnTo>
                    <a:pt x="1619" y="223"/>
                  </a:lnTo>
                  <a:lnTo>
                    <a:pt x="1619" y="2"/>
                  </a:lnTo>
                  <a:lnTo>
                    <a:pt x="1671" y="2"/>
                  </a:lnTo>
                  <a:lnTo>
                    <a:pt x="1677" y="2"/>
                  </a:lnTo>
                  <a:lnTo>
                    <a:pt x="1683" y="3"/>
                  </a:lnTo>
                  <a:lnTo>
                    <a:pt x="1688" y="4"/>
                  </a:lnTo>
                  <a:lnTo>
                    <a:pt x="1693" y="6"/>
                  </a:lnTo>
                  <a:lnTo>
                    <a:pt x="1698" y="8"/>
                  </a:lnTo>
                  <a:lnTo>
                    <a:pt x="1702" y="10"/>
                  </a:lnTo>
                  <a:lnTo>
                    <a:pt x="1706" y="13"/>
                  </a:lnTo>
                  <a:lnTo>
                    <a:pt x="1710" y="16"/>
                  </a:lnTo>
                  <a:lnTo>
                    <a:pt x="1713" y="20"/>
                  </a:lnTo>
                  <a:lnTo>
                    <a:pt x="1715" y="24"/>
                  </a:lnTo>
                  <a:lnTo>
                    <a:pt x="1717" y="28"/>
                  </a:lnTo>
                  <a:lnTo>
                    <a:pt x="1719" y="33"/>
                  </a:lnTo>
                  <a:lnTo>
                    <a:pt x="1722" y="44"/>
                  </a:lnTo>
                  <a:lnTo>
                    <a:pt x="1722" y="50"/>
                  </a:lnTo>
                  <a:lnTo>
                    <a:pt x="1722" y="57"/>
                  </a:lnTo>
                  <a:close/>
                  <a:moveTo>
                    <a:pt x="1654" y="34"/>
                  </a:moveTo>
                  <a:lnTo>
                    <a:pt x="1654" y="109"/>
                  </a:lnTo>
                  <a:lnTo>
                    <a:pt x="1671" y="109"/>
                  </a:lnTo>
                  <a:lnTo>
                    <a:pt x="1675" y="108"/>
                  </a:lnTo>
                  <a:lnTo>
                    <a:pt x="1678" y="108"/>
                  </a:lnTo>
                  <a:lnTo>
                    <a:pt x="1681" y="106"/>
                  </a:lnTo>
                  <a:lnTo>
                    <a:pt x="1683" y="104"/>
                  </a:lnTo>
                  <a:lnTo>
                    <a:pt x="1685" y="101"/>
                  </a:lnTo>
                  <a:lnTo>
                    <a:pt x="1687" y="98"/>
                  </a:lnTo>
                  <a:lnTo>
                    <a:pt x="1687" y="95"/>
                  </a:lnTo>
                  <a:lnTo>
                    <a:pt x="1687" y="93"/>
                  </a:lnTo>
                  <a:lnTo>
                    <a:pt x="1688" y="88"/>
                  </a:lnTo>
                  <a:lnTo>
                    <a:pt x="1688" y="55"/>
                  </a:lnTo>
                  <a:lnTo>
                    <a:pt x="1687" y="49"/>
                  </a:lnTo>
                  <a:lnTo>
                    <a:pt x="1687" y="45"/>
                  </a:lnTo>
                  <a:lnTo>
                    <a:pt x="1685" y="41"/>
                  </a:lnTo>
                  <a:lnTo>
                    <a:pt x="1683" y="38"/>
                  </a:lnTo>
                  <a:lnTo>
                    <a:pt x="1681" y="36"/>
                  </a:lnTo>
                  <a:lnTo>
                    <a:pt x="1678" y="35"/>
                  </a:lnTo>
                  <a:lnTo>
                    <a:pt x="1675" y="34"/>
                  </a:lnTo>
                  <a:lnTo>
                    <a:pt x="1671" y="34"/>
                  </a:lnTo>
                  <a:lnTo>
                    <a:pt x="1654" y="34"/>
                  </a:lnTo>
                  <a:close/>
                  <a:moveTo>
                    <a:pt x="1851" y="57"/>
                  </a:moveTo>
                  <a:lnTo>
                    <a:pt x="1851" y="85"/>
                  </a:lnTo>
                  <a:lnTo>
                    <a:pt x="1851" y="92"/>
                  </a:lnTo>
                  <a:lnTo>
                    <a:pt x="1850" y="98"/>
                  </a:lnTo>
                  <a:lnTo>
                    <a:pt x="1849" y="104"/>
                  </a:lnTo>
                  <a:lnTo>
                    <a:pt x="1848" y="109"/>
                  </a:lnTo>
                  <a:lnTo>
                    <a:pt x="1846" y="114"/>
                  </a:lnTo>
                  <a:lnTo>
                    <a:pt x="1844" y="118"/>
                  </a:lnTo>
                  <a:lnTo>
                    <a:pt x="1841" y="122"/>
                  </a:lnTo>
                  <a:lnTo>
                    <a:pt x="1838" y="126"/>
                  </a:lnTo>
                  <a:lnTo>
                    <a:pt x="1835" y="129"/>
                  </a:lnTo>
                  <a:lnTo>
                    <a:pt x="1831" y="132"/>
                  </a:lnTo>
                  <a:lnTo>
                    <a:pt x="1827" y="135"/>
                  </a:lnTo>
                  <a:lnTo>
                    <a:pt x="1822" y="137"/>
                  </a:lnTo>
                  <a:lnTo>
                    <a:pt x="1817" y="138"/>
                  </a:lnTo>
                  <a:lnTo>
                    <a:pt x="1811" y="139"/>
                  </a:lnTo>
                  <a:lnTo>
                    <a:pt x="1806" y="140"/>
                  </a:lnTo>
                  <a:lnTo>
                    <a:pt x="1799" y="140"/>
                  </a:lnTo>
                  <a:lnTo>
                    <a:pt x="1783" y="140"/>
                  </a:lnTo>
                  <a:lnTo>
                    <a:pt x="1783" y="223"/>
                  </a:lnTo>
                  <a:lnTo>
                    <a:pt x="1748" y="223"/>
                  </a:lnTo>
                  <a:lnTo>
                    <a:pt x="1748" y="2"/>
                  </a:lnTo>
                  <a:lnTo>
                    <a:pt x="1799" y="2"/>
                  </a:lnTo>
                  <a:lnTo>
                    <a:pt x="1806" y="2"/>
                  </a:lnTo>
                  <a:lnTo>
                    <a:pt x="1811" y="3"/>
                  </a:lnTo>
                  <a:lnTo>
                    <a:pt x="1817" y="4"/>
                  </a:lnTo>
                  <a:lnTo>
                    <a:pt x="1822" y="6"/>
                  </a:lnTo>
                  <a:lnTo>
                    <a:pt x="1827" y="8"/>
                  </a:lnTo>
                  <a:lnTo>
                    <a:pt x="1831" y="10"/>
                  </a:lnTo>
                  <a:lnTo>
                    <a:pt x="1835" y="13"/>
                  </a:lnTo>
                  <a:lnTo>
                    <a:pt x="1838" y="16"/>
                  </a:lnTo>
                  <a:lnTo>
                    <a:pt x="1841" y="20"/>
                  </a:lnTo>
                  <a:lnTo>
                    <a:pt x="1844" y="24"/>
                  </a:lnTo>
                  <a:lnTo>
                    <a:pt x="1846" y="28"/>
                  </a:lnTo>
                  <a:lnTo>
                    <a:pt x="1848" y="33"/>
                  </a:lnTo>
                  <a:lnTo>
                    <a:pt x="1850" y="44"/>
                  </a:lnTo>
                  <a:lnTo>
                    <a:pt x="1851" y="50"/>
                  </a:lnTo>
                  <a:lnTo>
                    <a:pt x="1851" y="57"/>
                  </a:lnTo>
                  <a:close/>
                  <a:moveTo>
                    <a:pt x="1783" y="34"/>
                  </a:moveTo>
                  <a:lnTo>
                    <a:pt x="1783" y="109"/>
                  </a:lnTo>
                  <a:lnTo>
                    <a:pt x="1799" y="109"/>
                  </a:lnTo>
                  <a:lnTo>
                    <a:pt x="1803" y="108"/>
                  </a:lnTo>
                  <a:lnTo>
                    <a:pt x="1807" y="108"/>
                  </a:lnTo>
                  <a:lnTo>
                    <a:pt x="1810" y="106"/>
                  </a:lnTo>
                  <a:lnTo>
                    <a:pt x="1812" y="104"/>
                  </a:lnTo>
                  <a:lnTo>
                    <a:pt x="1814" y="101"/>
                  </a:lnTo>
                  <a:lnTo>
                    <a:pt x="1815" y="98"/>
                  </a:lnTo>
                  <a:lnTo>
                    <a:pt x="1816" y="95"/>
                  </a:lnTo>
                  <a:lnTo>
                    <a:pt x="1816" y="93"/>
                  </a:lnTo>
                  <a:lnTo>
                    <a:pt x="1816" y="88"/>
                  </a:lnTo>
                  <a:lnTo>
                    <a:pt x="1816" y="55"/>
                  </a:lnTo>
                  <a:lnTo>
                    <a:pt x="1816" y="49"/>
                  </a:lnTo>
                  <a:lnTo>
                    <a:pt x="1815" y="45"/>
                  </a:lnTo>
                  <a:lnTo>
                    <a:pt x="1814" y="41"/>
                  </a:lnTo>
                  <a:lnTo>
                    <a:pt x="1812" y="38"/>
                  </a:lnTo>
                  <a:lnTo>
                    <a:pt x="1810" y="36"/>
                  </a:lnTo>
                  <a:lnTo>
                    <a:pt x="1807" y="35"/>
                  </a:lnTo>
                  <a:lnTo>
                    <a:pt x="1803" y="34"/>
                  </a:lnTo>
                  <a:lnTo>
                    <a:pt x="1799" y="34"/>
                  </a:lnTo>
                  <a:lnTo>
                    <a:pt x="1783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447336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5C9AFF-6A73-4CA7-8924-337719FF285B}" type="datetime1">
              <a:rPr lang="fi-FI" smtClean="0"/>
              <a:t>28.2.2018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6"/>
            <p:cNvSpPr>
              <a:spLocks noChangeAspect="1" noEditPoints="1"/>
            </p:cNvSpPr>
            <p:nvPr userDrawn="1"/>
          </p:nvSpPr>
          <p:spPr bwMode="auto">
            <a:xfrm>
              <a:off x="8908139" y="6472998"/>
              <a:ext cx="1865548" cy="212400"/>
            </a:xfrm>
            <a:custGeom>
              <a:avLst/>
              <a:gdLst>
                <a:gd name="T0" fmla="*/ 1899 w 1985"/>
                <a:gd name="T1" fmla="*/ 2 h 226"/>
                <a:gd name="T2" fmla="*/ 67 w 1985"/>
                <a:gd name="T3" fmla="*/ 143 h 226"/>
                <a:gd name="T4" fmla="*/ 59 w 1985"/>
                <a:gd name="T5" fmla="*/ 2 h 226"/>
                <a:gd name="T6" fmla="*/ 99 w 1985"/>
                <a:gd name="T7" fmla="*/ 26 h 226"/>
                <a:gd name="T8" fmla="*/ 95 w 1985"/>
                <a:gd name="T9" fmla="*/ 104 h 226"/>
                <a:gd name="T10" fmla="*/ 99 w 1985"/>
                <a:gd name="T11" fmla="*/ 133 h 226"/>
                <a:gd name="T12" fmla="*/ 106 w 1985"/>
                <a:gd name="T13" fmla="*/ 217 h 226"/>
                <a:gd name="T14" fmla="*/ 68 w 1985"/>
                <a:gd name="T15" fmla="*/ 89 h 226"/>
                <a:gd name="T16" fmla="*/ 52 w 1985"/>
                <a:gd name="T17" fmla="*/ 34 h 226"/>
                <a:gd name="T18" fmla="*/ 168 w 1985"/>
                <a:gd name="T19" fmla="*/ 153 h 226"/>
                <a:gd name="T20" fmla="*/ 316 w 1985"/>
                <a:gd name="T21" fmla="*/ 183 h 226"/>
                <a:gd name="T22" fmla="*/ 493 w 1985"/>
                <a:gd name="T23" fmla="*/ 223 h 226"/>
                <a:gd name="T24" fmla="*/ 668 w 1985"/>
                <a:gd name="T25" fmla="*/ 11 h 226"/>
                <a:gd name="T26" fmla="*/ 652 w 1985"/>
                <a:gd name="T27" fmla="*/ 62 h 226"/>
                <a:gd name="T28" fmla="*/ 631 w 1985"/>
                <a:gd name="T29" fmla="*/ 31 h 226"/>
                <a:gd name="T30" fmla="*/ 623 w 1985"/>
                <a:gd name="T31" fmla="*/ 75 h 226"/>
                <a:gd name="T32" fmla="*/ 682 w 1985"/>
                <a:gd name="T33" fmla="*/ 149 h 226"/>
                <a:gd name="T34" fmla="*/ 675 w 1985"/>
                <a:gd name="T35" fmla="*/ 208 h 226"/>
                <a:gd name="T36" fmla="*/ 621 w 1985"/>
                <a:gd name="T37" fmla="*/ 225 h 226"/>
                <a:gd name="T38" fmla="*/ 583 w 1985"/>
                <a:gd name="T39" fmla="*/ 188 h 226"/>
                <a:gd name="T40" fmla="*/ 622 w 1985"/>
                <a:gd name="T41" fmla="*/ 191 h 226"/>
                <a:gd name="T42" fmla="*/ 650 w 1985"/>
                <a:gd name="T43" fmla="*/ 178 h 226"/>
                <a:gd name="T44" fmla="*/ 604 w 1985"/>
                <a:gd name="T45" fmla="*/ 108 h 226"/>
                <a:gd name="T46" fmla="*/ 583 w 1985"/>
                <a:gd name="T47" fmla="*/ 43 h 226"/>
                <a:gd name="T48" fmla="*/ 616 w 1985"/>
                <a:gd name="T49" fmla="*/ 2 h 226"/>
                <a:gd name="T50" fmla="*/ 713 w 1985"/>
                <a:gd name="T51" fmla="*/ 223 h 226"/>
                <a:gd name="T52" fmla="*/ 950 w 1985"/>
                <a:gd name="T53" fmla="*/ 65 h 226"/>
                <a:gd name="T54" fmla="*/ 1051 w 1985"/>
                <a:gd name="T55" fmla="*/ 223 h 226"/>
                <a:gd name="T56" fmla="*/ 1170 w 1985"/>
                <a:gd name="T57" fmla="*/ 14 h 226"/>
                <a:gd name="T58" fmla="*/ 1150 w 1985"/>
                <a:gd name="T59" fmla="*/ 53 h 226"/>
                <a:gd name="T60" fmla="*/ 1125 w 1985"/>
                <a:gd name="T61" fmla="*/ 32 h 226"/>
                <a:gd name="T62" fmla="*/ 1126 w 1985"/>
                <a:gd name="T63" fmla="*/ 82 h 226"/>
                <a:gd name="T64" fmla="*/ 1181 w 1985"/>
                <a:gd name="T65" fmla="*/ 154 h 226"/>
                <a:gd name="T66" fmla="*/ 1170 w 1985"/>
                <a:gd name="T67" fmla="*/ 211 h 226"/>
                <a:gd name="T68" fmla="*/ 1114 w 1985"/>
                <a:gd name="T69" fmla="*/ 224 h 226"/>
                <a:gd name="T70" fmla="*/ 1080 w 1985"/>
                <a:gd name="T71" fmla="*/ 183 h 226"/>
                <a:gd name="T72" fmla="*/ 1123 w 1985"/>
                <a:gd name="T73" fmla="*/ 193 h 226"/>
                <a:gd name="T74" fmla="*/ 1148 w 1985"/>
                <a:gd name="T75" fmla="*/ 172 h 226"/>
                <a:gd name="T76" fmla="*/ 1096 w 1985"/>
                <a:gd name="T77" fmla="*/ 101 h 226"/>
                <a:gd name="T78" fmla="*/ 1082 w 1985"/>
                <a:gd name="T79" fmla="*/ 37 h 226"/>
                <a:gd name="T80" fmla="*/ 1120 w 1985"/>
                <a:gd name="T81" fmla="*/ 0 h 226"/>
                <a:gd name="T82" fmla="*/ 1326 w 1985"/>
                <a:gd name="T83" fmla="*/ 2 h 226"/>
                <a:gd name="T84" fmla="*/ 1376 w 1985"/>
                <a:gd name="T85" fmla="*/ 2 h 226"/>
                <a:gd name="T86" fmla="*/ 1522 w 1985"/>
                <a:gd name="T87" fmla="*/ 186 h 226"/>
                <a:gd name="T88" fmla="*/ 1552 w 1985"/>
                <a:gd name="T89" fmla="*/ 186 h 226"/>
                <a:gd name="T90" fmla="*/ 1583 w 1985"/>
                <a:gd name="T91" fmla="*/ 199 h 226"/>
                <a:gd name="T92" fmla="*/ 1536 w 1985"/>
                <a:gd name="T93" fmla="*/ 226 h 226"/>
                <a:gd name="T94" fmla="*/ 1489 w 1985"/>
                <a:gd name="T95" fmla="*/ 199 h 226"/>
                <a:gd name="T96" fmla="*/ 1722 w 1985"/>
                <a:gd name="T97" fmla="*/ 98 h 226"/>
                <a:gd name="T98" fmla="*/ 1688 w 1985"/>
                <a:gd name="T99" fmla="*/ 138 h 226"/>
                <a:gd name="T100" fmla="*/ 1688 w 1985"/>
                <a:gd name="T101" fmla="*/ 4 h 226"/>
                <a:gd name="T102" fmla="*/ 1722 w 1985"/>
                <a:gd name="T103" fmla="*/ 50 h 226"/>
                <a:gd name="T104" fmla="*/ 1687 w 1985"/>
                <a:gd name="T105" fmla="*/ 95 h 226"/>
                <a:gd name="T106" fmla="*/ 1671 w 1985"/>
                <a:gd name="T107" fmla="*/ 34 h 226"/>
                <a:gd name="T108" fmla="*/ 1838 w 1985"/>
                <a:gd name="T109" fmla="*/ 126 h 226"/>
                <a:gd name="T110" fmla="*/ 1748 w 1985"/>
                <a:gd name="T111" fmla="*/ 223 h 226"/>
                <a:gd name="T112" fmla="*/ 1841 w 1985"/>
                <a:gd name="T113" fmla="*/ 20 h 226"/>
                <a:gd name="T114" fmla="*/ 1807 w 1985"/>
                <a:gd name="T115" fmla="*/ 108 h 226"/>
                <a:gd name="T116" fmla="*/ 1814 w 1985"/>
                <a:gd name="T117" fmla="*/ 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5" h="226">
                  <a:moveTo>
                    <a:pt x="1906" y="153"/>
                  </a:moveTo>
                  <a:lnTo>
                    <a:pt x="1939" y="153"/>
                  </a:lnTo>
                  <a:lnTo>
                    <a:pt x="1922" y="41"/>
                  </a:lnTo>
                  <a:lnTo>
                    <a:pt x="1906" y="153"/>
                  </a:lnTo>
                  <a:close/>
                  <a:moveTo>
                    <a:pt x="1985" y="223"/>
                  </a:moveTo>
                  <a:lnTo>
                    <a:pt x="1950" y="223"/>
                  </a:lnTo>
                  <a:lnTo>
                    <a:pt x="1944" y="183"/>
                  </a:lnTo>
                  <a:lnTo>
                    <a:pt x="1901" y="183"/>
                  </a:lnTo>
                  <a:lnTo>
                    <a:pt x="1895" y="223"/>
                  </a:lnTo>
                  <a:lnTo>
                    <a:pt x="1863" y="223"/>
                  </a:lnTo>
                  <a:lnTo>
                    <a:pt x="1899" y="2"/>
                  </a:lnTo>
                  <a:lnTo>
                    <a:pt x="1950" y="2"/>
                  </a:lnTo>
                  <a:lnTo>
                    <a:pt x="1985" y="223"/>
                  </a:lnTo>
                  <a:close/>
                  <a:moveTo>
                    <a:pt x="73" y="223"/>
                  </a:moveTo>
                  <a:lnTo>
                    <a:pt x="72" y="219"/>
                  </a:lnTo>
                  <a:lnTo>
                    <a:pt x="71" y="214"/>
                  </a:lnTo>
                  <a:lnTo>
                    <a:pt x="70" y="207"/>
                  </a:lnTo>
                  <a:lnTo>
                    <a:pt x="70" y="196"/>
                  </a:lnTo>
                  <a:lnTo>
                    <a:pt x="70" y="161"/>
                  </a:lnTo>
                  <a:lnTo>
                    <a:pt x="69" y="154"/>
                  </a:lnTo>
                  <a:lnTo>
                    <a:pt x="68" y="148"/>
                  </a:lnTo>
                  <a:lnTo>
                    <a:pt x="67" y="143"/>
                  </a:lnTo>
                  <a:lnTo>
                    <a:pt x="64" y="140"/>
                  </a:lnTo>
                  <a:lnTo>
                    <a:pt x="61" y="137"/>
                  </a:lnTo>
                  <a:lnTo>
                    <a:pt x="57" y="135"/>
                  </a:lnTo>
                  <a:lnTo>
                    <a:pt x="52" y="134"/>
                  </a:lnTo>
                  <a:lnTo>
                    <a:pt x="47" y="133"/>
                  </a:lnTo>
                  <a:lnTo>
                    <a:pt x="35" y="133"/>
                  </a:lnTo>
                  <a:lnTo>
                    <a:pt x="35" y="223"/>
                  </a:lnTo>
                  <a:lnTo>
                    <a:pt x="0" y="223"/>
                  </a:lnTo>
                  <a:lnTo>
                    <a:pt x="0" y="2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65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6" y="5"/>
                  </a:lnTo>
                  <a:lnTo>
                    <a:pt x="80" y="7"/>
                  </a:lnTo>
                  <a:lnTo>
                    <a:pt x="85" y="9"/>
                  </a:lnTo>
                  <a:lnTo>
                    <a:pt x="88" y="12"/>
                  </a:lnTo>
                  <a:lnTo>
                    <a:pt x="92" y="15"/>
                  </a:lnTo>
                  <a:lnTo>
                    <a:pt x="95" y="18"/>
                  </a:lnTo>
                  <a:lnTo>
                    <a:pt x="97" y="22"/>
                  </a:lnTo>
                  <a:lnTo>
                    <a:pt x="99" y="26"/>
                  </a:lnTo>
                  <a:lnTo>
                    <a:pt x="101" y="31"/>
                  </a:lnTo>
                  <a:lnTo>
                    <a:pt x="102" y="36"/>
                  </a:lnTo>
                  <a:lnTo>
                    <a:pt x="103" y="41"/>
                  </a:lnTo>
                  <a:lnTo>
                    <a:pt x="104" y="47"/>
                  </a:lnTo>
                  <a:lnTo>
                    <a:pt x="104" y="53"/>
                  </a:lnTo>
                  <a:lnTo>
                    <a:pt x="104" y="70"/>
                  </a:lnTo>
                  <a:lnTo>
                    <a:pt x="104" y="78"/>
                  </a:lnTo>
                  <a:lnTo>
                    <a:pt x="103" y="86"/>
                  </a:lnTo>
                  <a:lnTo>
                    <a:pt x="101" y="93"/>
                  </a:lnTo>
                  <a:lnTo>
                    <a:pt x="99" y="99"/>
                  </a:lnTo>
                  <a:lnTo>
                    <a:pt x="95" y="104"/>
                  </a:lnTo>
                  <a:lnTo>
                    <a:pt x="93" y="106"/>
                  </a:lnTo>
                  <a:lnTo>
                    <a:pt x="91" y="108"/>
                  </a:lnTo>
                  <a:lnTo>
                    <a:pt x="89" y="110"/>
                  </a:lnTo>
                  <a:lnTo>
                    <a:pt x="87" y="112"/>
                  </a:lnTo>
                  <a:lnTo>
                    <a:pt x="84" y="114"/>
                  </a:lnTo>
                  <a:lnTo>
                    <a:pt x="81" y="115"/>
                  </a:lnTo>
                  <a:lnTo>
                    <a:pt x="87" y="118"/>
                  </a:lnTo>
                  <a:lnTo>
                    <a:pt x="92" y="122"/>
                  </a:lnTo>
                  <a:lnTo>
                    <a:pt x="96" y="127"/>
                  </a:lnTo>
                  <a:lnTo>
                    <a:pt x="98" y="130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2" y="139"/>
                  </a:lnTo>
                  <a:lnTo>
                    <a:pt x="103" y="143"/>
                  </a:lnTo>
                  <a:lnTo>
                    <a:pt x="103" y="146"/>
                  </a:lnTo>
                  <a:lnTo>
                    <a:pt x="104" y="154"/>
                  </a:lnTo>
                  <a:lnTo>
                    <a:pt x="104" y="162"/>
                  </a:lnTo>
                  <a:lnTo>
                    <a:pt x="104" y="196"/>
                  </a:lnTo>
                  <a:lnTo>
                    <a:pt x="105" y="204"/>
                  </a:lnTo>
                  <a:lnTo>
                    <a:pt x="105" y="211"/>
                  </a:lnTo>
                  <a:lnTo>
                    <a:pt x="105" y="214"/>
                  </a:lnTo>
                  <a:lnTo>
                    <a:pt x="106" y="217"/>
                  </a:lnTo>
                  <a:lnTo>
                    <a:pt x="108" y="223"/>
                  </a:lnTo>
                  <a:lnTo>
                    <a:pt x="73" y="223"/>
                  </a:lnTo>
                  <a:close/>
                  <a:moveTo>
                    <a:pt x="35" y="34"/>
                  </a:moveTo>
                  <a:lnTo>
                    <a:pt x="35" y="102"/>
                  </a:lnTo>
                  <a:lnTo>
                    <a:pt x="48" y="102"/>
                  </a:lnTo>
                  <a:lnTo>
                    <a:pt x="53" y="101"/>
                  </a:lnTo>
                  <a:lnTo>
                    <a:pt x="57" y="100"/>
                  </a:lnTo>
                  <a:lnTo>
                    <a:pt x="61" y="99"/>
                  </a:lnTo>
                  <a:lnTo>
                    <a:pt x="64" y="97"/>
                  </a:lnTo>
                  <a:lnTo>
                    <a:pt x="66" y="93"/>
                  </a:lnTo>
                  <a:lnTo>
                    <a:pt x="68" y="89"/>
                  </a:lnTo>
                  <a:lnTo>
                    <a:pt x="69" y="84"/>
                  </a:lnTo>
                  <a:lnTo>
                    <a:pt x="69" y="78"/>
                  </a:lnTo>
                  <a:lnTo>
                    <a:pt x="69" y="56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5" y="39"/>
                  </a:lnTo>
                  <a:lnTo>
                    <a:pt x="63" y="37"/>
                  </a:lnTo>
                  <a:lnTo>
                    <a:pt x="60" y="35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35" y="34"/>
                  </a:lnTo>
                  <a:close/>
                  <a:moveTo>
                    <a:pt x="248" y="223"/>
                  </a:moveTo>
                  <a:lnTo>
                    <a:pt x="212" y="223"/>
                  </a:lnTo>
                  <a:lnTo>
                    <a:pt x="206" y="183"/>
                  </a:lnTo>
                  <a:lnTo>
                    <a:pt x="164" y="183"/>
                  </a:lnTo>
                  <a:lnTo>
                    <a:pt x="158" y="223"/>
                  </a:lnTo>
                  <a:lnTo>
                    <a:pt x="126" y="223"/>
                  </a:lnTo>
                  <a:lnTo>
                    <a:pt x="161" y="2"/>
                  </a:lnTo>
                  <a:lnTo>
                    <a:pt x="212" y="2"/>
                  </a:lnTo>
                  <a:lnTo>
                    <a:pt x="248" y="223"/>
                  </a:lnTo>
                  <a:close/>
                  <a:moveTo>
                    <a:pt x="168" y="153"/>
                  </a:moveTo>
                  <a:lnTo>
                    <a:pt x="202" y="153"/>
                  </a:lnTo>
                  <a:lnTo>
                    <a:pt x="185" y="41"/>
                  </a:lnTo>
                  <a:lnTo>
                    <a:pt x="168" y="153"/>
                  </a:lnTo>
                  <a:close/>
                  <a:moveTo>
                    <a:pt x="316" y="183"/>
                  </a:moveTo>
                  <a:lnTo>
                    <a:pt x="343" y="2"/>
                  </a:lnTo>
                  <a:lnTo>
                    <a:pt x="375" y="2"/>
                  </a:lnTo>
                  <a:lnTo>
                    <a:pt x="340" y="223"/>
                  </a:lnTo>
                  <a:lnTo>
                    <a:pt x="289" y="223"/>
                  </a:lnTo>
                  <a:lnTo>
                    <a:pt x="254" y="2"/>
                  </a:lnTo>
                  <a:lnTo>
                    <a:pt x="290" y="2"/>
                  </a:lnTo>
                  <a:lnTo>
                    <a:pt x="316" y="183"/>
                  </a:lnTo>
                  <a:close/>
                  <a:moveTo>
                    <a:pt x="398" y="2"/>
                  </a:moveTo>
                  <a:lnTo>
                    <a:pt x="433" y="2"/>
                  </a:lnTo>
                  <a:lnTo>
                    <a:pt x="433" y="223"/>
                  </a:lnTo>
                  <a:lnTo>
                    <a:pt x="398" y="223"/>
                  </a:lnTo>
                  <a:lnTo>
                    <a:pt x="398" y="2"/>
                  </a:lnTo>
                  <a:close/>
                  <a:moveTo>
                    <a:pt x="456" y="2"/>
                  </a:moveTo>
                  <a:lnTo>
                    <a:pt x="564" y="2"/>
                  </a:lnTo>
                  <a:lnTo>
                    <a:pt x="564" y="34"/>
                  </a:lnTo>
                  <a:lnTo>
                    <a:pt x="527" y="34"/>
                  </a:lnTo>
                  <a:lnTo>
                    <a:pt x="527" y="223"/>
                  </a:lnTo>
                  <a:lnTo>
                    <a:pt x="493" y="223"/>
                  </a:lnTo>
                  <a:lnTo>
                    <a:pt x="493" y="34"/>
                  </a:lnTo>
                  <a:lnTo>
                    <a:pt x="456" y="34"/>
                  </a:lnTo>
                  <a:lnTo>
                    <a:pt x="456" y="2"/>
                  </a:lnTo>
                  <a:close/>
                  <a:moveTo>
                    <a:pt x="634" y="0"/>
                  </a:moveTo>
                  <a:lnTo>
                    <a:pt x="640" y="0"/>
                  </a:lnTo>
                  <a:lnTo>
                    <a:pt x="645" y="0"/>
                  </a:lnTo>
                  <a:lnTo>
                    <a:pt x="651" y="2"/>
                  </a:lnTo>
                  <a:lnTo>
                    <a:pt x="656" y="3"/>
                  </a:lnTo>
                  <a:lnTo>
                    <a:pt x="660" y="5"/>
                  </a:lnTo>
                  <a:lnTo>
                    <a:pt x="665" y="8"/>
                  </a:lnTo>
                  <a:lnTo>
                    <a:pt x="668" y="11"/>
                  </a:lnTo>
                  <a:lnTo>
                    <a:pt x="672" y="14"/>
                  </a:lnTo>
                  <a:lnTo>
                    <a:pt x="675" y="18"/>
                  </a:lnTo>
                  <a:lnTo>
                    <a:pt x="677" y="22"/>
                  </a:lnTo>
                  <a:lnTo>
                    <a:pt x="680" y="27"/>
                  </a:lnTo>
                  <a:lnTo>
                    <a:pt x="681" y="32"/>
                  </a:lnTo>
                  <a:lnTo>
                    <a:pt x="683" y="37"/>
                  </a:lnTo>
                  <a:lnTo>
                    <a:pt x="684" y="43"/>
                  </a:lnTo>
                  <a:lnTo>
                    <a:pt x="685" y="49"/>
                  </a:lnTo>
                  <a:lnTo>
                    <a:pt x="685" y="55"/>
                  </a:lnTo>
                  <a:lnTo>
                    <a:pt x="685" y="62"/>
                  </a:lnTo>
                  <a:lnTo>
                    <a:pt x="652" y="62"/>
                  </a:lnTo>
                  <a:lnTo>
                    <a:pt x="652" y="53"/>
                  </a:lnTo>
                  <a:lnTo>
                    <a:pt x="652" y="47"/>
                  </a:lnTo>
                  <a:lnTo>
                    <a:pt x="651" y="43"/>
                  </a:lnTo>
                  <a:lnTo>
                    <a:pt x="650" y="41"/>
                  </a:lnTo>
                  <a:lnTo>
                    <a:pt x="649" y="39"/>
                  </a:lnTo>
                  <a:lnTo>
                    <a:pt x="647" y="36"/>
                  </a:lnTo>
                  <a:lnTo>
                    <a:pt x="645" y="34"/>
                  </a:lnTo>
                  <a:lnTo>
                    <a:pt x="642" y="32"/>
                  </a:lnTo>
                  <a:lnTo>
                    <a:pt x="638" y="31"/>
                  </a:lnTo>
                  <a:lnTo>
                    <a:pt x="634" y="31"/>
                  </a:lnTo>
                  <a:lnTo>
                    <a:pt x="631" y="31"/>
                  </a:lnTo>
                  <a:lnTo>
                    <a:pt x="627" y="32"/>
                  </a:lnTo>
                  <a:lnTo>
                    <a:pt x="624" y="34"/>
                  </a:lnTo>
                  <a:lnTo>
                    <a:pt x="622" y="36"/>
                  </a:lnTo>
                  <a:lnTo>
                    <a:pt x="620" y="39"/>
                  </a:lnTo>
                  <a:lnTo>
                    <a:pt x="618" y="43"/>
                  </a:lnTo>
                  <a:lnTo>
                    <a:pt x="617" y="47"/>
                  </a:lnTo>
                  <a:lnTo>
                    <a:pt x="617" y="53"/>
                  </a:lnTo>
                  <a:lnTo>
                    <a:pt x="617" y="57"/>
                  </a:lnTo>
                  <a:lnTo>
                    <a:pt x="618" y="61"/>
                  </a:lnTo>
                  <a:lnTo>
                    <a:pt x="620" y="68"/>
                  </a:lnTo>
                  <a:lnTo>
                    <a:pt x="623" y="75"/>
                  </a:lnTo>
                  <a:lnTo>
                    <a:pt x="628" y="82"/>
                  </a:lnTo>
                  <a:lnTo>
                    <a:pt x="633" y="88"/>
                  </a:lnTo>
                  <a:lnTo>
                    <a:pt x="639" y="93"/>
                  </a:lnTo>
                  <a:lnTo>
                    <a:pt x="651" y="105"/>
                  </a:lnTo>
                  <a:lnTo>
                    <a:pt x="657" y="111"/>
                  </a:lnTo>
                  <a:lnTo>
                    <a:pt x="664" y="117"/>
                  </a:lnTo>
                  <a:lnTo>
                    <a:pt x="669" y="124"/>
                  </a:lnTo>
                  <a:lnTo>
                    <a:pt x="674" y="132"/>
                  </a:lnTo>
                  <a:lnTo>
                    <a:pt x="679" y="140"/>
                  </a:lnTo>
                  <a:lnTo>
                    <a:pt x="681" y="144"/>
                  </a:lnTo>
                  <a:lnTo>
                    <a:pt x="682" y="149"/>
                  </a:lnTo>
                  <a:lnTo>
                    <a:pt x="683" y="154"/>
                  </a:lnTo>
                  <a:lnTo>
                    <a:pt x="684" y="159"/>
                  </a:lnTo>
                  <a:lnTo>
                    <a:pt x="685" y="164"/>
                  </a:lnTo>
                  <a:lnTo>
                    <a:pt x="685" y="170"/>
                  </a:lnTo>
                  <a:lnTo>
                    <a:pt x="685" y="177"/>
                  </a:lnTo>
                  <a:lnTo>
                    <a:pt x="684" y="183"/>
                  </a:lnTo>
                  <a:lnTo>
                    <a:pt x="683" y="188"/>
                  </a:lnTo>
                  <a:lnTo>
                    <a:pt x="682" y="194"/>
                  </a:lnTo>
                  <a:lnTo>
                    <a:pt x="680" y="199"/>
                  </a:lnTo>
                  <a:lnTo>
                    <a:pt x="678" y="203"/>
                  </a:lnTo>
                  <a:lnTo>
                    <a:pt x="675" y="208"/>
                  </a:lnTo>
                  <a:lnTo>
                    <a:pt x="672" y="211"/>
                  </a:lnTo>
                  <a:lnTo>
                    <a:pt x="668" y="215"/>
                  </a:lnTo>
                  <a:lnTo>
                    <a:pt x="665" y="218"/>
                  </a:lnTo>
                  <a:lnTo>
                    <a:pt x="660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5" y="225"/>
                  </a:lnTo>
                  <a:lnTo>
                    <a:pt x="639" y="226"/>
                  </a:lnTo>
                  <a:lnTo>
                    <a:pt x="633" y="226"/>
                  </a:lnTo>
                  <a:lnTo>
                    <a:pt x="627" y="226"/>
                  </a:lnTo>
                  <a:lnTo>
                    <a:pt x="621" y="225"/>
                  </a:lnTo>
                  <a:lnTo>
                    <a:pt x="616" y="224"/>
                  </a:lnTo>
                  <a:lnTo>
                    <a:pt x="611" y="222"/>
                  </a:lnTo>
                  <a:lnTo>
                    <a:pt x="606" y="220"/>
                  </a:lnTo>
                  <a:lnTo>
                    <a:pt x="602" y="218"/>
                  </a:lnTo>
                  <a:lnTo>
                    <a:pt x="598" y="215"/>
                  </a:lnTo>
                  <a:lnTo>
                    <a:pt x="594" y="211"/>
                  </a:lnTo>
                  <a:lnTo>
                    <a:pt x="591" y="208"/>
                  </a:lnTo>
                  <a:lnTo>
                    <a:pt x="589" y="203"/>
                  </a:lnTo>
                  <a:lnTo>
                    <a:pt x="587" y="199"/>
                  </a:lnTo>
                  <a:lnTo>
                    <a:pt x="585" y="194"/>
                  </a:lnTo>
                  <a:lnTo>
                    <a:pt x="583" y="188"/>
                  </a:lnTo>
                  <a:lnTo>
                    <a:pt x="582" y="183"/>
                  </a:lnTo>
                  <a:lnTo>
                    <a:pt x="582" y="177"/>
                  </a:lnTo>
                  <a:lnTo>
                    <a:pt x="581" y="170"/>
                  </a:lnTo>
                  <a:lnTo>
                    <a:pt x="581" y="157"/>
                  </a:lnTo>
                  <a:lnTo>
                    <a:pt x="614" y="157"/>
                  </a:lnTo>
                  <a:lnTo>
                    <a:pt x="614" y="172"/>
                  </a:lnTo>
                  <a:lnTo>
                    <a:pt x="615" y="178"/>
                  </a:lnTo>
                  <a:lnTo>
                    <a:pt x="616" y="182"/>
                  </a:lnTo>
                  <a:lnTo>
                    <a:pt x="617" y="186"/>
                  </a:lnTo>
                  <a:lnTo>
                    <a:pt x="619" y="189"/>
                  </a:lnTo>
                  <a:lnTo>
                    <a:pt x="622" y="191"/>
                  </a:lnTo>
                  <a:lnTo>
                    <a:pt x="625" y="193"/>
                  </a:lnTo>
                  <a:lnTo>
                    <a:pt x="628" y="194"/>
                  </a:lnTo>
                  <a:lnTo>
                    <a:pt x="632" y="194"/>
                  </a:lnTo>
                  <a:lnTo>
                    <a:pt x="636" y="194"/>
                  </a:lnTo>
                  <a:lnTo>
                    <a:pt x="640" y="193"/>
                  </a:lnTo>
                  <a:lnTo>
                    <a:pt x="643" y="191"/>
                  </a:lnTo>
                  <a:lnTo>
                    <a:pt x="644" y="190"/>
                  </a:lnTo>
                  <a:lnTo>
                    <a:pt x="645" y="189"/>
                  </a:lnTo>
                  <a:lnTo>
                    <a:pt x="647" y="186"/>
                  </a:lnTo>
                  <a:lnTo>
                    <a:pt x="649" y="182"/>
                  </a:lnTo>
                  <a:lnTo>
                    <a:pt x="650" y="178"/>
                  </a:lnTo>
                  <a:lnTo>
                    <a:pt x="650" y="172"/>
                  </a:lnTo>
                  <a:lnTo>
                    <a:pt x="650" y="168"/>
                  </a:lnTo>
                  <a:lnTo>
                    <a:pt x="649" y="164"/>
                  </a:lnTo>
                  <a:lnTo>
                    <a:pt x="647" y="157"/>
                  </a:lnTo>
                  <a:lnTo>
                    <a:pt x="644" y="150"/>
                  </a:lnTo>
                  <a:lnTo>
                    <a:pt x="640" y="144"/>
                  </a:lnTo>
                  <a:lnTo>
                    <a:pt x="635" y="138"/>
                  </a:lnTo>
                  <a:lnTo>
                    <a:pt x="629" y="132"/>
                  </a:lnTo>
                  <a:lnTo>
                    <a:pt x="616" y="120"/>
                  </a:lnTo>
                  <a:lnTo>
                    <a:pt x="610" y="114"/>
                  </a:lnTo>
                  <a:lnTo>
                    <a:pt x="604" y="108"/>
                  </a:lnTo>
                  <a:lnTo>
                    <a:pt x="598" y="101"/>
                  </a:lnTo>
                  <a:lnTo>
                    <a:pt x="593" y="94"/>
                  </a:lnTo>
                  <a:lnTo>
                    <a:pt x="589" y="86"/>
                  </a:lnTo>
                  <a:lnTo>
                    <a:pt x="587" y="81"/>
                  </a:lnTo>
                  <a:lnTo>
                    <a:pt x="585" y="76"/>
                  </a:lnTo>
                  <a:lnTo>
                    <a:pt x="584" y="72"/>
                  </a:lnTo>
                  <a:lnTo>
                    <a:pt x="583" y="66"/>
                  </a:lnTo>
                  <a:lnTo>
                    <a:pt x="583" y="61"/>
                  </a:lnTo>
                  <a:lnTo>
                    <a:pt x="582" y="55"/>
                  </a:lnTo>
                  <a:lnTo>
                    <a:pt x="583" y="49"/>
                  </a:lnTo>
                  <a:lnTo>
                    <a:pt x="583" y="43"/>
                  </a:lnTo>
                  <a:lnTo>
                    <a:pt x="584" y="37"/>
                  </a:lnTo>
                  <a:lnTo>
                    <a:pt x="586" y="32"/>
                  </a:lnTo>
                  <a:lnTo>
                    <a:pt x="587" y="27"/>
                  </a:lnTo>
                  <a:lnTo>
                    <a:pt x="590" y="22"/>
                  </a:lnTo>
                  <a:lnTo>
                    <a:pt x="592" y="18"/>
                  </a:lnTo>
                  <a:lnTo>
                    <a:pt x="595" y="14"/>
                  </a:lnTo>
                  <a:lnTo>
                    <a:pt x="599" y="11"/>
                  </a:lnTo>
                  <a:lnTo>
                    <a:pt x="602" y="8"/>
                  </a:lnTo>
                  <a:lnTo>
                    <a:pt x="607" y="5"/>
                  </a:lnTo>
                  <a:lnTo>
                    <a:pt x="611" y="3"/>
                  </a:lnTo>
                  <a:lnTo>
                    <a:pt x="616" y="2"/>
                  </a:lnTo>
                  <a:lnTo>
                    <a:pt x="622" y="0"/>
                  </a:lnTo>
                  <a:lnTo>
                    <a:pt x="627" y="0"/>
                  </a:lnTo>
                  <a:lnTo>
                    <a:pt x="634" y="0"/>
                  </a:lnTo>
                  <a:close/>
                  <a:moveTo>
                    <a:pt x="748" y="95"/>
                  </a:moveTo>
                  <a:lnTo>
                    <a:pt x="795" y="95"/>
                  </a:lnTo>
                  <a:lnTo>
                    <a:pt x="795" y="127"/>
                  </a:lnTo>
                  <a:lnTo>
                    <a:pt x="748" y="127"/>
                  </a:lnTo>
                  <a:lnTo>
                    <a:pt x="748" y="192"/>
                  </a:lnTo>
                  <a:lnTo>
                    <a:pt x="808" y="192"/>
                  </a:lnTo>
                  <a:lnTo>
                    <a:pt x="808" y="223"/>
                  </a:lnTo>
                  <a:lnTo>
                    <a:pt x="713" y="223"/>
                  </a:lnTo>
                  <a:lnTo>
                    <a:pt x="713" y="2"/>
                  </a:lnTo>
                  <a:lnTo>
                    <a:pt x="808" y="2"/>
                  </a:lnTo>
                  <a:lnTo>
                    <a:pt x="808" y="34"/>
                  </a:lnTo>
                  <a:lnTo>
                    <a:pt x="748" y="34"/>
                  </a:lnTo>
                  <a:lnTo>
                    <a:pt x="748" y="95"/>
                  </a:lnTo>
                  <a:close/>
                  <a:moveTo>
                    <a:pt x="911" y="159"/>
                  </a:moveTo>
                  <a:lnTo>
                    <a:pt x="934" y="2"/>
                  </a:lnTo>
                  <a:lnTo>
                    <a:pt x="983" y="2"/>
                  </a:lnTo>
                  <a:lnTo>
                    <a:pt x="983" y="223"/>
                  </a:lnTo>
                  <a:lnTo>
                    <a:pt x="950" y="223"/>
                  </a:lnTo>
                  <a:lnTo>
                    <a:pt x="950" y="65"/>
                  </a:lnTo>
                  <a:lnTo>
                    <a:pt x="926" y="223"/>
                  </a:lnTo>
                  <a:lnTo>
                    <a:pt x="893" y="223"/>
                  </a:lnTo>
                  <a:lnTo>
                    <a:pt x="867" y="67"/>
                  </a:lnTo>
                  <a:lnTo>
                    <a:pt x="867" y="223"/>
                  </a:lnTo>
                  <a:lnTo>
                    <a:pt x="837" y="223"/>
                  </a:lnTo>
                  <a:lnTo>
                    <a:pt x="837" y="2"/>
                  </a:lnTo>
                  <a:lnTo>
                    <a:pt x="885" y="2"/>
                  </a:lnTo>
                  <a:lnTo>
                    <a:pt x="911" y="159"/>
                  </a:lnTo>
                  <a:close/>
                  <a:moveTo>
                    <a:pt x="1017" y="2"/>
                  </a:moveTo>
                  <a:lnTo>
                    <a:pt x="1051" y="2"/>
                  </a:lnTo>
                  <a:lnTo>
                    <a:pt x="1051" y="223"/>
                  </a:lnTo>
                  <a:lnTo>
                    <a:pt x="1017" y="223"/>
                  </a:lnTo>
                  <a:lnTo>
                    <a:pt x="1017" y="2"/>
                  </a:lnTo>
                  <a:close/>
                  <a:moveTo>
                    <a:pt x="1131" y="0"/>
                  </a:moveTo>
                  <a:lnTo>
                    <a:pt x="1138" y="0"/>
                  </a:lnTo>
                  <a:lnTo>
                    <a:pt x="1143" y="0"/>
                  </a:lnTo>
                  <a:lnTo>
                    <a:pt x="1149" y="2"/>
                  </a:lnTo>
                  <a:lnTo>
                    <a:pt x="1154" y="3"/>
                  </a:lnTo>
                  <a:lnTo>
                    <a:pt x="1158" y="5"/>
                  </a:lnTo>
                  <a:lnTo>
                    <a:pt x="1162" y="8"/>
                  </a:lnTo>
                  <a:lnTo>
                    <a:pt x="1166" y="11"/>
                  </a:lnTo>
                  <a:lnTo>
                    <a:pt x="1170" y="14"/>
                  </a:lnTo>
                  <a:lnTo>
                    <a:pt x="1173" y="18"/>
                  </a:lnTo>
                  <a:lnTo>
                    <a:pt x="1175" y="22"/>
                  </a:lnTo>
                  <a:lnTo>
                    <a:pt x="1178" y="27"/>
                  </a:lnTo>
                  <a:lnTo>
                    <a:pt x="1179" y="32"/>
                  </a:lnTo>
                  <a:lnTo>
                    <a:pt x="1181" y="37"/>
                  </a:lnTo>
                  <a:lnTo>
                    <a:pt x="1182" y="43"/>
                  </a:lnTo>
                  <a:lnTo>
                    <a:pt x="1182" y="49"/>
                  </a:lnTo>
                  <a:lnTo>
                    <a:pt x="1183" y="55"/>
                  </a:lnTo>
                  <a:lnTo>
                    <a:pt x="1183" y="62"/>
                  </a:lnTo>
                  <a:lnTo>
                    <a:pt x="1150" y="62"/>
                  </a:lnTo>
                  <a:lnTo>
                    <a:pt x="1150" y="53"/>
                  </a:lnTo>
                  <a:lnTo>
                    <a:pt x="1149" y="47"/>
                  </a:lnTo>
                  <a:lnTo>
                    <a:pt x="1149" y="43"/>
                  </a:lnTo>
                  <a:lnTo>
                    <a:pt x="1148" y="41"/>
                  </a:lnTo>
                  <a:lnTo>
                    <a:pt x="1147" y="39"/>
                  </a:lnTo>
                  <a:lnTo>
                    <a:pt x="1145" y="36"/>
                  </a:lnTo>
                  <a:lnTo>
                    <a:pt x="1143" y="34"/>
                  </a:lnTo>
                  <a:lnTo>
                    <a:pt x="1140" y="32"/>
                  </a:lnTo>
                  <a:lnTo>
                    <a:pt x="1136" y="31"/>
                  </a:lnTo>
                  <a:lnTo>
                    <a:pt x="1132" y="31"/>
                  </a:lnTo>
                  <a:lnTo>
                    <a:pt x="1128" y="31"/>
                  </a:lnTo>
                  <a:lnTo>
                    <a:pt x="1125" y="32"/>
                  </a:lnTo>
                  <a:lnTo>
                    <a:pt x="1122" y="34"/>
                  </a:lnTo>
                  <a:lnTo>
                    <a:pt x="1120" y="36"/>
                  </a:lnTo>
                  <a:lnTo>
                    <a:pt x="1118" y="39"/>
                  </a:lnTo>
                  <a:lnTo>
                    <a:pt x="1116" y="43"/>
                  </a:lnTo>
                  <a:lnTo>
                    <a:pt x="1115" y="47"/>
                  </a:lnTo>
                  <a:lnTo>
                    <a:pt x="1115" y="53"/>
                  </a:lnTo>
                  <a:lnTo>
                    <a:pt x="1115" y="57"/>
                  </a:lnTo>
                  <a:lnTo>
                    <a:pt x="1116" y="61"/>
                  </a:lnTo>
                  <a:lnTo>
                    <a:pt x="1118" y="68"/>
                  </a:lnTo>
                  <a:lnTo>
                    <a:pt x="1121" y="75"/>
                  </a:lnTo>
                  <a:lnTo>
                    <a:pt x="1126" y="82"/>
                  </a:lnTo>
                  <a:lnTo>
                    <a:pt x="1131" y="88"/>
                  </a:lnTo>
                  <a:lnTo>
                    <a:pt x="1136" y="93"/>
                  </a:lnTo>
                  <a:lnTo>
                    <a:pt x="1149" y="105"/>
                  </a:lnTo>
                  <a:lnTo>
                    <a:pt x="1155" y="111"/>
                  </a:lnTo>
                  <a:lnTo>
                    <a:pt x="1161" y="117"/>
                  </a:lnTo>
                  <a:lnTo>
                    <a:pt x="1167" y="124"/>
                  </a:lnTo>
                  <a:lnTo>
                    <a:pt x="1172" y="132"/>
                  </a:lnTo>
                  <a:lnTo>
                    <a:pt x="1177" y="140"/>
                  </a:lnTo>
                  <a:lnTo>
                    <a:pt x="1178" y="144"/>
                  </a:lnTo>
                  <a:lnTo>
                    <a:pt x="1180" y="149"/>
                  </a:lnTo>
                  <a:lnTo>
                    <a:pt x="1181" y="154"/>
                  </a:lnTo>
                  <a:lnTo>
                    <a:pt x="1182" y="159"/>
                  </a:lnTo>
                  <a:lnTo>
                    <a:pt x="1183" y="164"/>
                  </a:lnTo>
                  <a:lnTo>
                    <a:pt x="1183" y="170"/>
                  </a:lnTo>
                  <a:lnTo>
                    <a:pt x="1183" y="177"/>
                  </a:lnTo>
                  <a:lnTo>
                    <a:pt x="1182" y="183"/>
                  </a:lnTo>
                  <a:lnTo>
                    <a:pt x="1181" y="188"/>
                  </a:lnTo>
                  <a:lnTo>
                    <a:pt x="1180" y="194"/>
                  </a:lnTo>
                  <a:lnTo>
                    <a:pt x="1178" y="199"/>
                  </a:lnTo>
                  <a:lnTo>
                    <a:pt x="1176" y="203"/>
                  </a:lnTo>
                  <a:lnTo>
                    <a:pt x="1173" y="208"/>
                  </a:lnTo>
                  <a:lnTo>
                    <a:pt x="1170" y="211"/>
                  </a:lnTo>
                  <a:lnTo>
                    <a:pt x="1166" y="215"/>
                  </a:lnTo>
                  <a:lnTo>
                    <a:pt x="1162" y="218"/>
                  </a:lnTo>
                  <a:lnTo>
                    <a:pt x="1158" y="220"/>
                  </a:lnTo>
                  <a:lnTo>
                    <a:pt x="1154" y="222"/>
                  </a:lnTo>
                  <a:lnTo>
                    <a:pt x="1149" y="224"/>
                  </a:lnTo>
                  <a:lnTo>
                    <a:pt x="1143" y="225"/>
                  </a:lnTo>
                  <a:lnTo>
                    <a:pt x="1137" y="226"/>
                  </a:lnTo>
                  <a:lnTo>
                    <a:pt x="1131" y="226"/>
                  </a:lnTo>
                  <a:lnTo>
                    <a:pt x="1125" y="226"/>
                  </a:lnTo>
                  <a:lnTo>
                    <a:pt x="1119" y="225"/>
                  </a:lnTo>
                  <a:lnTo>
                    <a:pt x="1114" y="224"/>
                  </a:lnTo>
                  <a:lnTo>
                    <a:pt x="1109" y="222"/>
                  </a:lnTo>
                  <a:lnTo>
                    <a:pt x="1104" y="220"/>
                  </a:lnTo>
                  <a:lnTo>
                    <a:pt x="1100" y="218"/>
                  </a:lnTo>
                  <a:lnTo>
                    <a:pt x="1096" y="215"/>
                  </a:lnTo>
                  <a:lnTo>
                    <a:pt x="1092" y="211"/>
                  </a:lnTo>
                  <a:lnTo>
                    <a:pt x="1089" y="208"/>
                  </a:lnTo>
                  <a:lnTo>
                    <a:pt x="1087" y="203"/>
                  </a:lnTo>
                  <a:lnTo>
                    <a:pt x="1084" y="199"/>
                  </a:lnTo>
                  <a:lnTo>
                    <a:pt x="1083" y="194"/>
                  </a:lnTo>
                  <a:lnTo>
                    <a:pt x="1081" y="188"/>
                  </a:lnTo>
                  <a:lnTo>
                    <a:pt x="1080" y="183"/>
                  </a:lnTo>
                  <a:lnTo>
                    <a:pt x="1079" y="177"/>
                  </a:lnTo>
                  <a:lnTo>
                    <a:pt x="1079" y="170"/>
                  </a:lnTo>
                  <a:lnTo>
                    <a:pt x="1079" y="157"/>
                  </a:lnTo>
                  <a:lnTo>
                    <a:pt x="1112" y="157"/>
                  </a:lnTo>
                  <a:lnTo>
                    <a:pt x="1112" y="172"/>
                  </a:lnTo>
                  <a:lnTo>
                    <a:pt x="1112" y="178"/>
                  </a:lnTo>
                  <a:lnTo>
                    <a:pt x="1113" y="182"/>
                  </a:lnTo>
                  <a:lnTo>
                    <a:pt x="1115" y="186"/>
                  </a:lnTo>
                  <a:lnTo>
                    <a:pt x="1117" y="189"/>
                  </a:lnTo>
                  <a:lnTo>
                    <a:pt x="1120" y="191"/>
                  </a:lnTo>
                  <a:lnTo>
                    <a:pt x="1123" y="193"/>
                  </a:lnTo>
                  <a:lnTo>
                    <a:pt x="1126" y="194"/>
                  </a:lnTo>
                  <a:lnTo>
                    <a:pt x="1130" y="194"/>
                  </a:lnTo>
                  <a:lnTo>
                    <a:pt x="1134" y="194"/>
                  </a:lnTo>
                  <a:lnTo>
                    <a:pt x="1138" y="193"/>
                  </a:lnTo>
                  <a:lnTo>
                    <a:pt x="1141" y="191"/>
                  </a:lnTo>
                  <a:lnTo>
                    <a:pt x="1142" y="190"/>
                  </a:lnTo>
                  <a:lnTo>
                    <a:pt x="1143" y="189"/>
                  </a:lnTo>
                  <a:lnTo>
                    <a:pt x="1145" y="186"/>
                  </a:lnTo>
                  <a:lnTo>
                    <a:pt x="1147" y="182"/>
                  </a:lnTo>
                  <a:lnTo>
                    <a:pt x="1148" y="178"/>
                  </a:lnTo>
                  <a:lnTo>
                    <a:pt x="1148" y="172"/>
                  </a:lnTo>
                  <a:lnTo>
                    <a:pt x="1148" y="168"/>
                  </a:lnTo>
                  <a:lnTo>
                    <a:pt x="1147" y="164"/>
                  </a:lnTo>
                  <a:lnTo>
                    <a:pt x="1145" y="157"/>
                  </a:lnTo>
                  <a:lnTo>
                    <a:pt x="1142" y="150"/>
                  </a:lnTo>
                  <a:lnTo>
                    <a:pt x="1138" y="144"/>
                  </a:lnTo>
                  <a:lnTo>
                    <a:pt x="1132" y="138"/>
                  </a:lnTo>
                  <a:lnTo>
                    <a:pt x="1127" y="132"/>
                  </a:lnTo>
                  <a:lnTo>
                    <a:pt x="1114" y="120"/>
                  </a:lnTo>
                  <a:lnTo>
                    <a:pt x="1108" y="114"/>
                  </a:lnTo>
                  <a:lnTo>
                    <a:pt x="1102" y="108"/>
                  </a:lnTo>
                  <a:lnTo>
                    <a:pt x="1096" y="101"/>
                  </a:lnTo>
                  <a:lnTo>
                    <a:pt x="1091" y="94"/>
                  </a:lnTo>
                  <a:lnTo>
                    <a:pt x="1086" y="86"/>
                  </a:lnTo>
                  <a:lnTo>
                    <a:pt x="1085" y="81"/>
                  </a:lnTo>
                  <a:lnTo>
                    <a:pt x="1083" y="76"/>
                  </a:lnTo>
                  <a:lnTo>
                    <a:pt x="1082" y="72"/>
                  </a:lnTo>
                  <a:lnTo>
                    <a:pt x="1081" y="66"/>
                  </a:lnTo>
                  <a:lnTo>
                    <a:pt x="1080" y="61"/>
                  </a:lnTo>
                  <a:lnTo>
                    <a:pt x="1080" y="55"/>
                  </a:lnTo>
                  <a:lnTo>
                    <a:pt x="1080" y="49"/>
                  </a:lnTo>
                  <a:lnTo>
                    <a:pt x="1081" y="43"/>
                  </a:lnTo>
                  <a:lnTo>
                    <a:pt x="1082" y="37"/>
                  </a:lnTo>
                  <a:lnTo>
                    <a:pt x="1083" y="32"/>
                  </a:lnTo>
                  <a:lnTo>
                    <a:pt x="1085" y="27"/>
                  </a:lnTo>
                  <a:lnTo>
                    <a:pt x="1088" y="22"/>
                  </a:lnTo>
                  <a:lnTo>
                    <a:pt x="1090" y="18"/>
                  </a:lnTo>
                  <a:lnTo>
                    <a:pt x="1093" y="14"/>
                  </a:lnTo>
                  <a:lnTo>
                    <a:pt x="1097" y="11"/>
                  </a:lnTo>
                  <a:lnTo>
                    <a:pt x="1100" y="8"/>
                  </a:lnTo>
                  <a:lnTo>
                    <a:pt x="1105" y="5"/>
                  </a:lnTo>
                  <a:lnTo>
                    <a:pt x="1109" y="3"/>
                  </a:lnTo>
                  <a:lnTo>
                    <a:pt x="1114" y="2"/>
                  </a:lnTo>
                  <a:lnTo>
                    <a:pt x="1120" y="0"/>
                  </a:lnTo>
                  <a:lnTo>
                    <a:pt x="1125" y="0"/>
                  </a:lnTo>
                  <a:lnTo>
                    <a:pt x="1131" y="0"/>
                  </a:lnTo>
                  <a:close/>
                  <a:moveTo>
                    <a:pt x="1256" y="135"/>
                  </a:moveTo>
                  <a:lnTo>
                    <a:pt x="1245" y="155"/>
                  </a:lnTo>
                  <a:lnTo>
                    <a:pt x="1245" y="223"/>
                  </a:lnTo>
                  <a:lnTo>
                    <a:pt x="1211" y="223"/>
                  </a:lnTo>
                  <a:lnTo>
                    <a:pt x="1211" y="2"/>
                  </a:lnTo>
                  <a:lnTo>
                    <a:pt x="1245" y="2"/>
                  </a:lnTo>
                  <a:lnTo>
                    <a:pt x="1245" y="98"/>
                  </a:lnTo>
                  <a:lnTo>
                    <a:pt x="1291" y="2"/>
                  </a:lnTo>
                  <a:lnTo>
                    <a:pt x="1326" y="2"/>
                  </a:lnTo>
                  <a:lnTo>
                    <a:pt x="1277" y="101"/>
                  </a:lnTo>
                  <a:lnTo>
                    <a:pt x="1326" y="223"/>
                  </a:lnTo>
                  <a:lnTo>
                    <a:pt x="1290" y="223"/>
                  </a:lnTo>
                  <a:lnTo>
                    <a:pt x="1256" y="135"/>
                  </a:lnTo>
                  <a:close/>
                  <a:moveTo>
                    <a:pt x="1462" y="223"/>
                  </a:moveTo>
                  <a:lnTo>
                    <a:pt x="1427" y="223"/>
                  </a:lnTo>
                  <a:lnTo>
                    <a:pt x="1421" y="183"/>
                  </a:lnTo>
                  <a:lnTo>
                    <a:pt x="1378" y="183"/>
                  </a:lnTo>
                  <a:lnTo>
                    <a:pt x="1372" y="223"/>
                  </a:lnTo>
                  <a:lnTo>
                    <a:pt x="1340" y="223"/>
                  </a:lnTo>
                  <a:lnTo>
                    <a:pt x="1376" y="2"/>
                  </a:lnTo>
                  <a:lnTo>
                    <a:pt x="1426" y="2"/>
                  </a:lnTo>
                  <a:lnTo>
                    <a:pt x="1462" y="223"/>
                  </a:lnTo>
                  <a:close/>
                  <a:moveTo>
                    <a:pt x="1383" y="153"/>
                  </a:moveTo>
                  <a:lnTo>
                    <a:pt x="1416" y="153"/>
                  </a:lnTo>
                  <a:lnTo>
                    <a:pt x="1399" y="41"/>
                  </a:lnTo>
                  <a:lnTo>
                    <a:pt x="1383" y="153"/>
                  </a:lnTo>
                  <a:close/>
                  <a:moveTo>
                    <a:pt x="1519" y="2"/>
                  </a:moveTo>
                  <a:lnTo>
                    <a:pt x="1519" y="173"/>
                  </a:lnTo>
                  <a:lnTo>
                    <a:pt x="1519" y="178"/>
                  </a:lnTo>
                  <a:lnTo>
                    <a:pt x="1520" y="183"/>
                  </a:lnTo>
                  <a:lnTo>
                    <a:pt x="1522" y="186"/>
                  </a:lnTo>
                  <a:lnTo>
                    <a:pt x="1524" y="189"/>
                  </a:lnTo>
                  <a:lnTo>
                    <a:pt x="1526" y="192"/>
                  </a:lnTo>
                  <a:lnTo>
                    <a:pt x="1530" y="193"/>
                  </a:lnTo>
                  <a:lnTo>
                    <a:pt x="1533" y="194"/>
                  </a:lnTo>
                  <a:lnTo>
                    <a:pt x="1537" y="194"/>
                  </a:lnTo>
                  <a:lnTo>
                    <a:pt x="1541" y="194"/>
                  </a:lnTo>
                  <a:lnTo>
                    <a:pt x="1545" y="193"/>
                  </a:lnTo>
                  <a:lnTo>
                    <a:pt x="1548" y="192"/>
                  </a:lnTo>
                  <a:lnTo>
                    <a:pt x="1549" y="191"/>
                  </a:lnTo>
                  <a:lnTo>
                    <a:pt x="1550" y="189"/>
                  </a:lnTo>
                  <a:lnTo>
                    <a:pt x="1552" y="186"/>
                  </a:lnTo>
                  <a:lnTo>
                    <a:pt x="1554" y="183"/>
                  </a:lnTo>
                  <a:lnTo>
                    <a:pt x="1555" y="178"/>
                  </a:lnTo>
                  <a:lnTo>
                    <a:pt x="1555" y="173"/>
                  </a:lnTo>
                  <a:lnTo>
                    <a:pt x="1555" y="2"/>
                  </a:lnTo>
                  <a:lnTo>
                    <a:pt x="1588" y="2"/>
                  </a:lnTo>
                  <a:lnTo>
                    <a:pt x="1588" y="171"/>
                  </a:lnTo>
                  <a:lnTo>
                    <a:pt x="1588" y="177"/>
                  </a:lnTo>
                  <a:lnTo>
                    <a:pt x="1587" y="183"/>
                  </a:lnTo>
                  <a:lnTo>
                    <a:pt x="1586" y="189"/>
                  </a:lnTo>
                  <a:lnTo>
                    <a:pt x="1585" y="194"/>
                  </a:lnTo>
                  <a:lnTo>
                    <a:pt x="1583" y="199"/>
                  </a:lnTo>
                  <a:lnTo>
                    <a:pt x="1581" y="204"/>
                  </a:lnTo>
                  <a:lnTo>
                    <a:pt x="1578" y="208"/>
                  </a:lnTo>
                  <a:lnTo>
                    <a:pt x="1575" y="212"/>
                  </a:lnTo>
                  <a:lnTo>
                    <a:pt x="1571" y="215"/>
                  </a:lnTo>
                  <a:lnTo>
                    <a:pt x="1567" y="218"/>
                  </a:lnTo>
                  <a:lnTo>
                    <a:pt x="1563" y="220"/>
                  </a:lnTo>
                  <a:lnTo>
                    <a:pt x="1559" y="222"/>
                  </a:lnTo>
                  <a:lnTo>
                    <a:pt x="1554" y="224"/>
                  </a:lnTo>
                  <a:lnTo>
                    <a:pt x="1548" y="225"/>
                  </a:lnTo>
                  <a:lnTo>
                    <a:pt x="1542" y="226"/>
                  </a:lnTo>
                  <a:lnTo>
                    <a:pt x="1536" y="226"/>
                  </a:lnTo>
                  <a:lnTo>
                    <a:pt x="1530" y="226"/>
                  </a:lnTo>
                  <a:lnTo>
                    <a:pt x="1524" y="225"/>
                  </a:lnTo>
                  <a:lnTo>
                    <a:pt x="1519" y="224"/>
                  </a:lnTo>
                  <a:lnTo>
                    <a:pt x="1514" y="222"/>
                  </a:lnTo>
                  <a:lnTo>
                    <a:pt x="1509" y="220"/>
                  </a:lnTo>
                  <a:lnTo>
                    <a:pt x="1505" y="218"/>
                  </a:lnTo>
                  <a:lnTo>
                    <a:pt x="1501" y="215"/>
                  </a:lnTo>
                  <a:lnTo>
                    <a:pt x="1497" y="212"/>
                  </a:lnTo>
                  <a:lnTo>
                    <a:pt x="1494" y="208"/>
                  </a:lnTo>
                  <a:lnTo>
                    <a:pt x="1492" y="204"/>
                  </a:lnTo>
                  <a:lnTo>
                    <a:pt x="1489" y="199"/>
                  </a:lnTo>
                  <a:lnTo>
                    <a:pt x="1488" y="194"/>
                  </a:lnTo>
                  <a:lnTo>
                    <a:pt x="1486" y="189"/>
                  </a:lnTo>
                  <a:lnTo>
                    <a:pt x="1485" y="183"/>
                  </a:lnTo>
                  <a:lnTo>
                    <a:pt x="1484" y="177"/>
                  </a:lnTo>
                  <a:lnTo>
                    <a:pt x="1484" y="171"/>
                  </a:lnTo>
                  <a:lnTo>
                    <a:pt x="1484" y="2"/>
                  </a:lnTo>
                  <a:lnTo>
                    <a:pt x="1519" y="2"/>
                  </a:lnTo>
                  <a:close/>
                  <a:moveTo>
                    <a:pt x="1722" y="57"/>
                  </a:moveTo>
                  <a:lnTo>
                    <a:pt x="1722" y="85"/>
                  </a:lnTo>
                  <a:lnTo>
                    <a:pt x="1722" y="92"/>
                  </a:lnTo>
                  <a:lnTo>
                    <a:pt x="1722" y="98"/>
                  </a:lnTo>
                  <a:lnTo>
                    <a:pt x="1721" y="104"/>
                  </a:lnTo>
                  <a:lnTo>
                    <a:pt x="1719" y="109"/>
                  </a:lnTo>
                  <a:lnTo>
                    <a:pt x="1717" y="114"/>
                  </a:lnTo>
                  <a:lnTo>
                    <a:pt x="1715" y="118"/>
                  </a:lnTo>
                  <a:lnTo>
                    <a:pt x="1713" y="122"/>
                  </a:lnTo>
                  <a:lnTo>
                    <a:pt x="1710" y="126"/>
                  </a:lnTo>
                  <a:lnTo>
                    <a:pt x="1706" y="129"/>
                  </a:lnTo>
                  <a:lnTo>
                    <a:pt x="1702" y="132"/>
                  </a:lnTo>
                  <a:lnTo>
                    <a:pt x="1698" y="135"/>
                  </a:lnTo>
                  <a:lnTo>
                    <a:pt x="1693" y="137"/>
                  </a:lnTo>
                  <a:lnTo>
                    <a:pt x="1688" y="138"/>
                  </a:lnTo>
                  <a:lnTo>
                    <a:pt x="1683" y="139"/>
                  </a:lnTo>
                  <a:lnTo>
                    <a:pt x="1677" y="140"/>
                  </a:lnTo>
                  <a:lnTo>
                    <a:pt x="1671" y="140"/>
                  </a:lnTo>
                  <a:lnTo>
                    <a:pt x="1654" y="140"/>
                  </a:lnTo>
                  <a:lnTo>
                    <a:pt x="1654" y="223"/>
                  </a:lnTo>
                  <a:lnTo>
                    <a:pt x="1619" y="223"/>
                  </a:lnTo>
                  <a:lnTo>
                    <a:pt x="1619" y="2"/>
                  </a:lnTo>
                  <a:lnTo>
                    <a:pt x="1671" y="2"/>
                  </a:lnTo>
                  <a:lnTo>
                    <a:pt x="1677" y="2"/>
                  </a:lnTo>
                  <a:lnTo>
                    <a:pt x="1683" y="3"/>
                  </a:lnTo>
                  <a:lnTo>
                    <a:pt x="1688" y="4"/>
                  </a:lnTo>
                  <a:lnTo>
                    <a:pt x="1693" y="6"/>
                  </a:lnTo>
                  <a:lnTo>
                    <a:pt x="1698" y="8"/>
                  </a:lnTo>
                  <a:lnTo>
                    <a:pt x="1702" y="10"/>
                  </a:lnTo>
                  <a:lnTo>
                    <a:pt x="1706" y="13"/>
                  </a:lnTo>
                  <a:lnTo>
                    <a:pt x="1710" y="16"/>
                  </a:lnTo>
                  <a:lnTo>
                    <a:pt x="1713" y="20"/>
                  </a:lnTo>
                  <a:lnTo>
                    <a:pt x="1715" y="24"/>
                  </a:lnTo>
                  <a:lnTo>
                    <a:pt x="1717" y="28"/>
                  </a:lnTo>
                  <a:lnTo>
                    <a:pt x="1719" y="33"/>
                  </a:lnTo>
                  <a:lnTo>
                    <a:pt x="1722" y="44"/>
                  </a:lnTo>
                  <a:lnTo>
                    <a:pt x="1722" y="50"/>
                  </a:lnTo>
                  <a:lnTo>
                    <a:pt x="1722" y="57"/>
                  </a:lnTo>
                  <a:close/>
                  <a:moveTo>
                    <a:pt x="1654" y="34"/>
                  </a:moveTo>
                  <a:lnTo>
                    <a:pt x="1654" y="109"/>
                  </a:lnTo>
                  <a:lnTo>
                    <a:pt x="1671" y="109"/>
                  </a:lnTo>
                  <a:lnTo>
                    <a:pt x="1675" y="108"/>
                  </a:lnTo>
                  <a:lnTo>
                    <a:pt x="1678" y="108"/>
                  </a:lnTo>
                  <a:lnTo>
                    <a:pt x="1681" y="106"/>
                  </a:lnTo>
                  <a:lnTo>
                    <a:pt x="1683" y="104"/>
                  </a:lnTo>
                  <a:lnTo>
                    <a:pt x="1685" y="101"/>
                  </a:lnTo>
                  <a:lnTo>
                    <a:pt x="1687" y="98"/>
                  </a:lnTo>
                  <a:lnTo>
                    <a:pt x="1687" y="95"/>
                  </a:lnTo>
                  <a:lnTo>
                    <a:pt x="1687" y="93"/>
                  </a:lnTo>
                  <a:lnTo>
                    <a:pt x="1688" y="88"/>
                  </a:lnTo>
                  <a:lnTo>
                    <a:pt x="1688" y="55"/>
                  </a:lnTo>
                  <a:lnTo>
                    <a:pt x="1687" y="49"/>
                  </a:lnTo>
                  <a:lnTo>
                    <a:pt x="1687" y="45"/>
                  </a:lnTo>
                  <a:lnTo>
                    <a:pt x="1685" y="41"/>
                  </a:lnTo>
                  <a:lnTo>
                    <a:pt x="1683" y="38"/>
                  </a:lnTo>
                  <a:lnTo>
                    <a:pt x="1681" y="36"/>
                  </a:lnTo>
                  <a:lnTo>
                    <a:pt x="1678" y="35"/>
                  </a:lnTo>
                  <a:lnTo>
                    <a:pt x="1675" y="34"/>
                  </a:lnTo>
                  <a:lnTo>
                    <a:pt x="1671" y="34"/>
                  </a:lnTo>
                  <a:lnTo>
                    <a:pt x="1654" y="34"/>
                  </a:lnTo>
                  <a:close/>
                  <a:moveTo>
                    <a:pt x="1851" y="57"/>
                  </a:moveTo>
                  <a:lnTo>
                    <a:pt x="1851" y="85"/>
                  </a:lnTo>
                  <a:lnTo>
                    <a:pt x="1851" y="92"/>
                  </a:lnTo>
                  <a:lnTo>
                    <a:pt x="1850" y="98"/>
                  </a:lnTo>
                  <a:lnTo>
                    <a:pt x="1849" y="104"/>
                  </a:lnTo>
                  <a:lnTo>
                    <a:pt x="1848" y="109"/>
                  </a:lnTo>
                  <a:lnTo>
                    <a:pt x="1846" y="114"/>
                  </a:lnTo>
                  <a:lnTo>
                    <a:pt x="1844" y="118"/>
                  </a:lnTo>
                  <a:lnTo>
                    <a:pt x="1841" y="122"/>
                  </a:lnTo>
                  <a:lnTo>
                    <a:pt x="1838" y="126"/>
                  </a:lnTo>
                  <a:lnTo>
                    <a:pt x="1835" y="129"/>
                  </a:lnTo>
                  <a:lnTo>
                    <a:pt x="1831" y="132"/>
                  </a:lnTo>
                  <a:lnTo>
                    <a:pt x="1827" y="135"/>
                  </a:lnTo>
                  <a:lnTo>
                    <a:pt x="1822" y="137"/>
                  </a:lnTo>
                  <a:lnTo>
                    <a:pt x="1817" y="138"/>
                  </a:lnTo>
                  <a:lnTo>
                    <a:pt x="1811" y="139"/>
                  </a:lnTo>
                  <a:lnTo>
                    <a:pt x="1806" y="140"/>
                  </a:lnTo>
                  <a:lnTo>
                    <a:pt x="1799" y="140"/>
                  </a:lnTo>
                  <a:lnTo>
                    <a:pt x="1783" y="140"/>
                  </a:lnTo>
                  <a:lnTo>
                    <a:pt x="1783" y="223"/>
                  </a:lnTo>
                  <a:lnTo>
                    <a:pt x="1748" y="223"/>
                  </a:lnTo>
                  <a:lnTo>
                    <a:pt x="1748" y="2"/>
                  </a:lnTo>
                  <a:lnTo>
                    <a:pt x="1799" y="2"/>
                  </a:lnTo>
                  <a:lnTo>
                    <a:pt x="1806" y="2"/>
                  </a:lnTo>
                  <a:lnTo>
                    <a:pt x="1811" y="3"/>
                  </a:lnTo>
                  <a:lnTo>
                    <a:pt x="1817" y="4"/>
                  </a:lnTo>
                  <a:lnTo>
                    <a:pt x="1822" y="6"/>
                  </a:lnTo>
                  <a:lnTo>
                    <a:pt x="1827" y="8"/>
                  </a:lnTo>
                  <a:lnTo>
                    <a:pt x="1831" y="10"/>
                  </a:lnTo>
                  <a:lnTo>
                    <a:pt x="1835" y="13"/>
                  </a:lnTo>
                  <a:lnTo>
                    <a:pt x="1838" y="16"/>
                  </a:lnTo>
                  <a:lnTo>
                    <a:pt x="1841" y="20"/>
                  </a:lnTo>
                  <a:lnTo>
                    <a:pt x="1844" y="24"/>
                  </a:lnTo>
                  <a:lnTo>
                    <a:pt x="1846" y="28"/>
                  </a:lnTo>
                  <a:lnTo>
                    <a:pt x="1848" y="33"/>
                  </a:lnTo>
                  <a:lnTo>
                    <a:pt x="1850" y="44"/>
                  </a:lnTo>
                  <a:lnTo>
                    <a:pt x="1851" y="50"/>
                  </a:lnTo>
                  <a:lnTo>
                    <a:pt x="1851" y="57"/>
                  </a:lnTo>
                  <a:close/>
                  <a:moveTo>
                    <a:pt x="1783" y="34"/>
                  </a:moveTo>
                  <a:lnTo>
                    <a:pt x="1783" y="109"/>
                  </a:lnTo>
                  <a:lnTo>
                    <a:pt x="1799" y="109"/>
                  </a:lnTo>
                  <a:lnTo>
                    <a:pt x="1803" y="108"/>
                  </a:lnTo>
                  <a:lnTo>
                    <a:pt x="1807" y="108"/>
                  </a:lnTo>
                  <a:lnTo>
                    <a:pt x="1810" y="106"/>
                  </a:lnTo>
                  <a:lnTo>
                    <a:pt x="1812" y="104"/>
                  </a:lnTo>
                  <a:lnTo>
                    <a:pt x="1814" y="101"/>
                  </a:lnTo>
                  <a:lnTo>
                    <a:pt x="1815" y="98"/>
                  </a:lnTo>
                  <a:lnTo>
                    <a:pt x="1816" y="95"/>
                  </a:lnTo>
                  <a:lnTo>
                    <a:pt x="1816" y="93"/>
                  </a:lnTo>
                  <a:lnTo>
                    <a:pt x="1816" y="88"/>
                  </a:lnTo>
                  <a:lnTo>
                    <a:pt x="1816" y="55"/>
                  </a:lnTo>
                  <a:lnTo>
                    <a:pt x="1816" y="49"/>
                  </a:lnTo>
                  <a:lnTo>
                    <a:pt x="1815" y="45"/>
                  </a:lnTo>
                  <a:lnTo>
                    <a:pt x="1814" y="41"/>
                  </a:lnTo>
                  <a:lnTo>
                    <a:pt x="1812" y="38"/>
                  </a:lnTo>
                  <a:lnTo>
                    <a:pt x="1810" y="36"/>
                  </a:lnTo>
                  <a:lnTo>
                    <a:pt x="1807" y="35"/>
                  </a:lnTo>
                  <a:lnTo>
                    <a:pt x="1803" y="34"/>
                  </a:lnTo>
                  <a:lnTo>
                    <a:pt x="1799" y="34"/>
                  </a:lnTo>
                  <a:lnTo>
                    <a:pt x="1783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00497862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AB2069-E13C-4063-A044-153344A59394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23077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1AA291-046F-4BB4-8867-16D9619C9AC0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489443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AE735-B664-43E6-A4C2-00E59E5E17BC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280743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9A697E-8E97-49AE-BAEF-ECB68E989C15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053531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22B411-579D-4278-9407-67583B919337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6801379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B03A6F-DFB5-48EF-A9D3-9431EE6779A4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7171929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B879C5-1011-4BF6-ACF4-DE049FB8F8EA}" type="datetime1">
              <a:rPr lang="fi-FI" smtClean="0"/>
              <a:t>28.2.2018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9510959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17EA2-CE0D-4F91-B7C9-25F34F5FFE91}" type="datetime1">
              <a:rPr lang="fi-FI" smtClean="0"/>
              <a:t>28.2.2018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9594082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9DE9F2-D9AF-482C-8518-B6D2DBA93170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80609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628D15-EE8C-4CFD-9FEA-6760B12939D7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2"/>
            <p:cNvSpPr>
              <a:spLocks noEditPoints="1"/>
            </p:cNvSpPr>
            <p:nvPr userDrawn="1"/>
          </p:nvSpPr>
          <p:spPr bwMode="auto">
            <a:xfrm>
              <a:off x="8841484" y="6473685"/>
              <a:ext cx="2006400" cy="211200"/>
            </a:xfrm>
            <a:custGeom>
              <a:avLst/>
              <a:gdLst>
                <a:gd name="T0" fmla="*/ 2042 w 2127"/>
                <a:gd name="T1" fmla="*/ 3 h 225"/>
                <a:gd name="T2" fmla="*/ 1959 w 2127"/>
                <a:gd name="T3" fmla="*/ 97 h 225"/>
                <a:gd name="T4" fmla="*/ 1943 w 2127"/>
                <a:gd name="T5" fmla="*/ 34 h 225"/>
                <a:gd name="T6" fmla="*/ 1982 w 2127"/>
                <a:gd name="T7" fmla="*/ 126 h 225"/>
                <a:gd name="T8" fmla="*/ 1893 w 2127"/>
                <a:gd name="T9" fmla="*/ 222 h 225"/>
                <a:gd name="T10" fmla="*/ 1985 w 2127"/>
                <a:gd name="T11" fmla="*/ 20 h 225"/>
                <a:gd name="T12" fmla="*/ 1820 w 2127"/>
                <a:gd name="T13" fmla="*/ 108 h 225"/>
                <a:gd name="T14" fmla="*/ 1830 w 2127"/>
                <a:gd name="T15" fmla="*/ 41 h 225"/>
                <a:gd name="T16" fmla="*/ 1865 w 2127"/>
                <a:gd name="T17" fmla="*/ 104 h 225"/>
                <a:gd name="T18" fmla="*/ 1828 w 2127"/>
                <a:gd name="T19" fmla="*/ 139 h 225"/>
                <a:gd name="T20" fmla="*/ 1839 w 2127"/>
                <a:gd name="T21" fmla="*/ 6 h 225"/>
                <a:gd name="T22" fmla="*/ 1867 w 2127"/>
                <a:gd name="T23" fmla="*/ 51 h 225"/>
                <a:gd name="T24" fmla="*/ 1680 w 2127"/>
                <a:gd name="T25" fmla="*/ 193 h 225"/>
                <a:gd name="T26" fmla="*/ 1734 w 2127"/>
                <a:gd name="T27" fmla="*/ 3 h 225"/>
                <a:gd name="T28" fmla="*/ 1714 w 2127"/>
                <a:gd name="T29" fmla="*/ 217 h 225"/>
                <a:gd name="T30" fmla="*/ 1660 w 2127"/>
                <a:gd name="T31" fmla="*/ 221 h 225"/>
                <a:gd name="T32" fmla="*/ 1631 w 2127"/>
                <a:gd name="T33" fmla="*/ 176 h 225"/>
                <a:gd name="T34" fmla="*/ 1526 w 2127"/>
                <a:gd name="T35" fmla="*/ 182 h 225"/>
                <a:gd name="T36" fmla="*/ 1394 w 2127"/>
                <a:gd name="T37" fmla="*/ 3 h 225"/>
                <a:gd name="T38" fmla="*/ 1271 w 2127"/>
                <a:gd name="T39" fmla="*/ 127 h 225"/>
                <a:gd name="T40" fmla="*/ 1214 w 2127"/>
                <a:gd name="T41" fmla="*/ 3 h 225"/>
                <a:gd name="T42" fmla="*/ 1056 w 2127"/>
                <a:gd name="T43" fmla="*/ 2 h 225"/>
                <a:gd name="T44" fmla="*/ 1089 w 2127"/>
                <a:gd name="T45" fmla="*/ 43 h 225"/>
                <a:gd name="T46" fmla="*/ 1048 w 2127"/>
                <a:gd name="T47" fmla="*/ 33 h 225"/>
                <a:gd name="T48" fmla="*/ 1022 w 2127"/>
                <a:gd name="T49" fmla="*/ 53 h 225"/>
                <a:gd name="T50" fmla="*/ 1074 w 2127"/>
                <a:gd name="T51" fmla="*/ 124 h 225"/>
                <a:gd name="T52" fmla="*/ 1085 w 2127"/>
                <a:gd name="T53" fmla="*/ 198 h 225"/>
                <a:gd name="T54" fmla="*/ 1044 w 2127"/>
                <a:gd name="T55" fmla="*/ 224 h 225"/>
                <a:gd name="T56" fmla="*/ 995 w 2127"/>
                <a:gd name="T57" fmla="*/ 202 h 225"/>
                <a:gd name="T58" fmla="*/ 1021 w 2127"/>
                <a:gd name="T59" fmla="*/ 182 h 225"/>
                <a:gd name="T60" fmla="*/ 1051 w 2127"/>
                <a:gd name="T61" fmla="*/ 188 h 225"/>
                <a:gd name="T62" fmla="*/ 1040 w 2127"/>
                <a:gd name="T63" fmla="*/ 138 h 225"/>
                <a:gd name="T64" fmla="*/ 988 w 2127"/>
                <a:gd name="T65" fmla="*/ 49 h 225"/>
                <a:gd name="T66" fmla="*/ 1013 w 2127"/>
                <a:gd name="T67" fmla="*/ 6 h 225"/>
                <a:gd name="T68" fmla="*/ 963 w 2127"/>
                <a:gd name="T69" fmla="*/ 190 h 225"/>
                <a:gd name="T70" fmla="*/ 727 w 2127"/>
                <a:gd name="T71" fmla="*/ 3 h 225"/>
                <a:gd name="T72" fmla="*/ 630 w 2127"/>
                <a:gd name="T73" fmla="*/ 184 h 225"/>
                <a:gd name="T74" fmla="*/ 661 w 2127"/>
                <a:gd name="T75" fmla="*/ 185 h 225"/>
                <a:gd name="T76" fmla="*/ 653 w 2127"/>
                <a:gd name="T77" fmla="*/ 33 h 225"/>
                <a:gd name="T78" fmla="*/ 628 w 2127"/>
                <a:gd name="T79" fmla="*/ 171 h 225"/>
                <a:gd name="T80" fmla="*/ 610 w 2127"/>
                <a:gd name="T81" fmla="*/ 12 h 225"/>
                <a:gd name="T82" fmla="*/ 668 w 2127"/>
                <a:gd name="T83" fmla="*/ 4 h 225"/>
                <a:gd name="T84" fmla="*/ 698 w 2127"/>
                <a:gd name="T85" fmla="*/ 49 h 225"/>
                <a:gd name="T86" fmla="*/ 684 w 2127"/>
                <a:gd name="T87" fmla="*/ 211 h 225"/>
                <a:gd name="T88" fmla="*/ 628 w 2127"/>
                <a:gd name="T89" fmla="*/ 222 h 225"/>
                <a:gd name="T90" fmla="*/ 594 w 2127"/>
                <a:gd name="T91" fmla="*/ 182 h 225"/>
                <a:gd name="T92" fmla="*/ 467 w 2127"/>
                <a:gd name="T93" fmla="*/ 34 h 225"/>
                <a:gd name="T94" fmla="*/ 259 w 2127"/>
                <a:gd name="T95" fmla="*/ 3 h 225"/>
                <a:gd name="T96" fmla="*/ 161 w 2127"/>
                <a:gd name="T97" fmla="*/ 185 h 225"/>
                <a:gd name="T98" fmla="*/ 193 w 2127"/>
                <a:gd name="T99" fmla="*/ 182 h 225"/>
                <a:gd name="T100" fmla="*/ 180 w 2127"/>
                <a:gd name="T101" fmla="*/ 32 h 225"/>
                <a:gd name="T102" fmla="*/ 124 w 2127"/>
                <a:gd name="T103" fmla="*/ 55 h 225"/>
                <a:gd name="T104" fmla="*/ 146 w 2127"/>
                <a:gd name="T105" fmla="*/ 9 h 225"/>
                <a:gd name="T106" fmla="*/ 204 w 2127"/>
                <a:gd name="T107" fmla="*/ 6 h 225"/>
                <a:gd name="T108" fmla="*/ 229 w 2127"/>
                <a:gd name="T109" fmla="*/ 55 h 225"/>
                <a:gd name="T110" fmla="*/ 212 w 2127"/>
                <a:gd name="T111" fmla="*/ 214 h 225"/>
                <a:gd name="T112" fmla="*/ 154 w 2127"/>
                <a:gd name="T113" fmla="*/ 221 h 225"/>
                <a:gd name="T114" fmla="*/ 124 w 2127"/>
                <a:gd name="T115" fmla="*/ 176 h 225"/>
                <a:gd name="T116" fmla="*/ 66 w 2127"/>
                <a:gd name="T117" fmla="*/ 97 h 225"/>
                <a:gd name="T118" fmla="*/ 50 w 2127"/>
                <a:gd name="T119" fmla="*/ 34 h 225"/>
                <a:gd name="T120" fmla="*/ 89 w 2127"/>
                <a:gd name="T121" fmla="*/ 126 h 225"/>
                <a:gd name="T122" fmla="*/ 0 w 2127"/>
                <a:gd name="T123" fmla="*/ 222 h 225"/>
                <a:gd name="T124" fmla="*/ 92 w 2127"/>
                <a:gd name="T125" fmla="*/ 2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7" h="225">
                  <a:moveTo>
                    <a:pt x="2049" y="152"/>
                  </a:moveTo>
                  <a:lnTo>
                    <a:pt x="2082" y="152"/>
                  </a:lnTo>
                  <a:lnTo>
                    <a:pt x="2066" y="41"/>
                  </a:lnTo>
                  <a:lnTo>
                    <a:pt x="2049" y="152"/>
                  </a:lnTo>
                  <a:close/>
                  <a:moveTo>
                    <a:pt x="2127" y="222"/>
                  </a:moveTo>
                  <a:lnTo>
                    <a:pt x="2092" y="222"/>
                  </a:lnTo>
                  <a:lnTo>
                    <a:pt x="2087" y="182"/>
                  </a:lnTo>
                  <a:lnTo>
                    <a:pt x="2045" y="182"/>
                  </a:lnTo>
                  <a:lnTo>
                    <a:pt x="2039" y="222"/>
                  </a:lnTo>
                  <a:lnTo>
                    <a:pt x="2007" y="222"/>
                  </a:lnTo>
                  <a:lnTo>
                    <a:pt x="2042" y="3"/>
                  </a:lnTo>
                  <a:lnTo>
                    <a:pt x="2092" y="3"/>
                  </a:lnTo>
                  <a:lnTo>
                    <a:pt x="2127" y="222"/>
                  </a:lnTo>
                  <a:close/>
                  <a:moveTo>
                    <a:pt x="1927" y="34"/>
                  </a:moveTo>
                  <a:lnTo>
                    <a:pt x="1927" y="108"/>
                  </a:lnTo>
                  <a:lnTo>
                    <a:pt x="1943" y="108"/>
                  </a:lnTo>
                  <a:lnTo>
                    <a:pt x="1948" y="108"/>
                  </a:lnTo>
                  <a:lnTo>
                    <a:pt x="1951" y="107"/>
                  </a:lnTo>
                  <a:lnTo>
                    <a:pt x="1954" y="106"/>
                  </a:lnTo>
                  <a:lnTo>
                    <a:pt x="1956" y="104"/>
                  </a:lnTo>
                  <a:lnTo>
                    <a:pt x="1958" y="102"/>
                  </a:lnTo>
                  <a:lnTo>
                    <a:pt x="1959" y="97"/>
                  </a:lnTo>
                  <a:lnTo>
                    <a:pt x="1960" y="93"/>
                  </a:lnTo>
                  <a:lnTo>
                    <a:pt x="1960" y="88"/>
                  </a:lnTo>
                  <a:lnTo>
                    <a:pt x="1960" y="55"/>
                  </a:lnTo>
                  <a:lnTo>
                    <a:pt x="1960" y="50"/>
                  </a:lnTo>
                  <a:lnTo>
                    <a:pt x="1959" y="44"/>
                  </a:lnTo>
                  <a:lnTo>
                    <a:pt x="1958" y="41"/>
                  </a:lnTo>
                  <a:lnTo>
                    <a:pt x="1956" y="38"/>
                  </a:lnTo>
                  <a:lnTo>
                    <a:pt x="1954" y="36"/>
                  </a:lnTo>
                  <a:lnTo>
                    <a:pt x="1951" y="35"/>
                  </a:lnTo>
                  <a:lnTo>
                    <a:pt x="1948" y="34"/>
                  </a:lnTo>
                  <a:lnTo>
                    <a:pt x="1943" y="34"/>
                  </a:lnTo>
                  <a:lnTo>
                    <a:pt x="1927" y="34"/>
                  </a:lnTo>
                  <a:close/>
                  <a:moveTo>
                    <a:pt x="1995" y="57"/>
                  </a:moveTo>
                  <a:lnTo>
                    <a:pt x="1995" y="86"/>
                  </a:lnTo>
                  <a:lnTo>
                    <a:pt x="1994" y="92"/>
                  </a:lnTo>
                  <a:lnTo>
                    <a:pt x="1994" y="97"/>
                  </a:lnTo>
                  <a:lnTo>
                    <a:pt x="1993" y="104"/>
                  </a:lnTo>
                  <a:lnTo>
                    <a:pt x="1992" y="109"/>
                  </a:lnTo>
                  <a:lnTo>
                    <a:pt x="1990" y="113"/>
                  </a:lnTo>
                  <a:lnTo>
                    <a:pt x="1988" y="118"/>
                  </a:lnTo>
                  <a:lnTo>
                    <a:pt x="1985" y="122"/>
                  </a:lnTo>
                  <a:lnTo>
                    <a:pt x="1982" y="126"/>
                  </a:lnTo>
                  <a:lnTo>
                    <a:pt x="1978" y="129"/>
                  </a:lnTo>
                  <a:lnTo>
                    <a:pt x="1975" y="132"/>
                  </a:lnTo>
                  <a:lnTo>
                    <a:pt x="1971" y="134"/>
                  </a:lnTo>
                  <a:lnTo>
                    <a:pt x="1966" y="136"/>
                  </a:lnTo>
                  <a:lnTo>
                    <a:pt x="1961" y="138"/>
                  </a:lnTo>
                  <a:lnTo>
                    <a:pt x="1955" y="139"/>
                  </a:lnTo>
                  <a:lnTo>
                    <a:pt x="1950" y="140"/>
                  </a:lnTo>
                  <a:lnTo>
                    <a:pt x="1943" y="140"/>
                  </a:lnTo>
                  <a:lnTo>
                    <a:pt x="1927" y="140"/>
                  </a:lnTo>
                  <a:lnTo>
                    <a:pt x="1927" y="222"/>
                  </a:lnTo>
                  <a:lnTo>
                    <a:pt x="1893" y="222"/>
                  </a:lnTo>
                  <a:lnTo>
                    <a:pt x="1893" y="3"/>
                  </a:lnTo>
                  <a:lnTo>
                    <a:pt x="1943" y="3"/>
                  </a:lnTo>
                  <a:lnTo>
                    <a:pt x="1950" y="3"/>
                  </a:lnTo>
                  <a:lnTo>
                    <a:pt x="1955" y="3"/>
                  </a:lnTo>
                  <a:lnTo>
                    <a:pt x="1961" y="4"/>
                  </a:lnTo>
                  <a:lnTo>
                    <a:pt x="1966" y="6"/>
                  </a:lnTo>
                  <a:lnTo>
                    <a:pt x="1971" y="9"/>
                  </a:lnTo>
                  <a:lnTo>
                    <a:pt x="1975" y="11"/>
                  </a:lnTo>
                  <a:lnTo>
                    <a:pt x="1978" y="14"/>
                  </a:lnTo>
                  <a:lnTo>
                    <a:pt x="1982" y="17"/>
                  </a:lnTo>
                  <a:lnTo>
                    <a:pt x="1985" y="20"/>
                  </a:lnTo>
                  <a:lnTo>
                    <a:pt x="1988" y="24"/>
                  </a:lnTo>
                  <a:lnTo>
                    <a:pt x="1990" y="29"/>
                  </a:lnTo>
                  <a:lnTo>
                    <a:pt x="1992" y="34"/>
                  </a:lnTo>
                  <a:lnTo>
                    <a:pt x="1993" y="39"/>
                  </a:lnTo>
                  <a:lnTo>
                    <a:pt x="1994" y="44"/>
                  </a:lnTo>
                  <a:lnTo>
                    <a:pt x="1994" y="51"/>
                  </a:lnTo>
                  <a:lnTo>
                    <a:pt x="1995" y="57"/>
                  </a:lnTo>
                  <a:close/>
                  <a:moveTo>
                    <a:pt x="1800" y="34"/>
                  </a:moveTo>
                  <a:lnTo>
                    <a:pt x="1800" y="108"/>
                  </a:lnTo>
                  <a:lnTo>
                    <a:pt x="1815" y="108"/>
                  </a:lnTo>
                  <a:lnTo>
                    <a:pt x="1820" y="108"/>
                  </a:lnTo>
                  <a:lnTo>
                    <a:pt x="1823" y="107"/>
                  </a:lnTo>
                  <a:lnTo>
                    <a:pt x="1826" y="106"/>
                  </a:lnTo>
                  <a:lnTo>
                    <a:pt x="1828" y="104"/>
                  </a:lnTo>
                  <a:lnTo>
                    <a:pt x="1830" y="102"/>
                  </a:lnTo>
                  <a:lnTo>
                    <a:pt x="1831" y="97"/>
                  </a:lnTo>
                  <a:lnTo>
                    <a:pt x="1832" y="93"/>
                  </a:lnTo>
                  <a:lnTo>
                    <a:pt x="1833" y="88"/>
                  </a:lnTo>
                  <a:lnTo>
                    <a:pt x="1833" y="55"/>
                  </a:lnTo>
                  <a:lnTo>
                    <a:pt x="1832" y="50"/>
                  </a:lnTo>
                  <a:lnTo>
                    <a:pt x="1831" y="44"/>
                  </a:lnTo>
                  <a:lnTo>
                    <a:pt x="1830" y="41"/>
                  </a:lnTo>
                  <a:lnTo>
                    <a:pt x="1828" y="38"/>
                  </a:lnTo>
                  <a:lnTo>
                    <a:pt x="1826" y="36"/>
                  </a:lnTo>
                  <a:lnTo>
                    <a:pt x="1823" y="35"/>
                  </a:lnTo>
                  <a:lnTo>
                    <a:pt x="1820" y="34"/>
                  </a:lnTo>
                  <a:lnTo>
                    <a:pt x="1815" y="34"/>
                  </a:lnTo>
                  <a:lnTo>
                    <a:pt x="1800" y="34"/>
                  </a:lnTo>
                  <a:close/>
                  <a:moveTo>
                    <a:pt x="1867" y="57"/>
                  </a:moveTo>
                  <a:lnTo>
                    <a:pt x="1867" y="86"/>
                  </a:lnTo>
                  <a:lnTo>
                    <a:pt x="1867" y="92"/>
                  </a:lnTo>
                  <a:lnTo>
                    <a:pt x="1866" y="97"/>
                  </a:lnTo>
                  <a:lnTo>
                    <a:pt x="1865" y="104"/>
                  </a:lnTo>
                  <a:lnTo>
                    <a:pt x="1864" y="109"/>
                  </a:lnTo>
                  <a:lnTo>
                    <a:pt x="1862" y="113"/>
                  </a:lnTo>
                  <a:lnTo>
                    <a:pt x="1860" y="118"/>
                  </a:lnTo>
                  <a:lnTo>
                    <a:pt x="1858" y="122"/>
                  </a:lnTo>
                  <a:lnTo>
                    <a:pt x="1855" y="126"/>
                  </a:lnTo>
                  <a:lnTo>
                    <a:pt x="1851" y="129"/>
                  </a:lnTo>
                  <a:lnTo>
                    <a:pt x="1847" y="132"/>
                  </a:lnTo>
                  <a:lnTo>
                    <a:pt x="1843" y="134"/>
                  </a:lnTo>
                  <a:lnTo>
                    <a:pt x="1839" y="136"/>
                  </a:lnTo>
                  <a:lnTo>
                    <a:pt x="1833" y="138"/>
                  </a:lnTo>
                  <a:lnTo>
                    <a:pt x="1828" y="139"/>
                  </a:lnTo>
                  <a:lnTo>
                    <a:pt x="1822" y="140"/>
                  </a:lnTo>
                  <a:lnTo>
                    <a:pt x="1815" y="140"/>
                  </a:lnTo>
                  <a:lnTo>
                    <a:pt x="1800" y="140"/>
                  </a:lnTo>
                  <a:lnTo>
                    <a:pt x="1800" y="222"/>
                  </a:lnTo>
                  <a:lnTo>
                    <a:pt x="1766" y="222"/>
                  </a:lnTo>
                  <a:lnTo>
                    <a:pt x="1766" y="3"/>
                  </a:lnTo>
                  <a:lnTo>
                    <a:pt x="1815" y="3"/>
                  </a:lnTo>
                  <a:lnTo>
                    <a:pt x="1822" y="3"/>
                  </a:lnTo>
                  <a:lnTo>
                    <a:pt x="1828" y="3"/>
                  </a:lnTo>
                  <a:lnTo>
                    <a:pt x="1833" y="4"/>
                  </a:lnTo>
                  <a:lnTo>
                    <a:pt x="1839" y="6"/>
                  </a:lnTo>
                  <a:lnTo>
                    <a:pt x="1843" y="9"/>
                  </a:lnTo>
                  <a:lnTo>
                    <a:pt x="1847" y="11"/>
                  </a:lnTo>
                  <a:lnTo>
                    <a:pt x="1851" y="14"/>
                  </a:lnTo>
                  <a:lnTo>
                    <a:pt x="1855" y="17"/>
                  </a:lnTo>
                  <a:lnTo>
                    <a:pt x="1858" y="20"/>
                  </a:lnTo>
                  <a:lnTo>
                    <a:pt x="1860" y="24"/>
                  </a:lnTo>
                  <a:lnTo>
                    <a:pt x="1862" y="29"/>
                  </a:lnTo>
                  <a:lnTo>
                    <a:pt x="1864" y="34"/>
                  </a:lnTo>
                  <a:lnTo>
                    <a:pt x="1865" y="39"/>
                  </a:lnTo>
                  <a:lnTo>
                    <a:pt x="1866" y="44"/>
                  </a:lnTo>
                  <a:lnTo>
                    <a:pt x="1867" y="51"/>
                  </a:lnTo>
                  <a:lnTo>
                    <a:pt x="1867" y="57"/>
                  </a:lnTo>
                  <a:close/>
                  <a:moveTo>
                    <a:pt x="1665" y="3"/>
                  </a:moveTo>
                  <a:lnTo>
                    <a:pt x="1665" y="172"/>
                  </a:lnTo>
                  <a:lnTo>
                    <a:pt x="1666" y="178"/>
                  </a:lnTo>
                  <a:lnTo>
                    <a:pt x="1667" y="182"/>
                  </a:lnTo>
                  <a:lnTo>
                    <a:pt x="1667" y="184"/>
                  </a:lnTo>
                  <a:lnTo>
                    <a:pt x="1668" y="185"/>
                  </a:lnTo>
                  <a:lnTo>
                    <a:pt x="1671" y="188"/>
                  </a:lnTo>
                  <a:lnTo>
                    <a:pt x="1673" y="190"/>
                  </a:lnTo>
                  <a:lnTo>
                    <a:pt x="1676" y="193"/>
                  </a:lnTo>
                  <a:lnTo>
                    <a:pt x="1680" y="193"/>
                  </a:lnTo>
                  <a:lnTo>
                    <a:pt x="1683" y="194"/>
                  </a:lnTo>
                  <a:lnTo>
                    <a:pt x="1687" y="193"/>
                  </a:lnTo>
                  <a:lnTo>
                    <a:pt x="1691" y="193"/>
                  </a:lnTo>
                  <a:lnTo>
                    <a:pt x="1694" y="190"/>
                  </a:lnTo>
                  <a:lnTo>
                    <a:pt x="1697" y="188"/>
                  </a:lnTo>
                  <a:lnTo>
                    <a:pt x="1698" y="185"/>
                  </a:lnTo>
                  <a:lnTo>
                    <a:pt x="1700" y="182"/>
                  </a:lnTo>
                  <a:lnTo>
                    <a:pt x="1701" y="178"/>
                  </a:lnTo>
                  <a:lnTo>
                    <a:pt x="1701" y="172"/>
                  </a:lnTo>
                  <a:lnTo>
                    <a:pt x="1701" y="3"/>
                  </a:lnTo>
                  <a:lnTo>
                    <a:pt x="1734" y="3"/>
                  </a:lnTo>
                  <a:lnTo>
                    <a:pt x="1734" y="169"/>
                  </a:lnTo>
                  <a:lnTo>
                    <a:pt x="1734" y="176"/>
                  </a:lnTo>
                  <a:lnTo>
                    <a:pt x="1733" y="182"/>
                  </a:lnTo>
                  <a:lnTo>
                    <a:pt x="1732" y="188"/>
                  </a:lnTo>
                  <a:lnTo>
                    <a:pt x="1731" y="194"/>
                  </a:lnTo>
                  <a:lnTo>
                    <a:pt x="1729" y="198"/>
                  </a:lnTo>
                  <a:lnTo>
                    <a:pt x="1727" y="203"/>
                  </a:lnTo>
                  <a:lnTo>
                    <a:pt x="1723" y="206"/>
                  </a:lnTo>
                  <a:lnTo>
                    <a:pt x="1721" y="211"/>
                  </a:lnTo>
                  <a:lnTo>
                    <a:pt x="1717" y="214"/>
                  </a:lnTo>
                  <a:lnTo>
                    <a:pt x="1714" y="217"/>
                  </a:lnTo>
                  <a:lnTo>
                    <a:pt x="1712" y="218"/>
                  </a:lnTo>
                  <a:lnTo>
                    <a:pt x="1710" y="219"/>
                  </a:lnTo>
                  <a:lnTo>
                    <a:pt x="1704" y="221"/>
                  </a:lnTo>
                  <a:lnTo>
                    <a:pt x="1700" y="223"/>
                  </a:lnTo>
                  <a:lnTo>
                    <a:pt x="1695" y="224"/>
                  </a:lnTo>
                  <a:lnTo>
                    <a:pt x="1688" y="224"/>
                  </a:lnTo>
                  <a:lnTo>
                    <a:pt x="1682" y="225"/>
                  </a:lnTo>
                  <a:lnTo>
                    <a:pt x="1677" y="224"/>
                  </a:lnTo>
                  <a:lnTo>
                    <a:pt x="1671" y="224"/>
                  </a:lnTo>
                  <a:lnTo>
                    <a:pt x="1665" y="223"/>
                  </a:lnTo>
                  <a:lnTo>
                    <a:pt x="1660" y="221"/>
                  </a:lnTo>
                  <a:lnTo>
                    <a:pt x="1656" y="219"/>
                  </a:lnTo>
                  <a:lnTo>
                    <a:pt x="1651" y="217"/>
                  </a:lnTo>
                  <a:lnTo>
                    <a:pt x="1647" y="214"/>
                  </a:lnTo>
                  <a:lnTo>
                    <a:pt x="1644" y="211"/>
                  </a:lnTo>
                  <a:lnTo>
                    <a:pt x="1641" y="206"/>
                  </a:lnTo>
                  <a:lnTo>
                    <a:pt x="1639" y="203"/>
                  </a:lnTo>
                  <a:lnTo>
                    <a:pt x="1637" y="198"/>
                  </a:lnTo>
                  <a:lnTo>
                    <a:pt x="1635" y="194"/>
                  </a:lnTo>
                  <a:lnTo>
                    <a:pt x="1632" y="188"/>
                  </a:lnTo>
                  <a:lnTo>
                    <a:pt x="1632" y="182"/>
                  </a:lnTo>
                  <a:lnTo>
                    <a:pt x="1631" y="176"/>
                  </a:lnTo>
                  <a:lnTo>
                    <a:pt x="1631" y="169"/>
                  </a:lnTo>
                  <a:lnTo>
                    <a:pt x="1631" y="3"/>
                  </a:lnTo>
                  <a:lnTo>
                    <a:pt x="1665" y="3"/>
                  </a:lnTo>
                  <a:close/>
                  <a:moveTo>
                    <a:pt x="1530" y="152"/>
                  </a:moveTo>
                  <a:lnTo>
                    <a:pt x="1564" y="152"/>
                  </a:lnTo>
                  <a:lnTo>
                    <a:pt x="1547" y="41"/>
                  </a:lnTo>
                  <a:lnTo>
                    <a:pt x="1530" y="152"/>
                  </a:lnTo>
                  <a:close/>
                  <a:moveTo>
                    <a:pt x="1609" y="222"/>
                  </a:moveTo>
                  <a:lnTo>
                    <a:pt x="1574" y="222"/>
                  </a:lnTo>
                  <a:lnTo>
                    <a:pt x="1568" y="182"/>
                  </a:lnTo>
                  <a:lnTo>
                    <a:pt x="1526" y="182"/>
                  </a:lnTo>
                  <a:lnTo>
                    <a:pt x="1520" y="222"/>
                  </a:lnTo>
                  <a:lnTo>
                    <a:pt x="1489" y="222"/>
                  </a:lnTo>
                  <a:lnTo>
                    <a:pt x="1524" y="3"/>
                  </a:lnTo>
                  <a:lnTo>
                    <a:pt x="1574" y="3"/>
                  </a:lnTo>
                  <a:lnTo>
                    <a:pt x="1609" y="222"/>
                  </a:lnTo>
                  <a:close/>
                  <a:moveTo>
                    <a:pt x="1405" y="134"/>
                  </a:moveTo>
                  <a:lnTo>
                    <a:pt x="1394" y="154"/>
                  </a:lnTo>
                  <a:lnTo>
                    <a:pt x="1394" y="222"/>
                  </a:lnTo>
                  <a:lnTo>
                    <a:pt x="1360" y="222"/>
                  </a:lnTo>
                  <a:lnTo>
                    <a:pt x="1360" y="3"/>
                  </a:lnTo>
                  <a:lnTo>
                    <a:pt x="1394" y="3"/>
                  </a:lnTo>
                  <a:lnTo>
                    <a:pt x="1394" y="98"/>
                  </a:lnTo>
                  <a:lnTo>
                    <a:pt x="1440" y="3"/>
                  </a:lnTo>
                  <a:lnTo>
                    <a:pt x="1474" y="3"/>
                  </a:lnTo>
                  <a:lnTo>
                    <a:pt x="1426" y="101"/>
                  </a:lnTo>
                  <a:lnTo>
                    <a:pt x="1474" y="222"/>
                  </a:lnTo>
                  <a:lnTo>
                    <a:pt x="1439" y="222"/>
                  </a:lnTo>
                  <a:lnTo>
                    <a:pt x="1405" y="134"/>
                  </a:lnTo>
                  <a:close/>
                  <a:moveTo>
                    <a:pt x="1271" y="95"/>
                  </a:moveTo>
                  <a:lnTo>
                    <a:pt x="1318" y="95"/>
                  </a:lnTo>
                  <a:lnTo>
                    <a:pt x="1318" y="127"/>
                  </a:lnTo>
                  <a:lnTo>
                    <a:pt x="1271" y="127"/>
                  </a:lnTo>
                  <a:lnTo>
                    <a:pt x="1271" y="190"/>
                  </a:lnTo>
                  <a:lnTo>
                    <a:pt x="1331" y="190"/>
                  </a:lnTo>
                  <a:lnTo>
                    <a:pt x="1331" y="222"/>
                  </a:lnTo>
                  <a:lnTo>
                    <a:pt x="1237" y="222"/>
                  </a:lnTo>
                  <a:lnTo>
                    <a:pt x="1237" y="3"/>
                  </a:lnTo>
                  <a:lnTo>
                    <a:pt x="1331" y="3"/>
                  </a:lnTo>
                  <a:lnTo>
                    <a:pt x="1331" y="34"/>
                  </a:lnTo>
                  <a:lnTo>
                    <a:pt x="1271" y="34"/>
                  </a:lnTo>
                  <a:lnTo>
                    <a:pt x="1271" y="95"/>
                  </a:lnTo>
                  <a:close/>
                  <a:moveTo>
                    <a:pt x="1108" y="3"/>
                  </a:moveTo>
                  <a:lnTo>
                    <a:pt x="1214" y="3"/>
                  </a:lnTo>
                  <a:lnTo>
                    <a:pt x="1214" y="34"/>
                  </a:lnTo>
                  <a:lnTo>
                    <a:pt x="1178" y="34"/>
                  </a:lnTo>
                  <a:lnTo>
                    <a:pt x="1178" y="222"/>
                  </a:lnTo>
                  <a:lnTo>
                    <a:pt x="1144" y="222"/>
                  </a:lnTo>
                  <a:lnTo>
                    <a:pt x="1144" y="34"/>
                  </a:lnTo>
                  <a:lnTo>
                    <a:pt x="1108" y="34"/>
                  </a:lnTo>
                  <a:lnTo>
                    <a:pt x="1108" y="3"/>
                  </a:lnTo>
                  <a:close/>
                  <a:moveTo>
                    <a:pt x="1039" y="0"/>
                  </a:moveTo>
                  <a:lnTo>
                    <a:pt x="1044" y="0"/>
                  </a:lnTo>
                  <a:lnTo>
                    <a:pt x="1051" y="1"/>
                  </a:lnTo>
                  <a:lnTo>
                    <a:pt x="1056" y="2"/>
                  </a:lnTo>
                  <a:lnTo>
                    <a:pt x="1061" y="4"/>
                  </a:lnTo>
                  <a:lnTo>
                    <a:pt x="1066" y="6"/>
                  </a:lnTo>
                  <a:lnTo>
                    <a:pt x="1070" y="9"/>
                  </a:lnTo>
                  <a:lnTo>
                    <a:pt x="1073" y="12"/>
                  </a:lnTo>
                  <a:lnTo>
                    <a:pt x="1077" y="15"/>
                  </a:lnTo>
                  <a:lnTo>
                    <a:pt x="1079" y="18"/>
                  </a:lnTo>
                  <a:lnTo>
                    <a:pt x="1083" y="22"/>
                  </a:lnTo>
                  <a:lnTo>
                    <a:pt x="1085" y="28"/>
                  </a:lnTo>
                  <a:lnTo>
                    <a:pt x="1087" y="32"/>
                  </a:lnTo>
                  <a:lnTo>
                    <a:pt x="1088" y="37"/>
                  </a:lnTo>
                  <a:lnTo>
                    <a:pt x="1089" y="43"/>
                  </a:lnTo>
                  <a:lnTo>
                    <a:pt x="1090" y="49"/>
                  </a:lnTo>
                  <a:lnTo>
                    <a:pt x="1090" y="55"/>
                  </a:lnTo>
                  <a:lnTo>
                    <a:pt x="1090" y="62"/>
                  </a:lnTo>
                  <a:lnTo>
                    <a:pt x="1057" y="62"/>
                  </a:lnTo>
                  <a:lnTo>
                    <a:pt x="1057" y="53"/>
                  </a:lnTo>
                  <a:lnTo>
                    <a:pt x="1057" y="48"/>
                  </a:lnTo>
                  <a:lnTo>
                    <a:pt x="1056" y="43"/>
                  </a:lnTo>
                  <a:lnTo>
                    <a:pt x="1054" y="39"/>
                  </a:lnTo>
                  <a:lnTo>
                    <a:pt x="1053" y="36"/>
                  </a:lnTo>
                  <a:lnTo>
                    <a:pt x="1050" y="34"/>
                  </a:lnTo>
                  <a:lnTo>
                    <a:pt x="1048" y="33"/>
                  </a:lnTo>
                  <a:lnTo>
                    <a:pt x="1043" y="32"/>
                  </a:lnTo>
                  <a:lnTo>
                    <a:pt x="1040" y="32"/>
                  </a:lnTo>
                  <a:lnTo>
                    <a:pt x="1036" y="32"/>
                  </a:lnTo>
                  <a:lnTo>
                    <a:pt x="1033" y="33"/>
                  </a:lnTo>
                  <a:lnTo>
                    <a:pt x="1031" y="34"/>
                  </a:lnTo>
                  <a:lnTo>
                    <a:pt x="1030" y="34"/>
                  </a:lnTo>
                  <a:lnTo>
                    <a:pt x="1028" y="36"/>
                  </a:lnTo>
                  <a:lnTo>
                    <a:pt x="1025" y="39"/>
                  </a:lnTo>
                  <a:lnTo>
                    <a:pt x="1023" y="43"/>
                  </a:lnTo>
                  <a:lnTo>
                    <a:pt x="1023" y="48"/>
                  </a:lnTo>
                  <a:lnTo>
                    <a:pt x="1022" y="53"/>
                  </a:lnTo>
                  <a:lnTo>
                    <a:pt x="1022" y="57"/>
                  </a:lnTo>
                  <a:lnTo>
                    <a:pt x="1023" y="61"/>
                  </a:lnTo>
                  <a:lnTo>
                    <a:pt x="1025" y="69"/>
                  </a:lnTo>
                  <a:lnTo>
                    <a:pt x="1026" y="72"/>
                  </a:lnTo>
                  <a:lnTo>
                    <a:pt x="1029" y="75"/>
                  </a:lnTo>
                  <a:lnTo>
                    <a:pt x="1033" y="81"/>
                  </a:lnTo>
                  <a:lnTo>
                    <a:pt x="1038" y="88"/>
                  </a:lnTo>
                  <a:lnTo>
                    <a:pt x="1043" y="93"/>
                  </a:lnTo>
                  <a:lnTo>
                    <a:pt x="1056" y="105"/>
                  </a:lnTo>
                  <a:lnTo>
                    <a:pt x="1069" y="117"/>
                  </a:lnTo>
                  <a:lnTo>
                    <a:pt x="1074" y="124"/>
                  </a:lnTo>
                  <a:lnTo>
                    <a:pt x="1079" y="131"/>
                  </a:lnTo>
                  <a:lnTo>
                    <a:pt x="1084" y="140"/>
                  </a:lnTo>
                  <a:lnTo>
                    <a:pt x="1087" y="148"/>
                  </a:lnTo>
                  <a:lnTo>
                    <a:pt x="1089" y="159"/>
                  </a:lnTo>
                  <a:lnTo>
                    <a:pt x="1090" y="164"/>
                  </a:lnTo>
                  <a:lnTo>
                    <a:pt x="1090" y="169"/>
                  </a:lnTo>
                  <a:lnTo>
                    <a:pt x="1090" y="176"/>
                  </a:lnTo>
                  <a:lnTo>
                    <a:pt x="1089" y="182"/>
                  </a:lnTo>
                  <a:lnTo>
                    <a:pt x="1088" y="187"/>
                  </a:lnTo>
                  <a:lnTo>
                    <a:pt x="1087" y="193"/>
                  </a:lnTo>
                  <a:lnTo>
                    <a:pt x="1085" y="198"/>
                  </a:lnTo>
                  <a:lnTo>
                    <a:pt x="1083" y="202"/>
                  </a:lnTo>
                  <a:lnTo>
                    <a:pt x="1080" y="206"/>
                  </a:lnTo>
                  <a:lnTo>
                    <a:pt x="1077" y="211"/>
                  </a:lnTo>
                  <a:lnTo>
                    <a:pt x="1073" y="214"/>
                  </a:lnTo>
                  <a:lnTo>
                    <a:pt x="1070" y="217"/>
                  </a:lnTo>
                  <a:lnTo>
                    <a:pt x="1068" y="218"/>
                  </a:lnTo>
                  <a:lnTo>
                    <a:pt x="1066" y="219"/>
                  </a:lnTo>
                  <a:lnTo>
                    <a:pt x="1061" y="221"/>
                  </a:lnTo>
                  <a:lnTo>
                    <a:pt x="1056" y="222"/>
                  </a:lnTo>
                  <a:lnTo>
                    <a:pt x="1051" y="223"/>
                  </a:lnTo>
                  <a:lnTo>
                    <a:pt x="1044" y="224"/>
                  </a:lnTo>
                  <a:lnTo>
                    <a:pt x="1038" y="224"/>
                  </a:lnTo>
                  <a:lnTo>
                    <a:pt x="1033" y="224"/>
                  </a:lnTo>
                  <a:lnTo>
                    <a:pt x="1026" y="223"/>
                  </a:lnTo>
                  <a:lnTo>
                    <a:pt x="1021" y="222"/>
                  </a:lnTo>
                  <a:lnTo>
                    <a:pt x="1016" y="221"/>
                  </a:lnTo>
                  <a:lnTo>
                    <a:pt x="1012" y="219"/>
                  </a:lnTo>
                  <a:lnTo>
                    <a:pt x="1007" y="217"/>
                  </a:lnTo>
                  <a:lnTo>
                    <a:pt x="1003" y="214"/>
                  </a:lnTo>
                  <a:lnTo>
                    <a:pt x="1000" y="211"/>
                  </a:lnTo>
                  <a:lnTo>
                    <a:pt x="997" y="206"/>
                  </a:lnTo>
                  <a:lnTo>
                    <a:pt x="995" y="202"/>
                  </a:lnTo>
                  <a:lnTo>
                    <a:pt x="993" y="198"/>
                  </a:lnTo>
                  <a:lnTo>
                    <a:pt x="991" y="193"/>
                  </a:lnTo>
                  <a:lnTo>
                    <a:pt x="989" y="187"/>
                  </a:lnTo>
                  <a:lnTo>
                    <a:pt x="988" y="182"/>
                  </a:lnTo>
                  <a:lnTo>
                    <a:pt x="987" y="176"/>
                  </a:lnTo>
                  <a:lnTo>
                    <a:pt x="987" y="169"/>
                  </a:lnTo>
                  <a:lnTo>
                    <a:pt x="987" y="156"/>
                  </a:lnTo>
                  <a:lnTo>
                    <a:pt x="1020" y="156"/>
                  </a:lnTo>
                  <a:lnTo>
                    <a:pt x="1020" y="171"/>
                  </a:lnTo>
                  <a:lnTo>
                    <a:pt x="1020" y="177"/>
                  </a:lnTo>
                  <a:lnTo>
                    <a:pt x="1021" y="182"/>
                  </a:lnTo>
                  <a:lnTo>
                    <a:pt x="1021" y="183"/>
                  </a:lnTo>
                  <a:lnTo>
                    <a:pt x="1022" y="185"/>
                  </a:lnTo>
                  <a:lnTo>
                    <a:pt x="1024" y="188"/>
                  </a:lnTo>
                  <a:lnTo>
                    <a:pt x="1028" y="190"/>
                  </a:lnTo>
                  <a:lnTo>
                    <a:pt x="1031" y="191"/>
                  </a:lnTo>
                  <a:lnTo>
                    <a:pt x="1034" y="193"/>
                  </a:lnTo>
                  <a:lnTo>
                    <a:pt x="1038" y="193"/>
                  </a:lnTo>
                  <a:lnTo>
                    <a:pt x="1041" y="193"/>
                  </a:lnTo>
                  <a:lnTo>
                    <a:pt x="1046" y="191"/>
                  </a:lnTo>
                  <a:lnTo>
                    <a:pt x="1048" y="190"/>
                  </a:lnTo>
                  <a:lnTo>
                    <a:pt x="1051" y="188"/>
                  </a:lnTo>
                  <a:lnTo>
                    <a:pt x="1053" y="185"/>
                  </a:lnTo>
                  <a:lnTo>
                    <a:pt x="1054" y="182"/>
                  </a:lnTo>
                  <a:lnTo>
                    <a:pt x="1055" y="177"/>
                  </a:lnTo>
                  <a:lnTo>
                    <a:pt x="1055" y="171"/>
                  </a:lnTo>
                  <a:lnTo>
                    <a:pt x="1055" y="167"/>
                  </a:lnTo>
                  <a:lnTo>
                    <a:pt x="1055" y="164"/>
                  </a:lnTo>
                  <a:lnTo>
                    <a:pt x="1053" y="157"/>
                  </a:lnTo>
                  <a:lnTo>
                    <a:pt x="1051" y="152"/>
                  </a:lnTo>
                  <a:lnTo>
                    <a:pt x="1050" y="149"/>
                  </a:lnTo>
                  <a:lnTo>
                    <a:pt x="1044" y="143"/>
                  </a:lnTo>
                  <a:lnTo>
                    <a:pt x="1040" y="138"/>
                  </a:lnTo>
                  <a:lnTo>
                    <a:pt x="1034" y="131"/>
                  </a:lnTo>
                  <a:lnTo>
                    <a:pt x="1022" y="120"/>
                  </a:lnTo>
                  <a:lnTo>
                    <a:pt x="1010" y="108"/>
                  </a:lnTo>
                  <a:lnTo>
                    <a:pt x="1003" y="101"/>
                  </a:lnTo>
                  <a:lnTo>
                    <a:pt x="999" y="93"/>
                  </a:lnTo>
                  <a:lnTo>
                    <a:pt x="995" y="86"/>
                  </a:lnTo>
                  <a:lnTo>
                    <a:pt x="991" y="76"/>
                  </a:lnTo>
                  <a:lnTo>
                    <a:pt x="988" y="67"/>
                  </a:lnTo>
                  <a:lnTo>
                    <a:pt x="988" y="61"/>
                  </a:lnTo>
                  <a:lnTo>
                    <a:pt x="988" y="55"/>
                  </a:lnTo>
                  <a:lnTo>
                    <a:pt x="988" y="49"/>
                  </a:lnTo>
                  <a:lnTo>
                    <a:pt x="988" y="43"/>
                  </a:lnTo>
                  <a:lnTo>
                    <a:pt x="989" y="37"/>
                  </a:lnTo>
                  <a:lnTo>
                    <a:pt x="992" y="32"/>
                  </a:lnTo>
                  <a:lnTo>
                    <a:pt x="993" y="28"/>
                  </a:lnTo>
                  <a:lnTo>
                    <a:pt x="996" y="22"/>
                  </a:lnTo>
                  <a:lnTo>
                    <a:pt x="998" y="18"/>
                  </a:lnTo>
                  <a:lnTo>
                    <a:pt x="1001" y="15"/>
                  </a:lnTo>
                  <a:lnTo>
                    <a:pt x="1004" y="12"/>
                  </a:lnTo>
                  <a:lnTo>
                    <a:pt x="1008" y="9"/>
                  </a:lnTo>
                  <a:lnTo>
                    <a:pt x="1011" y="7"/>
                  </a:lnTo>
                  <a:lnTo>
                    <a:pt x="1013" y="6"/>
                  </a:lnTo>
                  <a:lnTo>
                    <a:pt x="1017" y="4"/>
                  </a:lnTo>
                  <a:lnTo>
                    <a:pt x="1022" y="2"/>
                  </a:lnTo>
                  <a:lnTo>
                    <a:pt x="1028" y="1"/>
                  </a:lnTo>
                  <a:lnTo>
                    <a:pt x="1033" y="0"/>
                  </a:lnTo>
                  <a:lnTo>
                    <a:pt x="1039" y="0"/>
                  </a:lnTo>
                  <a:close/>
                  <a:moveTo>
                    <a:pt x="904" y="95"/>
                  </a:moveTo>
                  <a:lnTo>
                    <a:pt x="951" y="95"/>
                  </a:lnTo>
                  <a:lnTo>
                    <a:pt x="951" y="127"/>
                  </a:lnTo>
                  <a:lnTo>
                    <a:pt x="904" y="127"/>
                  </a:lnTo>
                  <a:lnTo>
                    <a:pt x="904" y="190"/>
                  </a:lnTo>
                  <a:lnTo>
                    <a:pt x="963" y="190"/>
                  </a:lnTo>
                  <a:lnTo>
                    <a:pt x="963" y="222"/>
                  </a:lnTo>
                  <a:lnTo>
                    <a:pt x="870" y="222"/>
                  </a:lnTo>
                  <a:lnTo>
                    <a:pt x="870" y="3"/>
                  </a:lnTo>
                  <a:lnTo>
                    <a:pt x="963" y="3"/>
                  </a:lnTo>
                  <a:lnTo>
                    <a:pt x="963" y="34"/>
                  </a:lnTo>
                  <a:lnTo>
                    <a:pt x="904" y="34"/>
                  </a:lnTo>
                  <a:lnTo>
                    <a:pt x="904" y="95"/>
                  </a:lnTo>
                  <a:close/>
                  <a:moveTo>
                    <a:pt x="759" y="64"/>
                  </a:moveTo>
                  <a:lnTo>
                    <a:pt x="759" y="222"/>
                  </a:lnTo>
                  <a:lnTo>
                    <a:pt x="727" y="222"/>
                  </a:lnTo>
                  <a:lnTo>
                    <a:pt x="727" y="3"/>
                  </a:lnTo>
                  <a:lnTo>
                    <a:pt x="771" y="3"/>
                  </a:lnTo>
                  <a:lnTo>
                    <a:pt x="807" y="134"/>
                  </a:lnTo>
                  <a:lnTo>
                    <a:pt x="807" y="3"/>
                  </a:lnTo>
                  <a:lnTo>
                    <a:pt x="837" y="3"/>
                  </a:lnTo>
                  <a:lnTo>
                    <a:pt x="837" y="222"/>
                  </a:lnTo>
                  <a:lnTo>
                    <a:pt x="801" y="222"/>
                  </a:lnTo>
                  <a:lnTo>
                    <a:pt x="759" y="64"/>
                  </a:lnTo>
                  <a:close/>
                  <a:moveTo>
                    <a:pt x="628" y="171"/>
                  </a:moveTo>
                  <a:lnTo>
                    <a:pt x="628" y="177"/>
                  </a:lnTo>
                  <a:lnTo>
                    <a:pt x="629" y="182"/>
                  </a:lnTo>
                  <a:lnTo>
                    <a:pt x="630" y="184"/>
                  </a:lnTo>
                  <a:lnTo>
                    <a:pt x="630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8" y="193"/>
                  </a:lnTo>
                  <a:lnTo>
                    <a:pt x="642" y="193"/>
                  </a:lnTo>
                  <a:lnTo>
                    <a:pt x="646" y="194"/>
                  </a:lnTo>
                  <a:lnTo>
                    <a:pt x="649" y="193"/>
                  </a:lnTo>
                  <a:lnTo>
                    <a:pt x="653" y="193"/>
                  </a:lnTo>
                  <a:lnTo>
                    <a:pt x="656" y="190"/>
                  </a:lnTo>
                  <a:lnTo>
                    <a:pt x="658" y="188"/>
                  </a:lnTo>
                  <a:lnTo>
                    <a:pt x="661" y="185"/>
                  </a:lnTo>
                  <a:lnTo>
                    <a:pt x="662" y="182"/>
                  </a:lnTo>
                  <a:lnTo>
                    <a:pt x="663" y="177"/>
                  </a:lnTo>
                  <a:lnTo>
                    <a:pt x="664" y="171"/>
                  </a:lnTo>
                  <a:lnTo>
                    <a:pt x="664" y="53"/>
                  </a:lnTo>
                  <a:lnTo>
                    <a:pt x="663" y="48"/>
                  </a:lnTo>
                  <a:lnTo>
                    <a:pt x="662" y="43"/>
                  </a:lnTo>
                  <a:lnTo>
                    <a:pt x="662" y="41"/>
                  </a:lnTo>
                  <a:lnTo>
                    <a:pt x="661" y="39"/>
                  </a:lnTo>
                  <a:lnTo>
                    <a:pt x="658" y="36"/>
                  </a:lnTo>
                  <a:lnTo>
                    <a:pt x="656" y="34"/>
                  </a:lnTo>
                  <a:lnTo>
                    <a:pt x="653" y="33"/>
                  </a:lnTo>
                  <a:lnTo>
                    <a:pt x="649" y="32"/>
                  </a:lnTo>
                  <a:lnTo>
                    <a:pt x="646" y="32"/>
                  </a:lnTo>
                  <a:lnTo>
                    <a:pt x="642" y="32"/>
                  </a:lnTo>
                  <a:lnTo>
                    <a:pt x="638" y="33"/>
                  </a:lnTo>
                  <a:lnTo>
                    <a:pt x="635" y="34"/>
                  </a:lnTo>
                  <a:lnTo>
                    <a:pt x="632" y="36"/>
                  </a:lnTo>
                  <a:lnTo>
                    <a:pt x="630" y="39"/>
                  </a:lnTo>
                  <a:lnTo>
                    <a:pt x="629" y="43"/>
                  </a:lnTo>
                  <a:lnTo>
                    <a:pt x="628" y="48"/>
                  </a:lnTo>
                  <a:lnTo>
                    <a:pt x="628" y="53"/>
                  </a:lnTo>
                  <a:lnTo>
                    <a:pt x="628" y="171"/>
                  </a:lnTo>
                  <a:close/>
                  <a:moveTo>
                    <a:pt x="593" y="55"/>
                  </a:moveTo>
                  <a:lnTo>
                    <a:pt x="593" y="49"/>
                  </a:lnTo>
                  <a:lnTo>
                    <a:pt x="594" y="43"/>
                  </a:lnTo>
                  <a:lnTo>
                    <a:pt x="595" y="37"/>
                  </a:lnTo>
                  <a:lnTo>
                    <a:pt x="596" y="35"/>
                  </a:lnTo>
                  <a:lnTo>
                    <a:pt x="597" y="32"/>
                  </a:lnTo>
                  <a:lnTo>
                    <a:pt x="598" y="28"/>
                  </a:lnTo>
                  <a:lnTo>
                    <a:pt x="601" y="22"/>
                  </a:lnTo>
                  <a:lnTo>
                    <a:pt x="603" y="18"/>
                  </a:lnTo>
                  <a:lnTo>
                    <a:pt x="607" y="15"/>
                  </a:lnTo>
                  <a:lnTo>
                    <a:pt x="610" y="12"/>
                  </a:lnTo>
                  <a:lnTo>
                    <a:pt x="614" y="9"/>
                  </a:lnTo>
                  <a:lnTo>
                    <a:pt x="618" y="6"/>
                  </a:lnTo>
                  <a:lnTo>
                    <a:pt x="624" y="4"/>
                  </a:lnTo>
                  <a:lnTo>
                    <a:pt x="628" y="2"/>
                  </a:lnTo>
                  <a:lnTo>
                    <a:pt x="633" y="1"/>
                  </a:lnTo>
                  <a:lnTo>
                    <a:pt x="639" y="0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7" y="1"/>
                  </a:lnTo>
                  <a:lnTo>
                    <a:pt x="663" y="2"/>
                  </a:lnTo>
                  <a:lnTo>
                    <a:pt x="668" y="4"/>
                  </a:lnTo>
                  <a:lnTo>
                    <a:pt x="672" y="6"/>
                  </a:lnTo>
                  <a:lnTo>
                    <a:pt x="676" y="9"/>
                  </a:lnTo>
                  <a:lnTo>
                    <a:pt x="681" y="12"/>
                  </a:lnTo>
                  <a:lnTo>
                    <a:pt x="684" y="15"/>
                  </a:lnTo>
                  <a:lnTo>
                    <a:pt x="687" y="18"/>
                  </a:lnTo>
                  <a:lnTo>
                    <a:pt x="690" y="22"/>
                  </a:lnTo>
                  <a:lnTo>
                    <a:pt x="692" y="28"/>
                  </a:lnTo>
                  <a:lnTo>
                    <a:pt x="694" y="32"/>
                  </a:lnTo>
                  <a:lnTo>
                    <a:pt x="695" y="37"/>
                  </a:lnTo>
                  <a:lnTo>
                    <a:pt x="697" y="43"/>
                  </a:lnTo>
                  <a:lnTo>
                    <a:pt x="698" y="49"/>
                  </a:lnTo>
                  <a:lnTo>
                    <a:pt x="698" y="55"/>
                  </a:lnTo>
                  <a:lnTo>
                    <a:pt x="698" y="169"/>
                  </a:lnTo>
                  <a:lnTo>
                    <a:pt x="698" y="176"/>
                  </a:lnTo>
                  <a:lnTo>
                    <a:pt x="697" y="182"/>
                  </a:lnTo>
                  <a:lnTo>
                    <a:pt x="695" y="187"/>
                  </a:lnTo>
                  <a:lnTo>
                    <a:pt x="695" y="190"/>
                  </a:lnTo>
                  <a:lnTo>
                    <a:pt x="694" y="193"/>
                  </a:lnTo>
                  <a:lnTo>
                    <a:pt x="692" y="198"/>
                  </a:lnTo>
                  <a:lnTo>
                    <a:pt x="690" y="202"/>
                  </a:lnTo>
                  <a:lnTo>
                    <a:pt x="687" y="206"/>
                  </a:lnTo>
                  <a:lnTo>
                    <a:pt x="684" y="211"/>
                  </a:lnTo>
                  <a:lnTo>
                    <a:pt x="681" y="214"/>
                  </a:lnTo>
                  <a:lnTo>
                    <a:pt x="676" y="217"/>
                  </a:lnTo>
                  <a:lnTo>
                    <a:pt x="672" y="219"/>
                  </a:lnTo>
                  <a:lnTo>
                    <a:pt x="668" y="221"/>
                  </a:lnTo>
                  <a:lnTo>
                    <a:pt x="663" y="222"/>
                  </a:lnTo>
                  <a:lnTo>
                    <a:pt x="657" y="223"/>
                  </a:lnTo>
                  <a:lnTo>
                    <a:pt x="652" y="224"/>
                  </a:lnTo>
                  <a:lnTo>
                    <a:pt x="646" y="224"/>
                  </a:lnTo>
                  <a:lnTo>
                    <a:pt x="639" y="224"/>
                  </a:lnTo>
                  <a:lnTo>
                    <a:pt x="633" y="223"/>
                  </a:lnTo>
                  <a:lnTo>
                    <a:pt x="628" y="222"/>
                  </a:lnTo>
                  <a:lnTo>
                    <a:pt x="624" y="221"/>
                  </a:lnTo>
                  <a:lnTo>
                    <a:pt x="618" y="219"/>
                  </a:lnTo>
                  <a:lnTo>
                    <a:pt x="614" y="217"/>
                  </a:lnTo>
                  <a:lnTo>
                    <a:pt x="610" y="214"/>
                  </a:lnTo>
                  <a:lnTo>
                    <a:pt x="607" y="211"/>
                  </a:lnTo>
                  <a:lnTo>
                    <a:pt x="603" y="206"/>
                  </a:lnTo>
                  <a:lnTo>
                    <a:pt x="601" y="202"/>
                  </a:lnTo>
                  <a:lnTo>
                    <a:pt x="598" y="198"/>
                  </a:lnTo>
                  <a:lnTo>
                    <a:pt x="597" y="193"/>
                  </a:lnTo>
                  <a:lnTo>
                    <a:pt x="595" y="187"/>
                  </a:lnTo>
                  <a:lnTo>
                    <a:pt x="594" y="182"/>
                  </a:lnTo>
                  <a:lnTo>
                    <a:pt x="593" y="176"/>
                  </a:lnTo>
                  <a:lnTo>
                    <a:pt x="593" y="169"/>
                  </a:lnTo>
                  <a:lnTo>
                    <a:pt x="593" y="55"/>
                  </a:lnTo>
                  <a:close/>
                  <a:moveTo>
                    <a:pt x="467" y="3"/>
                  </a:moveTo>
                  <a:lnTo>
                    <a:pt x="573" y="3"/>
                  </a:lnTo>
                  <a:lnTo>
                    <a:pt x="573" y="34"/>
                  </a:lnTo>
                  <a:lnTo>
                    <a:pt x="537" y="34"/>
                  </a:lnTo>
                  <a:lnTo>
                    <a:pt x="537" y="222"/>
                  </a:lnTo>
                  <a:lnTo>
                    <a:pt x="503" y="222"/>
                  </a:lnTo>
                  <a:lnTo>
                    <a:pt x="503" y="34"/>
                  </a:lnTo>
                  <a:lnTo>
                    <a:pt x="467" y="34"/>
                  </a:lnTo>
                  <a:lnTo>
                    <a:pt x="467" y="3"/>
                  </a:lnTo>
                  <a:close/>
                  <a:moveTo>
                    <a:pt x="348" y="3"/>
                  </a:moveTo>
                  <a:lnTo>
                    <a:pt x="454" y="3"/>
                  </a:lnTo>
                  <a:lnTo>
                    <a:pt x="454" y="34"/>
                  </a:lnTo>
                  <a:lnTo>
                    <a:pt x="417" y="34"/>
                  </a:lnTo>
                  <a:lnTo>
                    <a:pt x="417" y="222"/>
                  </a:lnTo>
                  <a:lnTo>
                    <a:pt x="383" y="222"/>
                  </a:lnTo>
                  <a:lnTo>
                    <a:pt x="383" y="34"/>
                  </a:lnTo>
                  <a:lnTo>
                    <a:pt x="348" y="34"/>
                  </a:lnTo>
                  <a:lnTo>
                    <a:pt x="348" y="3"/>
                  </a:lnTo>
                  <a:close/>
                  <a:moveTo>
                    <a:pt x="259" y="3"/>
                  </a:moveTo>
                  <a:lnTo>
                    <a:pt x="294" y="3"/>
                  </a:lnTo>
                  <a:lnTo>
                    <a:pt x="294" y="190"/>
                  </a:lnTo>
                  <a:lnTo>
                    <a:pt x="350" y="190"/>
                  </a:lnTo>
                  <a:lnTo>
                    <a:pt x="350" y="222"/>
                  </a:lnTo>
                  <a:lnTo>
                    <a:pt x="259" y="222"/>
                  </a:lnTo>
                  <a:lnTo>
                    <a:pt x="259" y="3"/>
                  </a:lnTo>
                  <a:close/>
                  <a:moveTo>
                    <a:pt x="159" y="171"/>
                  </a:moveTo>
                  <a:lnTo>
                    <a:pt x="159" y="177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1" y="185"/>
                  </a:lnTo>
                  <a:lnTo>
                    <a:pt x="164" y="188"/>
                  </a:lnTo>
                  <a:lnTo>
                    <a:pt x="167" y="190"/>
                  </a:lnTo>
                  <a:lnTo>
                    <a:pt x="169" y="193"/>
                  </a:lnTo>
                  <a:lnTo>
                    <a:pt x="173" y="193"/>
                  </a:lnTo>
                  <a:lnTo>
                    <a:pt x="176" y="194"/>
                  </a:lnTo>
                  <a:lnTo>
                    <a:pt x="180" y="193"/>
                  </a:lnTo>
                  <a:lnTo>
                    <a:pt x="184" y="193"/>
                  </a:lnTo>
                  <a:lnTo>
                    <a:pt x="187" y="190"/>
                  </a:lnTo>
                  <a:lnTo>
                    <a:pt x="190" y="188"/>
                  </a:lnTo>
                  <a:lnTo>
                    <a:pt x="192" y="185"/>
                  </a:lnTo>
                  <a:lnTo>
                    <a:pt x="193" y="182"/>
                  </a:lnTo>
                  <a:lnTo>
                    <a:pt x="194" y="177"/>
                  </a:lnTo>
                  <a:lnTo>
                    <a:pt x="194" y="171"/>
                  </a:lnTo>
                  <a:lnTo>
                    <a:pt x="194" y="53"/>
                  </a:lnTo>
                  <a:lnTo>
                    <a:pt x="194" y="48"/>
                  </a:lnTo>
                  <a:lnTo>
                    <a:pt x="193" y="43"/>
                  </a:lnTo>
                  <a:lnTo>
                    <a:pt x="192" y="41"/>
                  </a:lnTo>
                  <a:lnTo>
                    <a:pt x="192" y="39"/>
                  </a:lnTo>
                  <a:lnTo>
                    <a:pt x="190" y="36"/>
                  </a:lnTo>
                  <a:lnTo>
                    <a:pt x="187" y="34"/>
                  </a:lnTo>
                  <a:lnTo>
                    <a:pt x="184" y="33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3" y="32"/>
                  </a:lnTo>
                  <a:lnTo>
                    <a:pt x="169" y="33"/>
                  </a:lnTo>
                  <a:lnTo>
                    <a:pt x="167" y="34"/>
                  </a:lnTo>
                  <a:lnTo>
                    <a:pt x="164" y="36"/>
                  </a:lnTo>
                  <a:lnTo>
                    <a:pt x="161" y="39"/>
                  </a:lnTo>
                  <a:lnTo>
                    <a:pt x="160" y="43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9" y="171"/>
                  </a:lnTo>
                  <a:close/>
                  <a:moveTo>
                    <a:pt x="124" y="55"/>
                  </a:moveTo>
                  <a:lnTo>
                    <a:pt x="124" y="49"/>
                  </a:lnTo>
                  <a:lnTo>
                    <a:pt x="125" y="43"/>
                  </a:lnTo>
                  <a:lnTo>
                    <a:pt x="127" y="37"/>
                  </a:lnTo>
                  <a:lnTo>
                    <a:pt x="127" y="35"/>
                  </a:lnTo>
                  <a:lnTo>
                    <a:pt x="128" y="32"/>
                  </a:lnTo>
                  <a:lnTo>
                    <a:pt x="130" y="28"/>
                  </a:lnTo>
                  <a:lnTo>
                    <a:pt x="132" y="22"/>
                  </a:lnTo>
                  <a:lnTo>
                    <a:pt x="135" y="18"/>
                  </a:lnTo>
                  <a:lnTo>
                    <a:pt x="138" y="15"/>
                  </a:lnTo>
                  <a:lnTo>
                    <a:pt x="141" y="12"/>
                  </a:lnTo>
                  <a:lnTo>
                    <a:pt x="146" y="9"/>
                  </a:lnTo>
                  <a:lnTo>
                    <a:pt x="150" y="6"/>
                  </a:lnTo>
                  <a:lnTo>
                    <a:pt x="154" y="4"/>
                  </a:lnTo>
                  <a:lnTo>
                    <a:pt x="159" y="2"/>
                  </a:lnTo>
                  <a:lnTo>
                    <a:pt x="165" y="1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3" y="0"/>
                  </a:lnTo>
                  <a:lnTo>
                    <a:pt x="189" y="1"/>
                  </a:lnTo>
                  <a:lnTo>
                    <a:pt x="194" y="2"/>
                  </a:lnTo>
                  <a:lnTo>
                    <a:pt x="199" y="4"/>
                  </a:lnTo>
                  <a:lnTo>
                    <a:pt x="204" y="6"/>
                  </a:lnTo>
                  <a:lnTo>
                    <a:pt x="208" y="9"/>
                  </a:lnTo>
                  <a:lnTo>
                    <a:pt x="212" y="12"/>
                  </a:lnTo>
                  <a:lnTo>
                    <a:pt x="215" y="15"/>
                  </a:lnTo>
                  <a:lnTo>
                    <a:pt x="219" y="18"/>
                  </a:lnTo>
                  <a:lnTo>
                    <a:pt x="222" y="22"/>
                  </a:lnTo>
                  <a:lnTo>
                    <a:pt x="224" y="28"/>
                  </a:lnTo>
                  <a:lnTo>
                    <a:pt x="226" y="32"/>
                  </a:lnTo>
                  <a:lnTo>
                    <a:pt x="227" y="37"/>
                  </a:lnTo>
                  <a:lnTo>
                    <a:pt x="228" y="43"/>
                  </a:lnTo>
                  <a:lnTo>
                    <a:pt x="229" y="49"/>
                  </a:lnTo>
                  <a:lnTo>
                    <a:pt x="229" y="55"/>
                  </a:lnTo>
                  <a:lnTo>
                    <a:pt x="229" y="169"/>
                  </a:lnTo>
                  <a:lnTo>
                    <a:pt x="229" y="176"/>
                  </a:lnTo>
                  <a:lnTo>
                    <a:pt x="228" y="182"/>
                  </a:lnTo>
                  <a:lnTo>
                    <a:pt x="227" y="187"/>
                  </a:lnTo>
                  <a:lnTo>
                    <a:pt x="226" y="190"/>
                  </a:lnTo>
                  <a:lnTo>
                    <a:pt x="226" y="193"/>
                  </a:lnTo>
                  <a:lnTo>
                    <a:pt x="224" y="198"/>
                  </a:lnTo>
                  <a:lnTo>
                    <a:pt x="222" y="202"/>
                  </a:lnTo>
                  <a:lnTo>
                    <a:pt x="219" y="206"/>
                  </a:lnTo>
                  <a:lnTo>
                    <a:pt x="215" y="211"/>
                  </a:lnTo>
                  <a:lnTo>
                    <a:pt x="212" y="214"/>
                  </a:lnTo>
                  <a:lnTo>
                    <a:pt x="208" y="217"/>
                  </a:lnTo>
                  <a:lnTo>
                    <a:pt x="204" y="219"/>
                  </a:lnTo>
                  <a:lnTo>
                    <a:pt x="199" y="221"/>
                  </a:lnTo>
                  <a:lnTo>
                    <a:pt x="194" y="222"/>
                  </a:lnTo>
                  <a:lnTo>
                    <a:pt x="189" y="223"/>
                  </a:lnTo>
                  <a:lnTo>
                    <a:pt x="183" y="224"/>
                  </a:lnTo>
                  <a:lnTo>
                    <a:pt x="176" y="224"/>
                  </a:lnTo>
                  <a:lnTo>
                    <a:pt x="171" y="224"/>
                  </a:lnTo>
                  <a:lnTo>
                    <a:pt x="165" y="223"/>
                  </a:lnTo>
                  <a:lnTo>
                    <a:pt x="159" y="222"/>
                  </a:lnTo>
                  <a:lnTo>
                    <a:pt x="154" y="221"/>
                  </a:lnTo>
                  <a:lnTo>
                    <a:pt x="150" y="219"/>
                  </a:lnTo>
                  <a:lnTo>
                    <a:pt x="146" y="217"/>
                  </a:lnTo>
                  <a:lnTo>
                    <a:pt x="141" y="214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32" y="202"/>
                  </a:lnTo>
                  <a:lnTo>
                    <a:pt x="130" y="198"/>
                  </a:lnTo>
                  <a:lnTo>
                    <a:pt x="128" y="193"/>
                  </a:lnTo>
                  <a:lnTo>
                    <a:pt x="127" y="187"/>
                  </a:lnTo>
                  <a:lnTo>
                    <a:pt x="125" y="182"/>
                  </a:lnTo>
                  <a:lnTo>
                    <a:pt x="124" y="176"/>
                  </a:lnTo>
                  <a:lnTo>
                    <a:pt x="124" y="169"/>
                  </a:lnTo>
                  <a:lnTo>
                    <a:pt x="124" y="55"/>
                  </a:lnTo>
                  <a:close/>
                  <a:moveTo>
                    <a:pt x="35" y="34"/>
                  </a:moveTo>
                  <a:lnTo>
                    <a:pt x="35" y="108"/>
                  </a:lnTo>
                  <a:lnTo>
                    <a:pt x="50" y="108"/>
                  </a:lnTo>
                  <a:lnTo>
                    <a:pt x="55" y="108"/>
                  </a:lnTo>
                  <a:lnTo>
                    <a:pt x="58" y="107"/>
                  </a:lnTo>
                  <a:lnTo>
                    <a:pt x="61" y="106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66" y="97"/>
                  </a:lnTo>
                  <a:lnTo>
                    <a:pt x="67" y="93"/>
                  </a:lnTo>
                  <a:lnTo>
                    <a:pt x="67" y="88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6" y="44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1" y="36"/>
                  </a:lnTo>
                  <a:lnTo>
                    <a:pt x="58" y="35"/>
                  </a:lnTo>
                  <a:lnTo>
                    <a:pt x="55" y="34"/>
                  </a:lnTo>
                  <a:lnTo>
                    <a:pt x="50" y="34"/>
                  </a:lnTo>
                  <a:lnTo>
                    <a:pt x="35" y="34"/>
                  </a:lnTo>
                  <a:close/>
                  <a:moveTo>
                    <a:pt x="102" y="57"/>
                  </a:moveTo>
                  <a:lnTo>
                    <a:pt x="102" y="86"/>
                  </a:lnTo>
                  <a:lnTo>
                    <a:pt x="101" y="92"/>
                  </a:lnTo>
                  <a:lnTo>
                    <a:pt x="101" y="97"/>
                  </a:lnTo>
                  <a:lnTo>
                    <a:pt x="100" y="104"/>
                  </a:lnTo>
                  <a:lnTo>
                    <a:pt x="99" y="109"/>
                  </a:lnTo>
                  <a:lnTo>
                    <a:pt x="97" y="113"/>
                  </a:lnTo>
                  <a:lnTo>
                    <a:pt x="95" y="118"/>
                  </a:lnTo>
                  <a:lnTo>
                    <a:pt x="92" y="122"/>
                  </a:lnTo>
                  <a:lnTo>
                    <a:pt x="89" y="126"/>
                  </a:lnTo>
                  <a:lnTo>
                    <a:pt x="85" y="129"/>
                  </a:lnTo>
                  <a:lnTo>
                    <a:pt x="82" y="132"/>
                  </a:lnTo>
                  <a:lnTo>
                    <a:pt x="78" y="134"/>
                  </a:lnTo>
                  <a:lnTo>
                    <a:pt x="73" y="136"/>
                  </a:lnTo>
                  <a:lnTo>
                    <a:pt x="68" y="138"/>
                  </a:lnTo>
                  <a:lnTo>
                    <a:pt x="62" y="139"/>
                  </a:lnTo>
                  <a:lnTo>
                    <a:pt x="57" y="140"/>
                  </a:lnTo>
                  <a:lnTo>
                    <a:pt x="50" y="140"/>
                  </a:lnTo>
                  <a:lnTo>
                    <a:pt x="35" y="140"/>
                  </a:lnTo>
                  <a:lnTo>
                    <a:pt x="35" y="222"/>
                  </a:lnTo>
                  <a:lnTo>
                    <a:pt x="0" y="222"/>
                  </a:lnTo>
                  <a:lnTo>
                    <a:pt x="0" y="3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2" y="3"/>
                  </a:lnTo>
                  <a:lnTo>
                    <a:pt x="68" y="4"/>
                  </a:lnTo>
                  <a:lnTo>
                    <a:pt x="73" y="6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9" y="17"/>
                  </a:lnTo>
                  <a:lnTo>
                    <a:pt x="92" y="20"/>
                  </a:lnTo>
                  <a:lnTo>
                    <a:pt x="95" y="24"/>
                  </a:lnTo>
                  <a:lnTo>
                    <a:pt x="97" y="29"/>
                  </a:lnTo>
                  <a:lnTo>
                    <a:pt x="99" y="34"/>
                  </a:lnTo>
                  <a:lnTo>
                    <a:pt x="100" y="39"/>
                  </a:lnTo>
                  <a:lnTo>
                    <a:pt x="101" y="44"/>
                  </a:lnTo>
                  <a:lnTo>
                    <a:pt x="101" y="51"/>
                  </a:lnTo>
                  <a:lnTo>
                    <a:pt x="10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2399882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627E81-A72D-40C5-885C-DF06B2FC27E6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2"/>
            <p:cNvSpPr>
              <a:spLocks noEditPoints="1"/>
            </p:cNvSpPr>
            <p:nvPr userDrawn="1"/>
          </p:nvSpPr>
          <p:spPr bwMode="auto">
            <a:xfrm>
              <a:off x="8841484" y="6473685"/>
              <a:ext cx="2006400" cy="211200"/>
            </a:xfrm>
            <a:custGeom>
              <a:avLst/>
              <a:gdLst>
                <a:gd name="T0" fmla="*/ 2042 w 2127"/>
                <a:gd name="T1" fmla="*/ 3 h 225"/>
                <a:gd name="T2" fmla="*/ 1959 w 2127"/>
                <a:gd name="T3" fmla="*/ 97 h 225"/>
                <a:gd name="T4" fmla="*/ 1943 w 2127"/>
                <a:gd name="T5" fmla="*/ 34 h 225"/>
                <a:gd name="T6" fmla="*/ 1982 w 2127"/>
                <a:gd name="T7" fmla="*/ 126 h 225"/>
                <a:gd name="T8" fmla="*/ 1893 w 2127"/>
                <a:gd name="T9" fmla="*/ 222 h 225"/>
                <a:gd name="T10" fmla="*/ 1985 w 2127"/>
                <a:gd name="T11" fmla="*/ 20 h 225"/>
                <a:gd name="T12" fmla="*/ 1820 w 2127"/>
                <a:gd name="T13" fmla="*/ 108 h 225"/>
                <a:gd name="T14" fmla="*/ 1830 w 2127"/>
                <a:gd name="T15" fmla="*/ 41 h 225"/>
                <a:gd name="T16" fmla="*/ 1865 w 2127"/>
                <a:gd name="T17" fmla="*/ 104 h 225"/>
                <a:gd name="T18" fmla="*/ 1828 w 2127"/>
                <a:gd name="T19" fmla="*/ 139 h 225"/>
                <a:gd name="T20" fmla="*/ 1839 w 2127"/>
                <a:gd name="T21" fmla="*/ 6 h 225"/>
                <a:gd name="T22" fmla="*/ 1867 w 2127"/>
                <a:gd name="T23" fmla="*/ 51 h 225"/>
                <a:gd name="T24" fmla="*/ 1680 w 2127"/>
                <a:gd name="T25" fmla="*/ 193 h 225"/>
                <a:gd name="T26" fmla="*/ 1734 w 2127"/>
                <a:gd name="T27" fmla="*/ 3 h 225"/>
                <a:gd name="T28" fmla="*/ 1714 w 2127"/>
                <a:gd name="T29" fmla="*/ 217 h 225"/>
                <a:gd name="T30" fmla="*/ 1660 w 2127"/>
                <a:gd name="T31" fmla="*/ 221 h 225"/>
                <a:gd name="T32" fmla="*/ 1631 w 2127"/>
                <a:gd name="T33" fmla="*/ 176 h 225"/>
                <a:gd name="T34" fmla="*/ 1526 w 2127"/>
                <a:gd name="T35" fmla="*/ 182 h 225"/>
                <a:gd name="T36" fmla="*/ 1394 w 2127"/>
                <a:gd name="T37" fmla="*/ 3 h 225"/>
                <a:gd name="T38" fmla="*/ 1271 w 2127"/>
                <a:gd name="T39" fmla="*/ 127 h 225"/>
                <a:gd name="T40" fmla="*/ 1214 w 2127"/>
                <a:gd name="T41" fmla="*/ 3 h 225"/>
                <a:gd name="T42" fmla="*/ 1056 w 2127"/>
                <a:gd name="T43" fmla="*/ 2 h 225"/>
                <a:gd name="T44" fmla="*/ 1089 w 2127"/>
                <a:gd name="T45" fmla="*/ 43 h 225"/>
                <a:gd name="T46" fmla="*/ 1048 w 2127"/>
                <a:gd name="T47" fmla="*/ 33 h 225"/>
                <a:gd name="T48" fmla="*/ 1022 w 2127"/>
                <a:gd name="T49" fmla="*/ 53 h 225"/>
                <a:gd name="T50" fmla="*/ 1074 w 2127"/>
                <a:gd name="T51" fmla="*/ 124 h 225"/>
                <a:gd name="T52" fmla="*/ 1085 w 2127"/>
                <a:gd name="T53" fmla="*/ 198 h 225"/>
                <a:gd name="T54" fmla="*/ 1044 w 2127"/>
                <a:gd name="T55" fmla="*/ 224 h 225"/>
                <a:gd name="T56" fmla="*/ 995 w 2127"/>
                <a:gd name="T57" fmla="*/ 202 h 225"/>
                <a:gd name="T58" fmla="*/ 1021 w 2127"/>
                <a:gd name="T59" fmla="*/ 182 h 225"/>
                <a:gd name="T60" fmla="*/ 1051 w 2127"/>
                <a:gd name="T61" fmla="*/ 188 h 225"/>
                <a:gd name="T62" fmla="*/ 1040 w 2127"/>
                <a:gd name="T63" fmla="*/ 138 h 225"/>
                <a:gd name="T64" fmla="*/ 988 w 2127"/>
                <a:gd name="T65" fmla="*/ 49 h 225"/>
                <a:gd name="T66" fmla="*/ 1013 w 2127"/>
                <a:gd name="T67" fmla="*/ 6 h 225"/>
                <a:gd name="T68" fmla="*/ 963 w 2127"/>
                <a:gd name="T69" fmla="*/ 190 h 225"/>
                <a:gd name="T70" fmla="*/ 727 w 2127"/>
                <a:gd name="T71" fmla="*/ 3 h 225"/>
                <a:gd name="T72" fmla="*/ 630 w 2127"/>
                <a:gd name="T73" fmla="*/ 184 h 225"/>
                <a:gd name="T74" fmla="*/ 661 w 2127"/>
                <a:gd name="T75" fmla="*/ 185 h 225"/>
                <a:gd name="T76" fmla="*/ 653 w 2127"/>
                <a:gd name="T77" fmla="*/ 33 h 225"/>
                <a:gd name="T78" fmla="*/ 628 w 2127"/>
                <a:gd name="T79" fmla="*/ 171 h 225"/>
                <a:gd name="T80" fmla="*/ 610 w 2127"/>
                <a:gd name="T81" fmla="*/ 12 h 225"/>
                <a:gd name="T82" fmla="*/ 668 w 2127"/>
                <a:gd name="T83" fmla="*/ 4 h 225"/>
                <a:gd name="T84" fmla="*/ 698 w 2127"/>
                <a:gd name="T85" fmla="*/ 49 h 225"/>
                <a:gd name="T86" fmla="*/ 684 w 2127"/>
                <a:gd name="T87" fmla="*/ 211 h 225"/>
                <a:gd name="T88" fmla="*/ 628 w 2127"/>
                <a:gd name="T89" fmla="*/ 222 h 225"/>
                <a:gd name="T90" fmla="*/ 594 w 2127"/>
                <a:gd name="T91" fmla="*/ 182 h 225"/>
                <a:gd name="T92" fmla="*/ 467 w 2127"/>
                <a:gd name="T93" fmla="*/ 34 h 225"/>
                <a:gd name="T94" fmla="*/ 259 w 2127"/>
                <a:gd name="T95" fmla="*/ 3 h 225"/>
                <a:gd name="T96" fmla="*/ 161 w 2127"/>
                <a:gd name="T97" fmla="*/ 185 h 225"/>
                <a:gd name="T98" fmla="*/ 193 w 2127"/>
                <a:gd name="T99" fmla="*/ 182 h 225"/>
                <a:gd name="T100" fmla="*/ 180 w 2127"/>
                <a:gd name="T101" fmla="*/ 32 h 225"/>
                <a:gd name="T102" fmla="*/ 124 w 2127"/>
                <a:gd name="T103" fmla="*/ 55 h 225"/>
                <a:gd name="T104" fmla="*/ 146 w 2127"/>
                <a:gd name="T105" fmla="*/ 9 h 225"/>
                <a:gd name="T106" fmla="*/ 204 w 2127"/>
                <a:gd name="T107" fmla="*/ 6 h 225"/>
                <a:gd name="T108" fmla="*/ 229 w 2127"/>
                <a:gd name="T109" fmla="*/ 55 h 225"/>
                <a:gd name="T110" fmla="*/ 212 w 2127"/>
                <a:gd name="T111" fmla="*/ 214 h 225"/>
                <a:gd name="T112" fmla="*/ 154 w 2127"/>
                <a:gd name="T113" fmla="*/ 221 h 225"/>
                <a:gd name="T114" fmla="*/ 124 w 2127"/>
                <a:gd name="T115" fmla="*/ 176 h 225"/>
                <a:gd name="T116" fmla="*/ 66 w 2127"/>
                <a:gd name="T117" fmla="*/ 97 h 225"/>
                <a:gd name="T118" fmla="*/ 50 w 2127"/>
                <a:gd name="T119" fmla="*/ 34 h 225"/>
                <a:gd name="T120" fmla="*/ 89 w 2127"/>
                <a:gd name="T121" fmla="*/ 126 h 225"/>
                <a:gd name="T122" fmla="*/ 0 w 2127"/>
                <a:gd name="T123" fmla="*/ 222 h 225"/>
                <a:gd name="T124" fmla="*/ 92 w 2127"/>
                <a:gd name="T125" fmla="*/ 2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7" h="225">
                  <a:moveTo>
                    <a:pt x="2049" y="152"/>
                  </a:moveTo>
                  <a:lnTo>
                    <a:pt x="2082" y="152"/>
                  </a:lnTo>
                  <a:lnTo>
                    <a:pt x="2066" y="41"/>
                  </a:lnTo>
                  <a:lnTo>
                    <a:pt x="2049" y="152"/>
                  </a:lnTo>
                  <a:close/>
                  <a:moveTo>
                    <a:pt x="2127" y="222"/>
                  </a:moveTo>
                  <a:lnTo>
                    <a:pt x="2092" y="222"/>
                  </a:lnTo>
                  <a:lnTo>
                    <a:pt x="2087" y="182"/>
                  </a:lnTo>
                  <a:lnTo>
                    <a:pt x="2045" y="182"/>
                  </a:lnTo>
                  <a:lnTo>
                    <a:pt x="2039" y="222"/>
                  </a:lnTo>
                  <a:lnTo>
                    <a:pt x="2007" y="222"/>
                  </a:lnTo>
                  <a:lnTo>
                    <a:pt x="2042" y="3"/>
                  </a:lnTo>
                  <a:lnTo>
                    <a:pt x="2092" y="3"/>
                  </a:lnTo>
                  <a:lnTo>
                    <a:pt x="2127" y="222"/>
                  </a:lnTo>
                  <a:close/>
                  <a:moveTo>
                    <a:pt x="1927" y="34"/>
                  </a:moveTo>
                  <a:lnTo>
                    <a:pt x="1927" y="108"/>
                  </a:lnTo>
                  <a:lnTo>
                    <a:pt x="1943" y="108"/>
                  </a:lnTo>
                  <a:lnTo>
                    <a:pt x="1948" y="108"/>
                  </a:lnTo>
                  <a:lnTo>
                    <a:pt x="1951" y="107"/>
                  </a:lnTo>
                  <a:lnTo>
                    <a:pt x="1954" y="106"/>
                  </a:lnTo>
                  <a:lnTo>
                    <a:pt x="1956" y="104"/>
                  </a:lnTo>
                  <a:lnTo>
                    <a:pt x="1958" y="102"/>
                  </a:lnTo>
                  <a:lnTo>
                    <a:pt x="1959" y="97"/>
                  </a:lnTo>
                  <a:lnTo>
                    <a:pt x="1960" y="93"/>
                  </a:lnTo>
                  <a:lnTo>
                    <a:pt x="1960" y="88"/>
                  </a:lnTo>
                  <a:lnTo>
                    <a:pt x="1960" y="55"/>
                  </a:lnTo>
                  <a:lnTo>
                    <a:pt x="1960" y="50"/>
                  </a:lnTo>
                  <a:lnTo>
                    <a:pt x="1959" y="44"/>
                  </a:lnTo>
                  <a:lnTo>
                    <a:pt x="1958" y="41"/>
                  </a:lnTo>
                  <a:lnTo>
                    <a:pt x="1956" y="38"/>
                  </a:lnTo>
                  <a:lnTo>
                    <a:pt x="1954" y="36"/>
                  </a:lnTo>
                  <a:lnTo>
                    <a:pt x="1951" y="35"/>
                  </a:lnTo>
                  <a:lnTo>
                    <a:pt x="1948" y="34"/>
                  </a:lnTo>
                  <a:lnTo>
                    <a:pt x="1943" y="34"/>
                  </a:lnTo>
                  <a:lnTo>
                    <a:pt x="1927" y="34"/>
                  </a:lnTo>
                  <a:close/>
                  <a:moveTo>
                    <a:pt x="1995" y="57"/>
                  </a:moveTo>
                  <a:lnTo>
                    <a:pt x="1995" y="86"/>
                  </a:lnTo>
                  <a:lnTo>
                    <a:pt x="1994" y="92"/>
                  </a:lnTo>
                  <a:lnTo>
                    <a:pt x="1994" y="97"/>
                  </a:lnTo>
                  <a:lnTo>
                    <a:pt x="1993" y="104"/>
                  </a:lnTo>
                  <a:lnTo>
                    <a:pt x="1992" y="109"/>
                  </a:lnTo>
                  <a:lnTo>
                    <a:pt x="1990" y="113"/>
                  </a:lnTo>
                  <a:lnTo>
                    <a:pt x="1988" y="118"/>
                  </a:lnTo>
                  <a:lnTo>
                    <a:pt x="1985" y="122"/>
                  </a:lnTo>
                  <a:lnTo>
                    <a:pt x="1982" y="126"/>
                  </a:lnTo>
                  <a:lnTo>
                    <a:pt x="1978" y="129"/>
                  </a:lnTo>
                  <a:lnTo>
                    <a:pt x="1975" y="132"/>
                  </a:lnTo>
                  <a:lnTo>
                    <a:pt x="1971" y="134"/>
                  </a:lnTo>
                  <a:lnTo>
                    <a:pt x="1966" y="136"/>
                  </a:lnTo>
                  <a:lnTo>
                    <a:pt x="1961" y="138"/>
                  </a:lnTo>
                  <a:lnTo>
                    <a:pt x="1955" y="139"/>
                  </a:lnTo>
                  <a:lnTo>
                    <a:pt x="1950" y="140"/>
                  </a:lnTo>
                  <a:lnTo>
                    <a:pt x="1943" y="140"/>
                  </a:lnTo>
                  <a:lnTo>
                    <a:pt x="1927" y="140"/>
                  </a:lnTo>
                  <a:lnTo>
                    <a:pt x="1927" y="222"/>
                  </a:lnTo>
                  <a:lnTo>
                    <a:pt x="1893" y="222"/>
                  </a:lnTo>
                  <a:lnTo>
                    <a:pt x="1893" y="3"/>
                  </a:lnTo>
                  <a:lnTo>
                    <a:pt x="1943" y="3"/>
                  </a:lnTo>
                  <a:lnTo>
                    <a:pt x="1950" y="3"/>
                  </a:lnTo>
                  <a:lnTo>
                    <a:pt x="1955" y="3"/>
                  </a:lnTo>
                  <a:lnTo>
                    <a:pt x="1961" y="4"/>
                  </a:lnTo>
                  <a:lnTo>
                    <a:pt x="1966" y="6"/>
                  </a:lnTo>
                  <a:lnTo>
                    <a:pt x="1971" y="9"/>
                  </a:lnTo>
                  <a:lnTo>
                    <a:pt x="1975" y="11"/>
                  </a:lnTo>
                  <a:lnTo>
                    <a:pt x="1978" y="14"/>
                  </a:lnTo>
                  <a:lnTo>
                    <a:pt x="1982" y="17"/>
                  </a:lnTo>
                  <a:lnTo>
                    <a:pt x="1985" y="20"/>
                  </a:lnTo>
                  <a:lnTo>
                    <a:pt x="1988" y="24"/>
                  </a:lnTo>
                  <a:lnTo>
                    <a:pt x="1990" y="29"/>
                  </a:lnTo>
                  <a:lnTo>
                    <a:pt x="1992" y="34"/>
                  </a:lnTo>
                  <a:lnTo>
                    <a:pt x="1993" y="39"/>
                  </a:lnTo>
                  <a:lnTo>
                    <a:pt x="1994" y="44"/>
                  </a:lnTo>
                  <a:lnTo>
                    <a:pt x="1994" y="51"/>
                  </a:lnTo>
                  <a:lnTo>
                    <a:pt x="1995" y="57"/>
                  </a:lnTo>
                  <a:close/>
                  <a:moveTo>
                    <a:pt x="1800" y="34"/>
                  </a:moveTo>
                  <a:lnTo>
                    <a:pt x="1800" y="108"/>
                  </a:lnTo>
                  <a:lnTo>
                    <a:pt x="1815" y="108"/>
                  </a:lnTo>
                  <a:lnTo>
                    <a:pt x="1820" y="108"/>
                  </a:lnTo>
                  <a:lnTo>
                    <a:pt x="1823" y="107"/>
                  </a:lnTo>
                  <a:lnTo>
                    <a:pt x="1826" y="106"/>
                  </a:lnTo>
                  <a:lnTo>
                    <a:pt x="1828" y="104"/>
                  </a:lnTo>
                  <a:lnTo>
                    <a:pt x="1830" y="102"/>
                  </a:lnTo>
                  <a:lnTo>
                    <a:pt x="1831" y="97"/>
                  </a:lnTo>
                  <a:lnTo>
                    <a:pt x="1832" y="93"/>
                  </a:lnTo>
                  <a:lnTo>
                    <a:pt x="1833" y="88"/>
                  </a:lnTo>
                  <a:lnTo>
                    <a:pt x="1833" y="55"/>
                  </a:lnTo>
                  <a:lnTo>
                    <a:pt x="1832" y="50"/>
                  </a:lnTo>
                  <a:lnTo>
                    <a:pt x="1831" y="44"/>
                  </a:lnTo>
                  <a:lnTo>
                    <a:pt x="1830" y="41"/>
                  </a:lnTo>
                  <a:lnTo>
                    <a:pt x="1828" y="38"/>
                  </a:lnTo>
                  <a:lnTo>
                    <a:pt x="1826" y="36"/>
                  </a:lnTo>
                  <a:lnTo>
                    <a:pt x="1823" y="35"/>
                  </a:lnTo>
                  <a:lnTo>
                    <a:pt x="1820" y="34"/>
                  </a:lnTo>
                  <a:lnTo>
                    <a:pt x="1815" y="34"/>
                  </a:lnTo>
                  <a:lnTo>
                    <a:pt x="1800" y="34"/>
                  </a:lnTo>
                  <a:close/>
                  <a:moveTo>
                    <a:pt x="1867" y="57"/>
                  </a:moveTo>
                  <a:lnTo>
                    <a:pt x="1867" y="86"/>
                  </a:lnTo>
                  <a:lnTo>
                    <a:pt x="1867" y="92"/>
                  </a:lnTo>
                  <a:lnTo>
                    <a:pt x="1866" y="97"/>
                  </a:lnTo>
                  <a:lnTo>
                    <a:pt x="1865" y="104"/>
                  </a:lnTo>
                  <a:lnTo>
                    <a:pt x="1864" y="109"/>
                  </a:lnTo>
                  <a:lnTo>
                    <a:pt x="1862" y="113"/>
                  </a:lnTo>
                  <a:lnTo>
                    <a:pt x="1860" y="118"/>
                  </a:lnTo>
                  <a:lnTo>
                    <a:pt x="1858" y="122"/>
                  </a:lnTo>
                  <a:lnTo>
                    <a:pt x="1855" y="126"/>
                  </a:lnTo>
                  <a:lnTo>
                    <a:pt x="1851" y="129"/>
                  </a:lnTo>
                  <a:lnTo>
                    <a:pt x="1847" y="132"/>
                  </a:lnTo>
                  <a:lnTo>
                    <a:pt x="1843" y="134"/>
                  </a:lnTo>
                  <a:lnTo>
                    <a:pt x="1839" y="136"/>
                  </a:lnTo>
                  <a:lnTo>
                    <a:pt x="1833" y="138"/>
                  </a:lnTo>
                  <a:lnTo>
                    <a:pt x="1828" y="139"/>
                  </a:lnTo>
                  <a:lnTo>
                    <a:pt x="1822" y="140"/>
                  </a:lnTo>
                  <a:lnTo>
                    <a:pt x="1815" y="140"/>
                  </a:lnTo>
                  <a:lnTo>
                    <a:pt x="1800" y="140"/>
                  </a:lnTo>
                  <a:lnTo>
                    <a:pt x="1800" y="222"/>
                  </a:lnTo>
                  <a:lnTo>
                    <a:pt x="1766" y="222"/>
                  </a:lnTo>
                  <a:lnTo>
                    <a:pt x="1766" y="3"/>
                  </a:lnTo>
                  <a:lnTo>
                    <a:pt x="1815" y="3"/>
                  </a:lnTo>
                  <a:lnTo>
                    <a:pt x="1822" y="3"/>
                  </a:lnTo>
                  <a:lnTo>
                    <a:pt x="1828" y="3"/>
                  </a:lnTo>
                  <a:lnTo>
                    <a:pt x="1833" y="4"/>
                  </a:lnTo>
                  <a:lnTo>
                    <a:pt x="1839" y="6"/>
                  </a:lnTo>
                  <a:lnTo>
                    <a:pt x="1843" y="9"/>
                  </a:lnTo>
                  <a:lnTo>
                    <a:pt x="1847" y="11"/>
                  </a:lnTo>
                  <a:lnTo>
                    <a:pt x="1851" y="14"/>
                  </a:lnTo>
                  <a:lnTo>
                    <a:pt x="1855" y="17"/>
                  </a:lnTo>
                  <a:lnTo>
                    <a:pt x="1858" y="20"/>
                  </a:lnTo>
                  <a:lnTo>
                    <a:pt x="1860" y="24"/>
                  </a:lnTo>
                  <a:lnTo>
                    <a:pt x="1862" y="29"/>
                  </a:lnTo>
                  <a:lnTo>
                    <a:pt x="1864" y="34"/>
                  </a:lnTo>
                  <a:lnTo>
                    <a:pt x="1865" y="39"/>
                  </a:lnTo>
                  <a:lnTo>
                    <a:pt x="1866" y="44"/>
                  </a:lnTo>
                  <a:lnTo>
                    <a:pt x="1867" y="51"/>
                  </a:lnTo>
                  <a:lnTo>
                    <a:pt x="1867" y="57"/>
                  </a:lnTo>
                  <a:close/>
                  <a:moveTo>
                    <a:pt x="1665" y="3"/>
                  </a:moveTo>
                  <a:lnTo>
                    <a:pt x="1665" y="172"/>
                  </a:lnTo>
                  <a:lnTo>
                    <a:pt x="1666" y="178"/>
                  </a:lnTo>
                  <a:lnTo>
                    <a:pt x="1667" y="182"/>
                  </a:lnTo>
                  <a:lnTo>
                    <a:pt x="1667" y="184"/>
                  </a:lnTo>
                  <a:lnTo>
                    <a:pt x="1668" y="185"/>
                  </a:lnTo>
                  <a:lnTo>
                    <a:pt x="1671" y="188"/>
                  </a:lnTo>
                  <a:lnTo>
                    <a:pt x="1673" y="190"/>
                  </a:lnTo>
                  <a:lnTo>
                    <a:pt x="1676" y="193"/>
                  </a:lnTo>
                  <a:lnTo>
                    <a:pt x="1680" y="193"/>
                  </a:lnTo>
                  <a:lnTo>
                    <a:pt x="1683" y="194"/>
                  </a:lnTo>
                  <a:lnTo>
                    <a:pt x="1687" y="193"/>
                  </a:lnTo>
                  <a:lnTo>
                    <a:pt x="1691" y="193"/>
                  </a:lnTo>
                  <a:lnTo>
                    <a:pt x="1694" y="190"/>
                  </a:lnTo>
                  <a:lnTo>
                    <a:pt x="1697" y="188"/>
                  </a:lnTo>
                  <a:lnTo>
                    <a:pt x="1698" y="185"/>
                  </a:lnTo>
                  <a:lnTo>
                    <a:pt x="1700" y="182"/>
                  </a:lnTo>
                  <a:lnTo>
                    <a:pt x="1701" y="178"/>
                  </a:lnTo>
                  <a:lnTo>
                    <a:pt x="1701" y="172"/>
                  </a:lnTo>
                  <a:lnTo>
                    <a:pt x="1701" y="3"/>
                  </a:lnTo>
                  <a:lnTo>
                    <a:pt x="1734" y="3"/>
                  </a:lnTo>
                  <a:lnTo>
                    <a:pt x="1734" y="169"/>
                  </a:lnTo>
                  <a:lnTo>
                    <a:pt x="1734" y="176"/>
                  </a:lnTo>
                  <a:lnTo>
                    <a:pt x="1733" y="182"/>
                  </a:lnTo>
                  <a:lnTo>
                    <a:pt x="1732" y="188"/>
                  </a:lnTo>
                  <a:lnTo>
                    <a:pt x="1731" y="194"/>
                  </a:lnTo>
                  <a:lnTo>
                    <a:pt x="1729" y="198"/>
                  </a:lnTo>
                  <a:lnTo>
                    <a:pt x="1727" y="203"/>
                  </a:lnTo>
                  <a:lnTo>
                    <a:pt x="1723" y="206"/>
                  </a:lnTo>
                  <a:lnTo>
                    <a:pt x="1721" y="211"/>
                  </a:lnTo>
                  <a:lnTo>
                    <a:pt x="1717" y="214"/>
                  </a:lnTo>
                  <a:lnTo>
                    <a:pt x="1714" y="217"/>
                  </a:lnTo>
                  <a:lnTo>
                    <a:pt x="1712" y="218"/>
                  </a:lnTo>
                  <a:lnTo>
                    <a:pt x="1710" y="219"/>
                  </a:lnTo>
                  <a:lnTo>
                    <a:pt x="1704" y="221"/>
                  </a:lnTo>
                  <a:lnTo>
                    <a:pt x="1700" y="223"/>
                  </a:lnTo>
                  <a:lnTo>
                    <a:pt x="1695" y="224"/>
                  </a:lnTo>
                  <a:lnTo>
                    <a:pt x="1688" y="224"/>
                  </a:lnTo>
                  <a:lnTo>
                    <a:pt x="1682" y="225"/>
                  </a:lnTo>
                  <a:lnTo>
                    <a:pt x="1677" y="224"/>
                  </a:lnTo>
                  <a:lnTo>
                    <a:pt x="1671" y="224"/>
                  </a:lnTo>
                  <a:lnTo>
                    <a:pt x="1665" y="223"/>
                  </a:lnTo>
                  <a:lnTo>
                    <a:pt x="1660" y="221"/>
                  </a:lnTo>
                  <a:lnTo>
                    <a:pt x="1656" y="219"/>
                  </a:lnTo>
                  <a:lnTo>
                    <a:pt x="1651" y="217"/>
                  </a:lnTo>
                  <a:lnTo>
                    <a:pt x="1647" y="214"/>
                  </a:lnTo>
                  <a:lnTo>
                    <a:pt x="1644" y="211"/>
                  </a:lnTo>
                  <a:lnTo>
                    <a:pt x="1641" y="206"/>
                  </a:lnTo>
                  <a:lnTo>
                    <a:pt x="1639" y="203"/>
                  </a:lnTo>
                  <a:lnTo>
                    <a:pt x="1637" y="198"/>
                  </a:lnTo>
                  <a:lnTo>
                    <a:pt x="1635" y="194"/>
                  </a:lnTo>
                  <a:lnTo>
                    <a:pt x="1632" y="188"/>
                  </a:lnTo>
                  <a:lnTo>
                    <a:pt x="1632" y="182"/>
                  </a:lnTo>
                  <a:lnTo>
                    <a:pt x="1631" y="176"/>
                  </a:lnTo>
                  <a:lnTo>
                    <a:pt x="1631" y="169"/>
                  </a:lnTo>
                  <a:lnTo>
                    <a:pt x="1631" y="3"/>
                  </a:lnTo>
                  <a:lnTo>
                    <a:pt x="1665" y="3"/>
                  </a:lnTo>
                  <a:close/>
                  <a:moveTo>
                    <a:pt x="1530" y="152"/>
                  </a:moveTo>
                  <a:lnTo>
                    <a:pt x="1564" y="152"/>
                  </a:lnTo>
                  <a:lnTo>
                    <a:pt x="1547" y="41"/>
                  </a:lnTo>
                  <a:lnTo>
                    <a:pt x="1530" y="152"/>
                  </a:lnTo>
                  <a:close/>
                  <a:moveTo>
                    <a:pt x="1609" y="222"/>
                  </a:moveTo>
                  <a:lnTo>
                    <a:pt x="1574" y="222"/>
                  </a:lnTo>
                  <a:lnTo>
                    <a:pt x="1568" y="182"/>
                  </a:lnTo>
                  <a:lnTo>
                    <a:pt x="1526" y="182"/>
                  </a:lnTo>
                  <a:lnTo>
                    <a:pt x="1520" y="222"/>
                  </a:lnTo>
                  <a:lnTo>
                    <a:pt x="1489" y="222"/>
                  </a:lnTo>
                  <a:lnTo>
                    <a:pt x="1524" y="3"/>
                  </a:lnTo>
                  <a:lnTo>
                    <a:pt x="1574" y="3"/>
                  </a:lnTo>
                  <a:lnTo>
                    <a:pt x="1609" y="222"/>
                  </a:lnTo>
                  <a:close/>
                  <a:moveTo>
                    <a:pt x="1405" y="134"/>
                  </a:moveTo>
                  <a:lnTo>
                    <a:pt x="1394" y="154"/>
                  </a:lnTo>
                  <a:lnTo>
                    <a:pt x="1394" y="222"/>
                  </a:lnTo>
                  <a:lnTo>
                    <a:pt x="1360" y="222"/>
                  </a:lnTo>
                  <a:lnTo>
                    <a:pt x="1360" y="3"/>
                  </a:lnTo>
                  <a:lnTo>
                    <a:pt x="1394" y="3"/>
                  </a:lnTo>
                  <a:lnTo>
                    <a:pt x="1394" y="98"/>
                  </a:lnTo>
                  <a:lnTo>
                    <a:pt x="1440" y="3"/>
                  </a:lnTo>
                  <a:lnTo>
                    <a:pt x="1474" y="3"/>
                  </a:lnTo>
                  <a:lnTo>
                    <a:pt x="1426" y="101"/>
                  </a:lnTo>
                  <a:lnTo>
                    <a:pt x="1474" y="222"/>
                  </a:lnTo>
                  <a:lnTo>
                    <a:pt x="1439" y="222"/>
                  </a:lnTo>
                  <a:lnTo>
                    <a:pt x="1405" y="134"/>
                  </a:lnTo>
                  <a:close/>
                  <a:moveTo>
                    <a:pt x="1271" y="95"/>
                  </a:moveTo>
                  <a:lnTo>
                    <a:pt x="1318" y="95"/>
                  </a:lnTo>
                  <a:lnTo>
                    <a:pt x="1318" y="127"/>
                  </a:lnTo>
                  <a:lnTo>
                    <a:pt x="1271" y="127"/>
                  </a:lnTo>
                  <a:lnTo>
                    <a:pt x="1271" y="190"/>
                  </a:lnTo>
                  <a:lnTo>
                    <a:pt x="1331" y="190"/>
                  </a:lnTo>
                  <a:lnTo>
                    <a:pt x="1331" y="222"/>
                  </a:lnTo>
                  <a:lnTo>
                    <a:pt x="1237" y="222"/>
                  </a:lnTo>
                  <a:lnTo>
                    <a:pt x="1237" y="3"/>
                  </a:lnTo>
                  <a:lnTo>
                    <a:pt x="1331" y="3"/>
                  </a:lnTo>
                  <a:lnTo>
                    <a:pt x="1331" y="34"/>
                  </a:lnTo>
                  <a:lnTo>
                    <a:pt x="1271" y="34"/>
                  </a:lnTo>
                  <a:lnTo>
                    <a:pt x="1271" y="95"/>
                  </a:lnTo>
                  <a:close/>
                  <a:moveTo>
                    <a:pt x="1108" y="3"/>
                  </a:moveTo>
                  <a:lnTo>
                    <a:pt x="1214" y="3"/>
                  </a:lnTo>
                  <a:lnTo>
                    <a:pt x="1214" y="34"/>
                  </a:lnTo>
                  <a:lnTo>
                    <a:pt x="1178" y="34"/>
                  </a:lnTo>
                  <a:lnTo>
                    <a:pt x="1178" y="222"/>
                  </a:lnTo>
                  <a:lnTo>
                    <a:pt x="1144" y="222"/>
                  </a:lnTo>
                  <a:lnTo>
                    <a:pt x="1144" y="34"/>
                  </a:lnTo>
                  <a:lnTo>
                    <a:pt x="1108" y="34"/>
                  </a:lnTo>
                  <a:lnTo>
                    <a:pt x="1108" y="3"/>
                  </a:lnTo>
                  <a:close/>
                  <a:moveTo>
                    <a:pt x="1039" y="0"/>
                  </a:moveTo>
                  <a:lnTo>
                    <a:pt x="1044" y="0"/>
                  </a:lnTo>
                  <a:lnTo>
                    <a:pt x="1051" y="1"/>
                  </a:lnTo>
                  <a:lnTo>
                    <a:pt x="1056" y="2"/>
                  </a:lnTo>
                  <a:lnTo>
                    <a:pt x="1061" y="4"/>
                  </a:lnTo>
                  <a:lnTo>
                    <a:pt x="1066" y="6"/>
                  </a:lnTo>
                  <a:lnTo>
                    <a:pt x="1070" y="9"/>
                  </a:lnTo>
                  <a:lnTo>
                    <a:pt x="1073" y="12"/>
                  </a:lnTo>
                  <a:lnTo>
                    <a:pt x="1077" y="15"/>
                  </a:lnTo>
                  <a:lnTo>
                    <a:pt x="1079" y="18"/>
                  </a:lnTo>
                  <a:lnTo>
                    <a:pt x="1083" y="22"/>
                  </a:lnTo>
                  <a:lnTo>
                    <a:pt x="1085" y="28"/>
                  </a:lnTo>
                  <a:lnTo>
                    <a:pt x="1087" y="32"/>
                  </a:lnTo>
                  <a:lnTo>
                    <a:pt x="1088" y="37"/>
                  </a:lnTo>
                  <a:lnTo>
                    <a:pt x="1089" y="43"/>
                  </a:lnTo>
                  <a:lnTo>
                    <a:pt x="1090" y="49"/>
                  </a:lnTo>
                  <a:lnTo>
                    <a:pt x="1090" y="55"/>
                  </a:lnTo>
                  <a:lnTo>
                    <a:pt x="1090" y="62"/>
                  </a:lnTo>
                  <a:lnTo>
                    <a:pt x="1057" y="62"/>
                  </a:lnTo>
                  <a:lnTo>
                    <a:pt x="1057" y="53"/>
                  </a:lnTo>
                  <a:lnTo>
                    <a:pt x="1057" y="48"/>
                  </a:lnTo>
                  <a:lnTo>
                    <a:pt x="1056" y="43"/>
                  </a:lnTo>
                  <a:lnTo>
                    <a:pt x="1054" y="39"/>
                  </a:lnTo>
                  <a:lnTo>
                    <a:pt x="1053" y="36"/>
                  </a:lnTo>
                  <a:lnTo>
                    <a:pt x="1050" y="34"/>
                  </a:lnTo>
                  <a:lnTo>
                    <a:pt x="1048" y="33"/>
                  </a:lnTo>
                  <a:lnTo>
                    <a:pt x="1043" y="32"/>
                  </a:lnTo>
                  <a:lnTo>
                    <a:pt x="1040" y="32"/>
                  </a:lnTo>
                  <a:lnTo>
                    <a:pt x="1036" y="32"/>
                  </a:lnTo>
                  <a:lnTo>
                    <a:pt x="1033" y="33"/>
                  </a:lnTo>
                  <a:lnTo>
                    <a:pt x="1031" y="34"/>
                  </a:lnTo>
                  <a:lnTo>
                    <a:pt x="1030" y="34"/>
                  </a:lnTo>
                  <a:lnTo>
                    <a:pt x="1028" y="36"/>
                  </a:lnTo>
                  <a:lnTo>
                    <a:pt x="1025" y="39"/>
                  </a:lnTo>
                  <a:lnTo>
                    <a:pt x="1023" y="43"/>
                  </a:lnTo>
                  <a:lnTo>
                    <a:pt x="1023" y="48"/>
                  </a:lnTo>
                  <a:lnTo>
                    <a:pt x="1022" y="53"/>
                  </a:lnTo>
                  <a:lnTo>
                    <a:pt x="1022" y="57"/>
                  </a:lnTo>
                  <a:lnTo>
                    <a:pt x="1023" y="61"/>
                  </a:lnTo>
                  <a:lnTo>
                    <a:pt x="1025" y="69"/>
                  </a:lnTo>
                  <a:lnTo>
                    <a:pt x="1026" y="72"/>
                  </a:lnTo>
                  <a:lnTo>
                    <a:pt x="1029" y="75"/>
                  </a:lnTo>
                  <a:lnTo>
                    <a:pt x="1033" y="81"/>
                  </a:lnTo>
                  <a:lnTo>
                    <a:pt x="1038" y="88"/>
                  </a:lnTo>
                  <a:lnTo>
                    <a:pt x="1043" y="93"/>
                  </a:lnTo>
                  <a:lnTo>
                    <a:pt x="1056" y="105"/>
                  </a:lnTo>
                  <a:lnTo>
                    <a:pt x="1069" y="117"/>
                  </a:lnTo>
                  <a:lnTo>
                    <a:pt x="1074" y="124"/>
                  </a:lnTo>
                  <a:lnTo>
                    <a:pt x="1079" y="131"/>
                  </a:lnTo>
                  <a:lnTo>
                    <a:pt x="1084" y="140"/>
                  </a:lnTo>
                  <a:lnTo>
                    <a:pt x="1087" y="148"/>
                  </a:lnTo>
                  <a:lnTo>
                    <a:pt x="1089" y="159"/>
                  </a:lnTo>
                  <a:lnTo>
                    <a:pt x="1090" y="164"/>
                  </a:lnTo>
                  <a:lnTo>
                    <a:pt x="1090" y="169"/>
                  </a:lnTo>
                  <a:lnTo>
                    <a:pt x="1090" y="176"/>
                  </a:lnTo>
                  <a:lnTo>
                    <a:pt x="1089" y="182"/>
                  </a:lnTo>
                  <a:lnTo>
                    <a:pt x="1088" y="187"/>
                  </a:lnTo>
                  <a:lnTo>
                    <a:pt x="1087" y="193"/>
                  </a:lnTo>
                  <a:lnTo>
                    <a:pt x="1085" y="198"/>
                  </a:lnTo>
                  <a:lnTo>
                    <a:pt x="1083" y="202"/>
                  </a:lnTo>
                  <a:lnTo>
                    <a:pt x="1080" y="206"/>
                  </a:lnTo>
                  <a:lnTo>
                    <a:pt x="1077" y="211"/>
                  </a:lnTo>
                  <a:lnTo>
                    <a:pt x="1073" y="214"/>
                  </a:lnTo>
                  <a:lnTo>
                    <a:pt x="1070" y="217"/>
                  </a:lnTo>
                  <a:lnTo>
                    <a:pt x="1068" y="218"/>
                  </a:lnTo>
                  <a:lnTo>
                    <a:pt x="1066" y="219"/>
                  </a:lnTo>
                  <a:lnTo>
                    <a:pt x="1061" y="221"/>
                  </a:lnTo>
                  <a:lnTo>
                    <a:pt x="1056" y="222"/>
                  </a:lnTo>
                  <a:lnTo>
                    <a:pt x="1051" y="223"/>
                  </a:lnTo>
                  <a:lnTo>
                    <a:pt x="1044" y="224"/>
                  </a:lnTo>
                  <a:lnTo>
                    <a:pt x="1038" y="224"/>
                  </a:lnTo>
                  <a:lnTo>
                    <a:pt x="1033" y="224"/>
                  </a:lnTo>
                  <a:lnTo>
                    <a:pt x="1026" y="223"/>
                  </a:lnTo>
                  <a:lnTo>
                    <a:pt x="1021" y="222"/>
                  </a:lnTo>
                  <a:lnTo>
                    <a:pt x="1016" y="221"/>
                  </a:lnTo>
                  <a:lnTo>
                    <a:pt x="1012" y="219"/>
                  </a:lnTo>
                  <a:lnTo>
                    <a:pt x="1007" y="217"/>
                  </a:lnTo>
                  <a:lnTo>
                    <a:pt x="1003" y="214"/>
                  </a:lnTo>
                  <a:lnTo>
                    <a:pt x="1000" y="211"/>
                  </a:lnTo>
                  <a:lnTo>
                    <a:pt x="997" y="206"/>
                  </a:lnTo>
                  <a:lnTo>
                    <a:pt x="995" y="202"/>
                  </a:lnTo>
                  <a:lnTo>
                    <a:pt x="993" y="198"/>
                  </a:lnTo>
                  <a:lnTo>
                    <a:pt x="991" y="193"/>
                  </a:lnTo>
                  <a:lnTo>
                    <a:pt x="989" y="187"/>
                  </a:lnTo>
                  <a:lnTo>
                    <a:pt x="988" y="182"/>
                  </a:lnTo>
                  <a:lnTo>
                    <a:pt x="987" y="176"/>
                  </a:lnTo>
                  <a:lnTo>
                    <a:pt x="987" y="169"/>
                  </a:lnTo>
                  <a:lnTo>
                    <a:pt x="987" y="156"/>
                  </a:lnTo>
                  <a:lnTo>
                    <a:pt x="1020" y="156"/>
                  </a:lnTo>
                  <a:lnTo>
                    <a:pt x="1020" y="171"/>
                  </a:lnTo>
                  <a:lnTo>
                    <a:pt x="1020" y="177"/>
                  </a:lnTo>
                  <a:lnTo>
                    <a:pt x="1021" y="182"/>
                  </a:lnTo>
                  <a:lnTo>
                    <a:pt x="1021" y="183"/>
                  </a:lnTo>
                  <a:lnTo>
                    <a:pt x="1022" y="185"/>
                  </a:lnTo>
                  <a:lnTo>
                    <a:pt x="1024" y="188"/>
                  </a:lnTo>
                  <a:lnTo>
                    <a:pt x="1028" y="190"/>
                  </a:lnTo>
                  <a:lnTo>
                    <a:pt x="1031" y="191"/>
                  </a:lnTo>
                  <a:lnTo>
                    <a:pt x="1034" y="193"/>
                  </a:lnTo>
                  <a:lnTo>
                    <a:pt x="1038" y="193"/>
                  </a:lnTo>
                  <a:lnTo>
                    <a:pt x="1041" y="193"/>
                  </a:lnTo>
                  <a:lnTo>
                    <a:pt x="1046" y="191"/>
                  </a:lnTo>
                  <a:lnTo>
                    <a:pt x="1048" y="190"/>
                  </a:lnTo>
                  <a:lnTo>
                    <a:pt x="1051" y="188"/>
                  </a:lnTo>
                  <a:lnTo>
                    <a:pt x="1053" y="185"/>
                  </a:lnTo>
                  <a:lnTo>
                    <a:pt x="1054" y="182"/>
                  </a:lnTo>
                  <a:lnTo>
                    <a:pt x="1055" y="177"/>
                  </a:lnTo>
                  <a:lnTo>
                    <a:pt x="1055" y="171"/>
                  </a:lnTo>
                  <a:lnTo>
                    <a:pt x="1055" y="167"/>
                  </a:lnTo>
                  <a:lnTo>
                    <a:pt x="1055" y="164"/>
                  </a:lnTo>
                  <a:lnTo>
                    <a:pt x="1053" y="157"/>
                  </a:lnTo>
                  <a:lnTo>
                    <a:pt x="1051" y="152"/>
                  </a:lnTo>
                  <a:lnTo>
                    <a:pt x="1050" y="149"/>
                  </a:lnTo>
                  <a:lnTo>
                    <a:pt x="1044" y="143"/>
                  </a:lnTo>
                  <a:lnTo>
                    <a:pt x="1040" y="138"/>
                  </a:lnTo>
                  <a:lnTo>
                    <a:pt x="1034" y="131"/>
                  </a:lnTo>
                  <a:lnTo>
                    <a:pt x="1022" y="120"/>
                  </a:lnTo>
                  <a:lnTo>
                    <a:pt x="1010" y="108"/>
                  </a:lnTo>
                  <a:lnTo>
                    <a:pt x="1003" y="101"/>
                  </a:lnTo>
                  <a:lnTo>
                    <a:pt x="999" y="93"/>
                  </a:lnTo>
                  <a:lnTo>
                    <a:pt x="995" y="86"/>
                  </a:lnTo>
                  <a:lnTo>
                    <a:pt x="991" y="76"/>
                  </a:lnTo>
                  <a:lnTo>
                    <a:pt x="988" y="67"/>
                  </a:lnTo>
                  <a:lnTo>
                    <a:pt x="988" y="61"/>
                  </a:lnTo>
                  <a:lnTo>
                    <a:pt x="988" y="55"/>
                  </a:lnTo>
                  <a:lnTo>
                    <a:pt x="988" y="49"/>
                  </a:lnTo>
                  <a:lnTo>
                    <a:pt x="988" y="43"/>
                  </a:lnTo>
                  <a:lnTo>
                    <a:pt x="989" y="37"/>
                  </a:lnTo>
                  <a:lnTo>
                    <a:pt x="992" y="32"/>
                  </a:lnTo>
                  <a:lnTo>
                    <a:pt x="993" y="28"/>
                  </a:lnTo>
                  <a:lnTo>
                    <a:pt x="996" y="22"/>
                  </a:lnTo>
                  <a:lnTo>
                    <a:pt x="998" y="18"/>
                  </a:lnTo>
                  <a:lnTo>
                    <a:pt x="1001" y="15"/>
                  </a:lnTo>
                  <a:lnTo>
                    <a:pt x="1004" y="12"/>
                  </a:lnTo>
                  <a:lnTo>
                    <a:pt x="1008" y="9"/>
                  </a:lnTo>
                  <a:lnTo>
                    <a:pt x="1011" y="7"/>
                  </a:lnTo>
                  <a:lnTo>
                    <a:pt x="1013" y="6"/>
                  </a:lnTo>
                  <a:lnTo>
                    <a:pt x="1017" y="4"/>
                  </a:lnTo>
                  <a:lnTo>
                    <a:pt x="1022" y="2"/>
                  </a:lnTo>
                  <a:lnTo>
                    <a:pt x="1028" y="1"/>
                  </a:lnTo>
                  <a:lnTo>
                    <a:pt x="1033" y="0"/>
                  </a:lnTo>
                  <a:lnTo>
                    <a:pt x="1039" y="0"/>
                  </a:lnTo>
                  <a:close/>
                  <a:moveTo>
                    <a:pt x="904" y="95"/>
                  </a:moveTo>
                  <a:lnTo>
                    <a:pt x="951" y="95"/>
                  </a:lnTo>
                  <a:lnTo>
                    <a:pt x="951" y="127"/>
                  </a:lnTo>
                  <a:lnTo>
                    <a:pt x="904" y="127"/>
                  </a:lnTo>
                  <a:lnTo>
                    <a:pt x="904" y="190"/>
                  </a:lnTo>
                  <a:lnTo>
                    <a:pt x="963" y="190"/>
                  </a:lnTo>
                  <a:lnTo>
                    <a:pt x="963" y="222"/>
                  </a:lnTo>
                  <a:lnTo>
                    <a:pt x="870" y="222"/>
                  </a:lnTo>
                  <a:lnTo>
                    <a:pt x="870" y="3"/>
                  </a:lnTo>
                  <a:lnTo>
                    <a:pt x="963" y="3"/>
                  </a:lnTo>
                  <a:lnTo>
                    <a:pt x="963" y="34"/>
                  </a:lnTo>
                  <a:lnTo>
                    <a:pt x="904" y="34"/>
                  </a:lnTo>
                  <a:lnTo>
                    <a:pt x="904" y="95"/>
                  </a:lnTo>
                  <a:close/>
                  <a:moveTo>
                    <a:pt x="759" y="64"/>
                  </a:moveTo>
                  <a:lnTo>
                    <a:pt x="759" y="222"/>
                  </a:lnTo>
                  <a:lnTo>
                    <a:pt x="727" y="222"/>
                  </a:lnTo>
                  <a:lnTo>
                    <a:pt x="727" y="3"/>
                  </a:lnTo>
                  <a:lnTo>
                    <a:pt x="771" y="3"/>
                  </a:lnTo>
                  <a:lnTo>
                    <a:pt x="807" y="134"/>
                  </a:lnTo>
                  <a:lnTo>
                    <a:pt x="807" y="3"/>
                  </a:lnTo>
                  <a:lnTo>
                    <a:pt x="837" y="3"/>
                  </a:lnTo>
                  <a:lnTo>
                    <a:pt x="837" y="222"/>
                  </a:lnTo>
                  <a:lnTo>
                    <a:pt x="801" y="222"/>
                  </a:lnTo>
                  <a:lnTo>
                    <a:pt x="759" y="64"/>
                  </a:lnTo>
                  <a:close/>
                  <a:moveTo>
                    <a:pt x="628" y="171"/>
                  </a:moveTo>
                  <a:lnTo>
                    <a:pt x="628" y="177"/>
                  </a:lnTo>
                  <a:lnTo>
                    <a:pt x="629" y="182"/>
                  </a:lnTo>
                  <a:lnTo>
                    <a:pt x="630" y="184"/>
                  </a:lnTo>
                  <a:lnTo>
                    <a:pt x="630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8" y="193"/>
                  </a:lnTo>
                  <a:lnTo>
                    <a:pt x="642" y="193"/>
                  </a:lnTo>
                  <a:lnTo>
                    <a:pt x="646" y="194"/>
                  </a:lnTo>
                  <a:lnTo>
                    <a:pt x="649" y="193"/>
                  </a:lnTo>
                  <a:lnTo>
                    <a:pt x="653" y="193"/>
                  </a:lnTo>
                  <a:lnTo>
                    <a:pt x="656" y="190"/>
                  </a:lnTo>
                  <a:lnTo>
                    <a:pt x="658" y="188"/>
                  </a:lnTo>
                  <a:lnTo>
                    <a:pt x="661" y="185"/>
                  </a:lnTo>
                  <a:lnTo>
                    <a:pt x="662" y="182"/>
                  </a:lnTo>
                  <a:lnTo>
                    <a:pt x="663" y="177"/>
                  </a:lnTo>
                  <a:lnTo>
                    <a:pt x="664" y="171"/>
                  </a:lnTo>
                  <a:lnTo>
                    <a:pt x="664" y="53"/>
                  </a:lnTo>
                  <a:lnTo>
                    <a:pt x="663" y="48"/>
                  </a:lnTo>
                  <a:lnTo>
                    <a:pt x="662" y="43"/>
                  </a:lnTo>
                  <a:lnTo>
                    <a:pt x="662" y="41"/>
                  </a:lnTo>
                  <a:lnTo>
                    <a:pt x="661" y="39"/>
                  </a:lnTo>
                  <a:lnTo>
                    <a:pt x="658" y="36"/>
                  </a:lnTo>
                  <a:lnTo>
                    <a:pt x="656" y="34"/>
                  </a:lnTo>
                  <a:lnTo>
                    <a:pt x="653" y="33"/>
                  </a:lnTo>
                  <a:lnTo>
                    <a:pt x="649" y="32"/>
                  </a:lnTo>
                  <a:lnTo>
                    <a:pt x="646" y="32"/>
                  </a:lnTo>
                  <a:lnTo>
                    <a:pt x="642" y="32"/>
                  </a:lnTo>
                  <a:lnTo>
                    <a:pt x="638" y="33"/>
                  </a:lnTo>
                  <a:lnTo>
                    <a:pt x="635" y="34"/>
                  </a:lnTo>
                  <a:lnTo>
                    <a:pt x="632" y="36"/>
                  </a:lnTo>
                  <a:lnTo>
                    <a:pt x="630" y="39"/>
                  </a:lnTo>
                  <a:lnTo>
                    <a:pt x="629" y="43"/>
                  </a:lnTo>
                  <a:lnTo>
                    <a:pt x="628" y="48"/>
                  </a:lnTo>
                  <a:lnTo>
                    <a:pt x="628" y="53"/>
                  </a:lnTo>
                  <a:lnTo>
                    <a:pt x="628" y="171"/>
                  </a:lnTo>
                  <a:close/>
                  <a:moveTo>
                    <a:pt x="593" y="55"/>
                  </a:moveTo>
                  <a:lnTo>
                    <a:pt x="593" y="49"/>
                  </a:lnTo>
                  <a:lnTo>
                    <a:pt x="594" y="43"/>
                  </a:lnTo>
                  <a:lnTo>
                    <a:pt x="595" y="37"/>
                  </a:lnTo>
                  <a:lnTo>
                    <a:pt x="596" y="35"/>
                  </a:lnTo>
                  <a:lnTo>
                    <a:pt x="597" y="32"/>
                  </a:lnTo>
                  <a:lnTo>
                    <a:pt x="598" y="28"/>
                  </a:lnTo>
                  <a:lnTo>
                    <a:pt x="601" y="22"/>
                  </a:lnTo>
                  <a:lnTo>
                    <a:pt x="603" y="18"/>
                  </a:lnTo>
                  <a:lnTo>
                    <a:pt x="607" y="15"/>
                  </a:lnTo>
                  <a:lnTo>
                    <a:pt x="610" y="12"/>
                  </a:lnTo>
                  <a:lnTo>
                    <a:pt x="614" y="9"/>
                  </a:lnTo>
                  <a:lnTo>
                    <a:pt x="618" y="6"/>
                  </a:lnTo>
                  <a:lnTo>
                    <a:pt x="624" y="4"/>
                  </a:lnTo>
                  <a:lnTo>
                    <a:pt x="628" y="2"/>
                  </a:lnTo>
                  <a:lnTo>
                    <a:pt x="633" y="1"/>
                  </a:lnTo>
                  <a:lnTo>
                    <a:pt x="639" y="0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7" y="1"/>
                  </a:lnTo>
                  <a:lnTo>
                    <a:pt x="663" y="2"/>
                  </a:lnTo>
                  <a:lnTo>
                    <a:pt x="668" y="4"/>
                  </a:lnTo>
                  <a:lnTo>
                    <a:pt x="672" y="6"/>
                  </a:lnTo>
                  <a:lnTo>
                    <a:pt x="676" y="9"/>
                  </a:lnTo>
                  <a:lnTo>
                    <a:pt x="681" y="12"/>
                  </a:lnTo>
                  <a:lnTo>
                    <a:pt x="684" y="15"/>
                  </a:lnTo>
                  <a:lnTo>
                    <a:pt x="687" y="18"/>
                  </a:lnTo>
                  <a:lnTo>
                    <a:pt x="690" y="22"/>
                  </a:lnTo>
                  <a:lnTo>
                    <a:pt x="692" y="28"/>
                  </a:lnTo>
                  <a:lnTo>
                    <a:pt x="694" y="32"/>
                  </a:lnTo>
                  <a:lnTo>
                    <a:pt x="695" y="37"/>
                  </a:lnTo>
                  <a:lnTo>
                    <a:pt x="697" y="43"/>
                  </a:lnTo>
                  <a:lnTo>
                    <a:pt x="698" y="49"/>
                  </a:lnTo>
                  <a:lnTo>
                    <a:pt x="698" y="55"/>
                  </a:lnTo>
                  <a:lnTo>
                    <a:pt x="698" y="169"/>
                  </a:lnTo>
                  <a:lnTo>
                    <a:pt x="698" y="176"/>
                  </a:lnTo>
                  <a:lnTo>
                    <a:pt x="697" y="182"/>
                  </a:lnTo>
                  <a:lnTo>
                    <a:pt x="695" y="187"/>
                  </a:lnTo>
                  <a:lnTo>
                    <a:pt x="695" y="190"/>
                  </a:lnTo>
                  <a:lnTo>
                    <a:pt x="694" y="193"/>
                  </a:lnTo>
                  <a:lnTo>
                    <a:pt x="692" y="198"/>
                  </a:lnTo>
                  <a:lnTo>
                    <a:pt x="690" y="202"/>
                  </a:lnTo>
                  <a:lnTo>
                    <a:pt x="687" y="206"/>
                  </a:lnTo>
                  <a:lnTo>
                    <a:pt x="684" y="211"/>
                  </a:lnTo>
                  <a:lnTo>
                    <a:pt x="681" y="214"/>
                  </a:lnTo>
                  <a:lnTo>
                    <a:pt x="676" y="217"/>
                  </a:lnTo>
                  <a:lnTo>
                    <a:pt x="672" y="219"/>
                  </a:lnTo>
                  <a:lnTo>
                    <a:pt x="668" y="221"/>
                  </a:lnTo>
                  <a:lnTo>
                    <a:pt x="663" y="222"/>
                  </a:lnTo>
                  <a:lnTo>
                    <a:pt x="657" y="223"/>
                  </a:lnTo>
                  <a:lnTo>
                    <a:pt x="652" y="224"/>
                  </a:lnTo>
                  <a:lnTo>
                    <a:pt x="646" y="224"/>
                  </a:lnTo>
                  <a:lnTo>
                    <a:pt x="639" y="224"/>
                  </a:lnTo>
                  <a:lnTo>
                    <a:pt x="633" y="223"/>
                  </a:lnTo>
                  <a:lnTo>
                    <a:pt x="628" y="222"/>
                  </a:lnTo>
                  <a:lnTo>
                    <a:pt x="624" y="221"/>
                  </a:lnTo>
                  <a:lnTo>
                    <a:pt x="618" y="219"/>
                  </a:lnTo>
                  <a:lnTo>
                    <a:pt x="614" y="217"/>
                  </a:lnTo>
                  <a:lnTo>
                    <a:pt x="610" y="214"/>
                  </a:lnTo>
                  <a:lnTo>
                    <a:pt x="607" y="211"/>
                  </a:lnTo>
                  <a:lnTo>
                    <a:pt x="603" y="206"/>
                  </a:lnTo>
                  <a:lnTo>
                    <a:pt x="601" y="202"/>
                  </a:lnTo>
                  <a:lnTo>
                    <a:pt x="598" y="198"/>
                  </a:lnTo>
                  <a:lnTo>
                    <a:pt x="597" y="193"/>
                  </a:lnTo>
                  <a:lnTo>
                    <a:pt x="595" y="187"/>
                  </a:lnTo>
                  <a:lnTo>
                    <a:pt x="594" y="182"/>
                  </a:lnTo>
                  <a:lnTo>
                    <a:pt x="593" y="176"/>
                  </a:lnTo>
                  <a:lnTo>
                    <a:pt x="593" y="169"/>
                  </a:lnTo>
                  <a:lnTo>
                    <a:pt x="593" y="55"/>
                  </a:lnTo>
                  <a:close/>
                  <a:moveTo>
                    <a:pt x="467" y="3"/>
                  </a:moveTo>
                  <a:lnTo>
                    <a:pt x="573" y="3"/>
                  </a:lnTo>
                  <a:lnTo>
                    <a:pt x="573" y="34"/>
                  </a:lnTo>
                  <a:lnTo>
                    <a:pt x="537" y="34"/>
                  </a:lnTo>
                  <a:lnTo>
                    <a:pt x="537" y="222"/>
                  </a:lnTo>
                  <a:lnTo>
                    <a:pt x="503" y="222"/>
                  </a:lnTo>
                  <a:lnTo>
                    <a:pt x="503" y="34"/>
                  </a:lnTo>
                  <a:lnTo>
                    <a:pt x="467" y="34"/>
                  </a:lnTo>
                  <a:lnTo>
                    <a:pt x="467" y="3"/>
                  </a:lnTo>
                  <a:close/>
                  <a:moveTo>
                    <a:pt x="348" y="3"/>
                  </a:moveTo>
                  <a:lnTo>
                    <a:pt x="454" y="3"/>
                  </a:lnTo>
                  <a:lnTo>
                    <a:pt x="454" y="34"/>
                  </a:lnTo>
                  <a:lnTo>
                    <a:pt x="417" y="34"/>
                  </a:lnTo>
                  <a:lnTo>
                    <a:pt x="417" y="222"/>
                  </a:lnTo>
                  <a:lnTo>
                    <a:pt x="383" y="222"/>
                  </a:lnTo>
                  <a:lnTo>
                    <a:pt x="383" y="34"/>
                  </a:lnTo>
                  <a:lnTo>
                    <a:pt x="348" y="34"/>
                  </a:lnTo>
                  <a:lnTo>
                    <a:pt x="348" y="3"/>
                  </a:lnTo>
                  <a:close/>
                  <a:moveTo>
                    <a:pt x="259" y="3"/>
                  </a:moveTo>
                  <a:lnTo>
                    <a:pt x="294" y="3"/>
                  </a:lnTo>
                  <a:lnTo>
                    <a:pt x="294" y="190"/>
                  </a:lnTo>
                  <a:lnTo>
                    <a:pt x="350" y="190"/>
                  </a:lnTo>
                  <a:lnTo>
                    <a:pt x="350" y="222"/>
                  </a:lnTo>
                  <a:lnTo>
                    <a:pt x="259" y="222"/>
                  </a:lnTo>
                  <a:lnTo>
                    <a:pt x="259" y="3"/>
                  </a:lnTo>
                  <a:close/>
                  <a:moveTo>
                    <a:pt x="159" y="171"/>
                  </a:moveTo>
                  <a:lnTo>
                    <a:pt x="159" y="177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1" y="185"/>
                  </a:lnTo>
                  <a:lnTo>
                    <a:pt x="164" y="188"/>
                  </a:lnTo>
                  <a:lnTo>
                    <a:pt x="167" y="190"/>
                  </a:lnTo>
                  <a:lnTo>
                    <a:pt x="169" y="193"/>
                  </a:lnTo>
                  <a:lnTo>
                    <a:pt x="173" y="193"/>
                  </a:lnTo>
                  <a:lnTo>
                    <a:pt x="176" y="194"/>
                  </a:lnTo>
                  <a:lnTo>
                    <a:pt x="180" y="193"/>
                  </a:lnTo>
                  <a:lnTo>
                    <a:pt x="184" y="193"/>
                  </a:lnTo>
                  <a:lnTo>
                    <a:pt x="187" y="190"/>
                  </a:lnTo>
                  <a:lnTo>
                    <a:pt x="190" y="188"/>
                  </a:lnTo>
                  <a:lnTo>
                    <a:pt x="192" y="185"/>
                  </a:lnTo>
                  <a:lnTo>
                    <a:pt x="193" y="182"/>
                  </a:lnTo>
                  <a:lnTo>
                    <a:pt x="194" y="177"/>
                  </a:lnTo>
                  <a:lnTo>
                    <a:pt x="194" y="171"/>
                  </a:lnTo>
                  <a:lnTo>
                    <a:pt x="194" y="53"/>
                  </a:lnTo>
                  <a:lnTo>
                    <a:pt x="194" y="48"/>
                  </a:lnTo>
                  <a:lnTo>
                    <a:pt x="193" y="43"/>
                  </a:lnTo>
                  <a:lnTo>
                    <a:pt x="192" y="41"/>
                  </a:lnTo>
                  <a:lnTo>
                    <a:pt x="192" y="39"/>
                  </a:lnTo>
                  <a:lnTo>
                    <a:pt x="190" y="36"/>
                  </a:lnTo>
                  <a:lnTo>
                    <a:pt x="187" y="34"/>
                  </a:lnTo>
                  <a:lnTo>
                    <a:pt x="184" y="33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3" y="32"/>
                  </a:lnTo>
                  <a:lnTo>
                    <a:pt x="169" y="33"/>
                  </a:lnTo>
                  <a:lnTo>
                    <a:pt x="167" y="34"/>
                  </a:lnTo>
                  <a:lnTo>
                    <a:pt x="164" y="36"/>
                  </a:lnTo>
                  <a:lnTo>
                    <a:pt x="161" y="39"/>
                  </a:lnTo>
                  <a:lnTo>
                    <a:pt x="160" y="43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9" y="171"/>
                  </a:lnTo>
                  <a:close/>
                  <a:moveTo>
                    <a:pt x="124" y="55"/>
                  </a:moveTo>
                  <a:lnTo>
                    <a:pt x="124" y="49"/>
                  </a:lnTo>
                  <a:lnTo>
                    <a:pt x="125" y="43"/>
                  </a:lnTo>
                  <a:lnTo>
                    <a:pt x="127" y="37"/>
                  </a:lnTo>
                  <a:lnTo>
                    <a:pt x="127" y="35"/>
                  </a:lnTo>
                  <a:lnTo>
                    <a:pt x="128" y="32"/>
                  </a:lnTo>
                  <a:lnTo>
                    <a:pt x="130" y="28"/>
                  </a:lnTo>
                  <a:lnTo>
                    <a:pt x="132" y="22"/>
                  </a:lnTo>
                  <a:lnTo>
                    <a:pt x="135" y="18"/>
                  </a:lnTo>
                  <a:lnTo>
                    <a:pt x="138" y="15"/>
                  </a:lnTo>
                  <a:lnTo>
                    <a:pt x="141" y="12"/>
                  </a:lnTo>
                  <a:lnTo>
                    <a:pt x="146" y="9"/>
                  </a:lnTo>
                  <a:lnTo>
                    <a:pt x="150" y="6"/>
                  </a:lnTo>
                  <a:lnTo>
                    <a:pt x="154" y="4"/>
                  </a:lnTo>
                  <a:lnTo>
                    <a:pt x="159" y="2"/>
                  </a:lnTo>
                  <a:lnTo>
                    <a:pt x="165" y="1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3" y="0"/>
                  </a:lnTo>
                  <a:lnTo>
                    <a:pt x="189" y="1"/>
                  </a:lnTo>
                  <a:lnTo>
                    <a:pt x="194" y="2"/>
                  </a:lnTo>
                  <a:lnTo>
                    <a:pt x="199" y="4"/>
                  </a:lnTo>
                  <a:lnTo>
                    <a:pt x="204" y="6"/>
                  </a:lnTo>
                  <a:lnTo>
                    <a:pt x="208" y="9"/>
                  </a:lnTo>
                  <a:lnTo>
                    <a:pt x="212" y="12"/>
                  </a:lnTo>
                  <a:lnTo>
                    <a:pt x="215" y="15"/>
                  </a:lnTo>
                  <a:lnTo>
                    <a:pt x="219" y="18"/>
                  </a:lnTo>
                  <a:lnTo>
                    <a:pt x="222" y="22"/>
                  </a:lnTo>
                  <a:lnTo>
                    <a:pt x="224" y="28"/>
                  </a:lnTo>
                  <a:lnTo>
                    <a:pt x="226" y="32"/>
                  </a:lnTo>
                  <a:lnTo>
                    <a:pt x="227" y="37"/>
                  </a:lnTo>
                  <a:lnTo>
                    <a:pt x="228" y="43"/>
                  </a:lnTo>
                  <a:lnTo>
                    <a:pt x="229" y="49"/>
                  </a:lnTo>
                  <a:lnTo>
                    <a:pt x="229" y="55"/>
                  </a:lnTo>
                  <a:lnTo>
                    <a:pt x="229" y="169"/>
                  </a:lnTo>
                  <a:lnTo>
                    <a:pt x="229" y="176"/>
                  </a:lnTo>
                  <a:lnTo>
                    <a:pt x="228" y="182"/>
                  </a:lnTo>
                  <a:lnTo>
                    <a:pt x="227" y="187"/>
                  </a:lnTo>
                  <a:lnTo>
                    <a:pt x="226" y="190"/>
                  </a:lnTo>
                  <a:lnTo>
                    <a:pt x="226" y="193"/>
                  </a:lnTo>
                  <a:lnTo>
                    <a:pt x="224" y="198"/>
                  </a:lnTo>
                  <a:lnTo>
                    <a:pt x="222" y="202"/>
                  </a:lnTo>
                  <a:lnTo>
                    <a:pt x="219" y="206"/>
                  </a:lnTo>
                  <a:lnTo>
                    <a:pt x="215" y="211"/>
                  </a:lnTo>
                  <a:lnTo>
                    <a:pt x="212" y="214"/>
                  </a:lnTo>
                  <a:lnTo>
                    <a:pt x="208" y="217"/>
                  </a:lnTo>
                  <a:lnTo>
                    <a:pt x="204" y="219"/>
                  </a:lnTo>
                  <a:lnTo>
                    <a:pt x="199" y="221"/>
                  </a:lnTo>
                  <a:lnTo>
                    <a:pt x="194" y="222"/>
                  </a:lnTo>
                  <a:lnTo>
                    <a:pt x="189" y="223"/>
                  </a:lnTo>
                  <a:lnTo>
                    <a:pt x="183" y="224"/>
                  </a:lnTo>
                  <a:lnTo>
                    <a:pt x="176" y="224"/>
                  </a:lnTo>
                  <a:lnTo>
                    <a:pt x="171" y="224"/>
                  </a:lnTo>
                  <a:lnTo>
                    <a:pt x="165" y="223"/>
                  </a:lnTo>
                  <a:lnTo>
                    <a:pt x="159" y="222"/>
                  </a:lnTo>
                  <a:lnTo>
                    <a:pt x="154" y="221"/>
                  </a:lnTo>
                  <a:lnTo>
                    <a:pt x="150" y="219"/>
                  </a:lnTo>
                  <a:lnTo>
                    <a:pt x="146" y="217"/>
                  </a:lnTo>
                  <a:lnTo>
                    <a:pt x="141" y="214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32" y="202"/>
                  </a:lnTo>
                  <a:lnTo>
                    <a:pt x="130" y="198"/>
                  </a:lnTo>
                  <a:lnTo>
                    <a:pt x="128" y="193"/>
                  </a:lnTo>
                  <a:lnTo>
                    <a:pt x="127" y="187"/>
                  </a:lnTo>
                  <a:lnTo>
                    <a:pt x="125" y="182"/>
                  </a:lnTo>
                  <a:lnTo>
                    <a:pt x="124" y="176"/>
                  </a:lnTo>
                  <a:lnTo>
                    <a:pt x="124" y="169"/>
                  </a:lnTo>
                  <a:lnTo>
                    <a:pt x="124" y="55"/>
                  </a:lnTo>
                  <a:close/>
                  <a:moveTo>
                    <a:pt x="35" y="34"/>
                  </a:moveTo>
                  <a:lnTo>
                    <a:pt x="35" y="108"/>
                  </a:lnTo>
                  <a:lnTo>
                    <a:pt x="50" y="108"/>
                  </a:lnTo>
                  <a:lnTo>
                    <a:pt x="55" y="108"/>
                  </a:lnTo>
                  <a:lnTo>
                    <a:pt x="58" y="107"/>
                  </a:lnTo>
                  <a:lnTo>
                    <a:pt x="61" y="106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66" y="97"/>
                  </a:lnTo>
                  <a:lnTo>
                    <a:pt x="67" y="93"/>
                  </a:lnTo>
                  <a:lnTo>
                    <a:pt x="67" y="88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6" y="44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1" y="36"/>
                  </a:lnTo>
                  <a:lnTo>
                    <a:pt x="58" y="35"/>
                  </a:lnTo>
                  <a:lnTo>
                    <a:pt x="55" y="34"/>
                  </a:lnTo>
                  <a:lnTo>
                    <a:pt x="50" y="34"/>
                  </a:lnTo>
                  <a:lnTo>
                    <a:pt x="35" y="34"/>
                  </a:lnTo>
                  <a:close/>
                  <a:moveTo>
                    <a:pt x="102" y="57"/>
                  </a:moveTo>
                  <a:lnTo>
                    <a:pt x="102" y="86"/>
                  </a:lnTo>
                  <a:lnTo>
                    <a:pt x="101" y="92"/>
                  </a:lnTo>
                  <a:lnTo>
                    <a:pt x="101" y="97"/>
                  </a:lnTo>
                  <a:lnTo>
                    <a:pt x="100" y="104"/>
                  </a:lnTo>
                  <a:lnTo>
                    <a:pt x="99" y="109"/>
                  </a:lnTo>
                  <a:lnTo>
                    <a:pt x="97" y="113"/>
                  </a:lnTo>
                  <a:lnTo>
                    <a:pt x="95" y="118"/>
                  </a:lnTo>
                  <a:lnTo>
                    <a:pt x="92" y="122"/>
                  </a:lnTo>
                  <a:lnTo>
                    <a:pt x="89" y="126"/>
                  </a:lnTo>
                  <a:lnTo>
                    <a:pt x="85" y="129"/>
                  </a:lnTo>
                  <a:lnTo>
                    <a:pt x="82" y="132"/>
                  </a:lnTo>
                  <a:lnTo>
                    <a:pt x="78" y="134"/>
                  </a:lnTo>
                  <a:lnTo>
                    <a:pt x="73" y="136"/>
                  </a:lnTo>
                  <a:lnTo>
                    <a:pt x="68" y="138"/>
                  </a:lnTo>
                  <a:lnTo>
                    <a:pt x="62" y="139"/>
                  </a:lnTo>
                  <a:lnTo>
                    <a:pt x="57" y="140"/>
                  </a:lnTo>
                  <a:lnTo>
                    <a:pt x="50" y="140"/>
                  </a:lnTo>
                  <a:lnTo>
                    <a:pt x="35" y="140"/>
                  </a:lnTo>
                  <a:lnTo>
                    <a:pt x="35" y="222"/>
                  </a:lnTo>
                  <a:lnTo>
                    <a:pt x="0" y="222"/>
                  </a:lnTo>
                  <a:lnTo>
                    <a:pt x="0" y="3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2" y="3"/>
                  </a:lnTo>
                  <a:lnTo>
                    <a:pt x="68" y="4"/>
                  </a:lnTo>
                  <a:lnTo>
                    <a:pt x="73" y="6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9" y="17"/>
                  </a:lnTo>
                  <a:lnTo>
                    <a:pt x="92" y="20"/>
                  </a:lnTo>
                  <a:lnTo>
                    <a:pt x="95" y="24"/>
                  </a:lnTo>
                  <a:lnTo>
                    <a:pt x="97" y="29"/>
                  </a:lnTo>
                  <a:lnTo>
                    <a:pt x="99" y="34"/>
                  </a:lnTo>
                  <a:lnTo>
                    <a:pt x="100" y="39"/>
                  </a:lnTo>
                  <a:lnTo>
                    <a:pt x="101" y="44"/>
                  </a:lnTo>
                  <a:lnTo>
                    <a:pt x="101" y="51"/>
                  </a:lnTo>
                  <a:lnTo>
                    <a:pt x="10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11494380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C3C14-52CB-4C05-89A1-9A83D1F4051A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2"/>
            <p:cNvSpPr>
              <a:spLocks noEditPoints="1"/>
            </p:cNvSpPr>
            <p:nvPr userDrawn="1"/>
          </p:nvSpPr>
          <p:spPr bwMode="auto">
            <a:xfrm>
              <a:off x="8841484" y="6473685"/>
              <a:ext cx="2006400" cy="211200"/>
            </a:xfrm>
            <a:custGeom>
              <a:avLst/>
              <a:gdLst>
                <a:gd name="T0" fmla="*/ 2042 w 2127"/>
                <a:gd name="T1" fmla="*/ 3 h 225"/>
                <a:gd name="T2" fmla="*/ 1959 w 2127"/>
                <a:gd name="T3" fmla="*/ 97 h 225"/>
                <a:gd name="T4" fmla="*/ 1943 w 2127"/>
                <a:gd name="T5" fmla="*/ 34 h 225"/>
                <a:gd name="T6" fmla="*/ 1982 w 2127"/>
                <a:gd name="T7" fmla="*/ 126 h 225"/>
                <a:gd name="T8" fmla="*/ 1893 w 2127"/>
                <a:gd name="T9" fmla="*/ 222 h 225"/>
                <a:gd name="T10" fmla="*/ 1985 w 2127"/>
                <a:gd name="T11" fmla="*/ 20 h 225"/>
                <a:gd name="T12" fmla="*/ 1820 w 2127"/>
                <a:gd name="T13" fmla="*/ 108 h 225"/>
                <a:gd name="T14" fmla="*/ 1830 w 2127"/>
                <a:gd name="T15" fmla="*/ 41 h 225"/>
                <a:gd name="T16" fmla="*/ 1865 w 2127"/>
                <a:gd name="T17" fmla="*/ 104 h 225"/>
                <a:gd name="T18" fmla="*/ 1828 w 2127"/>
                <a:gd name="T19" fmla="*/ 139 h 225"/>
                <a:gd name="T20" fmla="*/ 1839 w 2127"/>
                <a:gd name="T21" fmla="*/ 6 h 225"/>
                <a:gd name="T22" fmla="*/ 1867 w 2127"/>
                <a:gd name="T23" fmla="*/ 51 h 225"/>
                <a:gd name="T24" fmla="*/ 1680 w 2127"/>
                <a:gd name="T25" fmla="*/ 193 h 225"/>
                <a:gd name="T26" fmla="*/ 1734 w 2127"/>
                <a:gd name="T27" fmla="*/ 3 h 225"/>
                <a:gd name="T28" fmla="*/ 1714 w 2127"/>
                <a:gd name="T29" fmla="*/ 217 h 225"/>
                <a:gd name="T30" fmla="*/ 1660 w 2127"/>
                <a:gd name="T31" fmla="*/ 221 h 225"/>
                <a:gd name="T32" fmla="*/ 1631 w 2127"/>
                <a:gd name="T33" fmla="*/ 176 h 225"/>
                <a:gd name="T34" fmla="*/ 1526 w 2127"/>
                <a:gd name="T35" fmla="*/ 182 h 225"/>
                <a:gd name="T36" fmla="*/ 1394 w 2127"/>
                <a:gd name="T37" fmla="*/ 3 h 225"/>
                <a:gd name="T38" fmla="*/ 1271 w 2127"/>
                <a:gd name="T39" fmla="*/ 127 h 225"/>
                <a:gd name="T40" fmla="*/ 1214 w 2127"/>
                <a:gd name="T41" fmla="*/ 3 h 225"/>
                <a:gd name="T42" fmla="*/ 1056 w 2127"/>
                <a:gd name="T43" fmla="*/ 2 h 225"/>
                <a:gd name="T44" fmla="*/ 1089 w 2127"/>
                <a:gd name="T45" fmla="*/ 43 h 225"/>
                <a:gd name="T46" fmla="*/ 1048 w 2127"/>
                <a:gd name="T47" fmla="*/ 33 h 225"/>
                <a:gd name="T48" fmla="*/ 1022 w 2127"/>
                <a:gd name="T49" fmla="*/ 53 h 225"/>
                <a:gd name="T50" fmla="*/ 1074 w 2127"/>
                <a:gd name="T51" fmla="*/ 124 h 225"/>
                <a:gd name="T52" fmla="*/ 1085 w 2127"/>
                <a:gd name="T53" fmla="*/ 198 h 225"/>
                <a:gd name="T54" fmla="*/ 1044 w 2127"/>
                <a:gd name="T55" fmla="*/ 224 h 225"/>
                <a:gd name="T56" fmla="*/ 995 w 2127"/>
                <a:gd name="T57" fmla="*/ 202 h 225"/>
                <a:gd name="T58" fmla="*/ 1021 w 2127"/>
                <a:gd name="T59" fmla="*/ 182 h 225"/>
                <a:gd name="T60" fmla="*/ 1051 w 2127"/>
                <a:gd name="T61" fmla="*/ 188 h 225"/>
                <a:gd name="T62" fmla="*/ 1040 w 2127"/>
                <a:gd name="T63" fmla="*/ 138 h 225"/>
                <a:gd name="T64" fmla="*/ 988 w 2127"/>
                <a:gd name="T65" fmla="*/ 49 h 225"/>
                <a:gd name="T66" fmla="*/ 1013 w 2127"/>
                <a:gd name="T67" fmla="*/ 6 h 225"/>
                <a:gd name="T68" fmla="*/ 963 w 2127"/>
                <a:gd name="T69" fmla="*/ 190 h 225"/>
                <a:gd name="T70" fmla="*/ 727 w 2127"/>
                <a:gd name="T71" fmla="*/ 3 h 225"/>
                <a:gd name="T72" fmla="*/ 630 w 2127"/>
                <a:gd name="T73" fmla="*/ 184 h 225"/>
                <a:gd name="T74" fmla="*/ 661 w 2127"/>
                <a:gd name="T75" fmla="*/ 185 h 225"/>
                <a:gd name="T76" fmla="*/ 653 w 2127"/>
                <a:gd name="T77" fmla="*/ 33 h 225"/>
                <a:gd name="T78" fmla="*/ 628 w 2127"/>
                <a:gd name="T79" fmla="*/ 171 h 225"/>
                <a:gd name="T80" fmla="*/ 610 w 2127"/>
                <a:gd name="T81" fmla="*/ 12 h 225"/>
                <a:gd name="T82" fmla="*/ 668 w 2127"/>
                <a:gd name="T83" fmla="*/ 4 h 225"/>
                <a:gd name="T84" fmla="*/ 698 w 2127"/>
                <a:gd name="T85" fmla="*/ 49 h 225"/>
                <a:gd name="T86" fmla="*/ 684 w 2127"/>
                <a:gd name="T87" fmla="*/ 211 h 225"/>
                <a:gd name="T88" fmla="*/ 628 w 2127"/>
                <a:gd name="T89" fmla="*/ 222 h 225"/>
                <a:gd name="T90" fmla="*/ 594 w 2127"/>
                <a:gd name="T91" fmla="*/ 182 h 225"/>
                <a:gd name="T92" fmla="*/ 467 w 2127"/>
                <a:gd name="T93" fmla="*/ 34 h 225"/>
                <a:gd name="T94" fmla="*/ 259 w 2127"/>
                <a:gd name="T95" fmla="*/ 3 h 225"/>
                <a:gd name="T96" fmla="*/ 161 w 2127"/>
                <a:gd name="T97" fmla="*/ 185 h 225"/>
                <a:gd name="T98" fmla="*/ 193 w 2127"/>
                <a:gd name="T99" fmla="*/ 182 h 225"/>
                <a:gd name="T100" fmla="*/ 180 w 2127"/>
                <a:gd name="T101" fmla="*/ 32 h 225"/>
                <a:gd name="T102" fmla="*/ 124 w 2127"/>
                <a:gd name="T103" fmla="*/ 55 h 225"/>
                <a:gd name="T104" fmla="*/ 146 w 2127"/>
                <a:gd name="T105" fmla="*/ 9 h 225"/>
                <a:gd name="T106" fmla="*/ 204 w 2127"/>
                <a:gd name="T107" fmla="*/ 6 h 225"/>
                <a:gd name="T108" fmla="*/ 229 w 2127"/>
                <a:gd name="T109" fmla="*/ 55 h 225"/>
                <a:gd name="T110" fmla="*/ 212 w 2127"/>
                <a:gd name="T111" fmla="*/ 214 h 225"/>
                <a:gd name="T112" fmla="*/ 154 w 2127"/>
                <a:gd name="T113" fmla="*/ 221 h 225"/>
                <a:gd name="T114" fmla="*/ 124 w 2127"/>
                <a:gd name="T115" fmla="*/ 176 h 225"/>
                <a:gd name="T116" fmla="*/ 66 w 2127"/>
                <a:gd name="T117" fmla="*/ 97 h 225"/>
                <a:gd name="T118" fmla="*/ 50 w 2127"/>
                <a:gd name="T119" fmla="*/ 34 h 225"/>
                <a:gd name="T120" fmla="*/ 89 w 2127"/>
                <a:gd name="T121" fmla="*/ 126 h 225"/>
                <a:gd name="T122" fmla="*/ 0 w 2127"/>
                <a:gd name="T123" fmla="*/ 222 h 225"/>
                <a:gd name="T124" fmla="*/ 92 w 2127"/>
                <a:gd name="T125" fmla="*/ 2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7" h="225">
                  <a:moveTo>
                    <a:pt x="2049" y="152"/>
                  </a:moveTo>
                  <a:lnTo>
                    <a:pt x="2082" y="152"/>
                  </a:lnTo>
                  <a:lnTo>
                    <a:pt x="2066" y="41"/>
                  </a:lnTo>
                  <a:lnTo>
                    <a:pt x="2049" y="152"/>
                  </a:lnTo>
                  <a:close/>
                  <a:moveTo>
                    <a:pt x="2127" y="222"/>
                  </a:moveTo>
                  <a:lnTo>
                    <a:pt x="2092" y="222"/>
                  </a:lnTo>
                  <a:lnTo>
                    <a:pt x="2087" y="182"/>
                  </a:lnTo>
                  <a:lnTo>
                    <a:pt x="2045" y="182"/>
                  </a:lnTo>
                  <a:lnTo>
                    <a:pt x="2039" y="222"/>
                  </a:lnTo>
                  <a:lnTo>
                    <a:pt x="2007" y="222"/>
                  </a:lnTo>
                  <a:lnTo>
                    <a:pt x="2042" y="3"/>
                  </a:lnTo>
                  <a:lnTo>
                    <a:pt x="2092" y="3"/>
                  </a:lnTo>
                  <a:lnTo>
                    <a:pt x="2127" y="222"/>
                  </a:lnTo>
                  <a:close/>
                  <a:moveTo>
                    <a:pt x="1927" y="34"/>
                  </a:moveTo>
                  <a:lnTo>
                    <a:pt x="1927" y="108"/>
                  </a:lnTo>
                  <a:lnTo>
                    <a:pt x="1943" y="108"/>
                  </a:lnTo>
                  <a:lnTo>
                    <a:pt x="1948" y="108"/>
                  </a:lnTo>
                  <a:lnTo>
                    <a:pt x="1951" y="107"/>
                  </a:lnTo>
                  <a:lnTo>
                    <a:pt x="1954" y="106"/>
                  </a:lnTo>
                  <a:lnTo>
                    <a:pt x="1956" y="104"/>
                  </a:lnTo>
                  <a:lnTo>
                    <a:pt x="1958" y="102"/>
                  </a:lnTo>
                  <a:lnTo>
                    <a:pt x="1959" y="97"/>
                  </a:lnTo>
                  <a:lnTo>
                    <a:pt x="1960" y="93"/>
                  </a:lnTo>
                  <a:lnTo>
                    <a:pt x="1960" y="88"/>
                  </a:lnTo>
                  <a:lnTo>
                    <a:pt x="1960" y="55"/>
                  </a:lnTo>
                  <a:lnTo>
                    <a:pt x="1960" y="50"/>
                  </a:lnTo>
                  <a:lnTo>
                    <a:pt x="1959" y="44"/>
                  </a:lnTo>
                  <a:lnTo>
                    <a:pt x="1958" y="41"/>
                  </a:lnTo>
                  <a:lnTo>
                    <a:pt x="1956" y="38"/>
                  </a:lnTo>
                  <a:lnTo>
                    <a:pt x="1954" y="36"/>
                  </a:lnTo>
                  <a:lnTo>
                    <a:pt x="1951" y="35"/>
                  </a:lnTo>
                  <a:lnTo>
                    <a:pt x="1948" y="34"/>
                  </a:lnTo>
                  <a:lnTo>
                    <a:pt x="1943" y="34"/>
                  </a:lnTo>
                  <a:lnTo>
                    <a:pt x="1927" y="34"/>
                  </a:lnTo>
                  <a:close/>
                  <a:moveTo>
                    <a:pt x="1995" y="57"/>
                  </a:moveTo>
                  <a:lnTo>
                    <a:pt x="1995" y="86"/>
                  </a:lnTo>
                  <a:lnTo>
                    <a:pt x="1994" y="92"/>
                  </a:lnTo>
                  <a:lnTo>
                    <a:pt x="1994" y="97"/>
                  </a:lnTo>
                  <a:lnTo>
                    <a:pt x="1993" y="104"/>
                  </a:lnTo>
                  <a:lnTo>
                    <a:pt x="1992" y="109"/>
                  </a:lnTo>
                  <a:lnTo>
                    <a:pt x="1990" y="113"/>
                  </a:lnTo>
                  <a:lnTo>
                    <a:pt x="1988" y="118"/>
                  </a:lnTo>
                  <a:lnTo>
                    <a:pt x="1985" y="122"/>
                  </a:lnTo>
                  <a:lnTo>
                    <a:pt x="1982" y="126"/>
                  </a:lnTo>
                  <a:lnTo>
                    <a:pt x="1978" y="129"/>
                  </a:lnTo>
                  <a:lnTo>
                    <a:pt x="1975" y="132"/>
                  </a:lnTo>
                  <a:lnTo>
                    <a:pt x="1971" y="134"/>
                  </a:lnTo>
                  <a:lnTo>
                    <a:pt x="1966" y="136"/>
                  </a:lnTo>
                  <a:lnTo>
                    <a:pt x="1961" y="138"/>
                  </a:lnTo>
                  <a:lnTo>
                    <a:pt x="1955" y="139"/>
                  </a:lnTo>
                  <a:lnTo>
                    <a:pt x="1950" y="140"/>
                  </a:lnTo>
                  <a:lnTo>
                    <a:pt x="1943" y="140"/>
                  </a:lnTo>
                  <a:lnTo>
                    <a:pt x="1927" y="140"/>
                  </a:lnTo>
                  <a:lnTo>
                    <a:pt x="1927" y="222"/>
                  </a:lnTo>
                  <a:lnTo>
                    <a:pt x="1893" y="222"/>
                  </a:lnTo>
                  <a:lnTo>
                    <a:pt x="1893" y="3"/>
                  </a:lnTo>
                  <a:lnTo>
                    <a:pt x="1943" y="3"/>
                  </a:lnTo>
                  <a:lnTo>
                    <a:pt x="1950" y="3"/>
                  </a:lnTo>
                  <a:lnTo>
                    <a:pt x="1955" y="3"/>
                  </a:lnTo>
                  <a:lnTo>
                    <a:pt x="1961" y="4"/>
                  </a:lnTo>
                  <a:lnTo>
                    <a:pt x="1966" y="6"/>
                  </a:lnTo>
                  <a:lnTo>
                    <a:pt x="1971" y="9"/>
                  </a:lnTo>
                  <a:lnTo>
                    <a:pt x="1975" y="11"/>
                  </a:lnTo>
                  <a:lnTo>
                    <a:pt x="1978" y="14"/>
                  </a:lnTo>
                  <a:lnTo>
                    <a:pt x="1982" y="17"/>
                  </a:lnTo>
                  <a:lnTo>
                    <a:pt x="1985" y="20"/>
                  </a:lnTo>
                  <a:lnTo>
                    <a:pt x="1988" y="24"/>
                  </a:lnTo>
                  <a:lnTo>
                    <a:pt x="1990" y="29"/>
                  </a:lnTo>
                  <a:lnTo>
                    <a:pt x="1992" y="34"/>
                  </a:lnTo>
                  <a:lnTo>
                    <a:pt x="1993" y="39"/>
                  </a:lnTo>
                  <a:lnTo>
                    <a:pt x="1994" y="44"/>
                  </a:lnTo>
                  <a:lnTo>
                    <a:pt x="1994" y="51"/>
                  </a:lnTo>
                  <a:lnTo>
                    <a:pt x="1995" y="57"/>
                  </a:lnTo>
                  <a:close/>
                  <a:moveTo>
                    <a:pt x="1800" y="34"/>
                  </a:moveTo>
                  <a:lnTo>
                    <a:pt x="1800" y="108"/>
                  </a:lnTo>
                  <a:lnTo>
                    <a:pt x="1815" y="108"/>
                  </a:lnTo>
                  <a:lnTo>
                    <a:pt x="1820" y="108"/>
                  </a:lnTo>
                  <a:lnTo>
                    <a:pt x="1823" y="107"/>
                  </a:lnTo>
                  <a:lnTo>
                    <a:pt x="1826" y="106"/>
                  </a:lnTo>
                  <a:lnTo>
                    <a:pt x="1828" y="104"/>
                  </a:lnTo>
                  <a:lnTo>
                    <a:pt x="1830" y="102"/>
                  </a:lnTo>
                  <a:lnTo>
                    <a:pt x="1831" y="97"/>
                  </a:lnTo>
                  <a:lnTo>
                    <a:pt x="1832" y="93"/>
                  </a:lnTo>
                  <a:lnTo>
                    <a:pt x="1833" y="88"/>
                  </a:lnTo>
                  <a:lnTo>
                    <a:pt x="1833" y="55"/>
                  </a:lnTo>
                  <a:lnTo>
                    <a:pt x="1832" y="50"/>
                  </a:lnTo>
                  <a:lnTo>
                    <a:pt x="1831" y="44"/>
                  </a:lnTo>
                  <a:lnTo>
                    <a:pt x="1830" y="41"/>
                  </a:lnTo>
                  <a:lnTo>
                    <a:pt x="1828" y="38"/>
                  </a:lnTo>
                  <a:lnTo>
                    <a:pt x="1826" y="36"/>
                  </a:lnTo>
                  <a:lnTo>
                    <a:pt x="1823" y="35"/>
                  </a:lnTo>
                  <a:lnTo>
                    <a:pt x="1820" y="34"/>
                  </a:lnTo>
                  <a:lnTo>
                    <a:pt x="1815" y="34"/>
                  </a:lnTo>
                  <a:lnTo>
                    <a:pt x="1800" y="34"/>
                  </a:lnTo>
                  <a:close/>
                  <a:moveTo>
                    <a:pt x="1867" y="57"/>
                  </a:moveTo>
                  <a:lnTo>
                    <a:pt x="1867" y="86"/>
                  </a:lnTo>
                  <a:lnTo>
                    <a:pt x="1867" y="92"/>
                  </a:lnTo>
                  <a:lnTo>
                    <a:pt x="1866" y="97"/>
                  </a:lnTo>
                  <a:lnTo>
                    <a:pt x="1865" y="104"/>
                  </a:lnTo>
                  <a:lnTo>
                    <a:pt x="1864" y="109"/>
                  </a:lnTo>
                  <a:lnTo>
                    <a:pt x="1862" y="113"/>
                  </a:lnTo>
                  <a:lnTo>
                    <a:pt x="1860" y="118"/>
                  </a:lnTo>
                  <a:lnTo>
                    <a:pt x="1858" y="122"/>
                  </a:lnTo>
                  <a:lnTo>
                    <a:pt x="1855" y="126"/>
                  </a:lnTo>
                  <a:lnTo>
                    <a:pt x="1851" y="129"/>
                  </a:lnTo>
                  <a:lnTo>
                    <a:pt x="1847" y="132"/>
                  </a:lnTo>
                  <a:lnTo>
                    <a:pt x="1843" y="134"/>
                  </a:lnTo>
                  <a:lnTo>
                    <a:pt x="1839" y="136"/>
                  </a:lnTo>
                  <a:lnTo>
                    <a:pt x="1833" y="138"/>
                  </a:lnTo>
                  <a:lnTo>
                    <a:pt x="1828" y="139"/>
                  </a:lnTo>
                  <a:lnTo>
                    <a:pt x="1822" y="140"/>
                  </a:lnTo>
                  <a:lnTo>
                    <a:pt x="1815" y="140"/>
                  </a:lnTo>
                  <a:lnTo>
                    <a:pt x="1800" y="140"/>
                  </a:lnTo>
                  <a:lnTo>
                    <a:pt x="1800" y="222"/>
                  </a:lnTo>
                  <a:lnTo>
                    <a:pt x="1766" y="222"/>
                  </a:lnTo>
                  <a:lnTo>
                    <a:pt x="1766" y="3"/>
                  </a:lnTo>
                  <a:lnTo>
                    <a:pt x="1815" y="3"/>
                  </a:lnTo>
                  <a:lnTo>
                    <a:pt x="1822" y="3"/>
                  </a:lnTo>
                  <a:lnTo>
                    <a:pt x="1828" y="3"/>
                  </a:lnTo>
                  <a:lnTo>
                    <a:pt x="1833" y="4"/>
                  </a:lnTo>
                  <a:lnTo>
                    <a:pt x="1839" y="6"/>
                  </a:lnTo>
                  <a:lnTo>
                    <a:pt x="1843" y="9"/>
                  </a:lnTo>
                  <a:lnTo>
                    <a:pt x="1847" y="11"/>
                  </a:lnTo>
                  <a:lnTo>
                    <a:pt x="1851" y="14"/>
                  </a:lnTo>
                  <a:lnTo>
                    <a:pt x="1855" y="17"/>
                  </a:lnTo>
                  <a:lnTo>
                    <a:pt x="1858" y="20"/>
                  </a:lnTo>
                  <a:lnTo>
                    <a:pt x="1860" y="24"/>
                  </a:lnTo>
                  <a:lnTo>
                    <a:pt x="1862" y="29"/>
                  </a:lnTo>
                  <a:lnTo>
                    <a:pt x="1864" y="34"/>
                  </a:lnTo>
                  <a:lnTo>
                    <a:pt x="1865" y="39"/>
                  </a:lnTo>
                  <a:lnTo>
                    <a:pt x="1866" y="44"/>
                  </a:lnTo>
                  <a:lnTo>
                    <a:pt x="1867" y="51"/>
                  </a:lnTo>
                  <a:lnTo>
                    <a:pt x="1867" y="57"/>
                  </a:lnTo>
                  <a:close/>
                  <a:moveTo>
                    <a:pt x="1665" y="3"/>
                  </a:moveTo>
                  <a:lnTo>
                    <a:pt x="1665" y="172"/>
                  </a:lnTo>
                  <a:lnTo>
                    <a:pt x="1666" y="178"/>
                  </a:lnTo>
                  <a:lnTo>
                    <a:pt x="1667" y="182"/>
                  </a:lnTo>
                  <a:lnTo>
                    <a:pt x="1667" y="184"/>
                  </a:lnTo>
                  <a:lnTo>
                    <a:pt x="1668" y="185"/>
                  </a:lnTo>
                  <a:lnTo>
                    <a:pt x="1671" y="188"/>
                  </a:lnTo>
                  <a:lnTo>
                    <a:pt x="1673" y="190"/>
                  </a:lnTo>
                  <a:lnTo>
                    <a:pt x="1676" y="193"/>
                  </a:lnTo>
                  <a:lnTo>
                    <a:pt x="1680" y="193"/>
                  </a:lnTo>
                  <a:lnTo>
                    <a:pt x="1683" y="194"/>
                  </a:lnTo>
                  <a:lnTo>
                    <a:pt x="1687" y="193"/>
                  </a:lnTo>
                  <a:lnTo>
                    <a:pt x="1691" y="193"/>
                  </a:lnTo>
                  <a:lnTo>
                    <a:pt x="1694" y="190"/>
                  </a:lnTo>
                  <a:lnTo>
                    <a:pt x="1697" y="188"/>
                  </a:lnTo>
                  <a:lnTo>
                    <a:pt x="1698" y="185"/>
                  </a:lnTo>
                  <a:lnTo>
                    <a:pt x="1700" y="182"/>
                  </a:lnTo>
                  <a:lnTo>
                    <a:pt x="1701" y="178"/>
                  </a:lnTo>
                  <a:lnTo>
                    <a:pt x="1701" y="172"/>
                  </a:lnTo>
                  <a:lnTo>
                    <a:pt x="1701" y="3"/>
                  </a:lnTo>
                  <a:lnTo>
                    <a:pt x="1734" y="3"/>
                  </a:lnTo>
                  <a:lnTo>
                    <a:pt x="1734" y="169"/>
                  </a:lnTo>
                  <a:lnTo>
                    <a:pt x="1734" y="176"/>
                  </a:lnTo>
                  <a:lnTo>
                    <a:pt x="1733" y="182"/>
                  </a:lnTo>
                  <a:lnTo>
                    <a:pt x="1732" y="188"/>
                  </a:lnTo>
                  <a:lnTo>
                    <a:pt x="1731" y="194"/>
                  </a:lnTo>
                  <a:lnTo>
                    <a:pt x="1729" y="198"/>
                  </a:lnTo>
                  <a:lnTo>
                    <a:pt x="1727" y="203"/>
                  </a:lnTo>
                  <a:lnTo>
                    <a:pt x="1723" y="206"/>
                  </a:lnTo>
                  <a:lnTo>
                    <a:pt x="1721" y="211"/>
                  </a:lnTo>
                  <a:lnTo>
                    <a:pt x="1717" y="214"/>
                  </a:lnTo>
                  <a:lnTo>
                    <a:pt x="1714" y="217"/>
                  </a:lnTo>
                  <a:lnTo>
                    <a:pt x="1712" y="218"/>
                  </a:lnTo>
                  <a:lnTo>
                    <a:pt x="1710" y="219"/>
                  </a:lnTo>
                  <a:lnTo>
                    <a:pt x="1704" y="221"/>
                  </a:lnTo>
                  <a:lnTo>
                    <a:pt x="1700" y="223"/>
                  </a:lnTo>
                  <a:lnTo>
                    <a:pt x="1695" y="224"/>
                  </a:lnTo>
                  <a:lnTo>
                    <a:pt x="1688" y="224"/>
                  </a:lnTo>
                  <a:lnTo>
                    <a:pt x="1682" y="225"/>
                  </a:lnTo>
                  <a:lnTo>
                    <a:pt x="1677" y="224"/>
                  </a:lnTo>
                  <a:lnTo>
                    <a:pt x="1671" y="224"/>
                  </a:lnTo>
                  <a:lnTo>
                    <a:pt x="1665" y="223"/>
                  </a:lnTo>
                  <a:lnTo>
                    <a:pt x="1660" y="221"/>
                  </a:lnTo>
                  <a:lnTo>
                    <a:pt x="1656" y="219"/>
                  </a:lnTo>
                  <a:lnTo>
                    <a:pt x="1651" y="217"/>
                  </a:lnTo>
                  <a:lnTo>
                    <a:pt x="1647" y="214"/>
                  </a:lnTo>
                  <a:lnTo>
                    <a:pt x="1644" y="211"/>
                  </a:lnTo>
                  <a:lnTo>
                    <a:pt x="1641" y="206"/>
                  </a:lnTo>
                  <a:lnTo>
                    <a:pt x="1639" y="203"/>
                  </a:lnTo>
                  <a:lnTo>
                    <a:pt x="1637" y="198"/>
                  </a:lnTo>
                  <a:lnTo>
                    <a:pt x="1635" y="194"/>
                  </a:lnTo>
                  <a:lnTo>
                    <a:pt x="1632" y="188"/>
                  </a:lnTo>
                  <a:lnTo>
                    <a:pt x="1632" y="182"/>
                  </a:lnTo>
                  <a:lnTo>
                    <a:pt x="1631" y="176"/>
                  </a:lnTo>
                  <a:lnTo>
                    <a:pt x="1631" y="169"/>
                  </a:lnTo>
                  <a:lnTo>
                    <a:pt x="1631" y="3"/>
                  </a:lnTo>
                  <a:lnTo>
                    <a:pt x="1665" y="3"/>
                  </a:lnTo>
                  <a:close/>
                  <a:moveTo>
                    <a:pt x="1530" y="152"/>
                  </a:moveTo>
                  <a:lnTo>
                    <a:pt x="1564" y="152"/>
                  </a:lnTo>
                  <a:lnTo>
                    <a:pt x="1547" y="41"/>
                  </a:lnTo>
                  <a:lnTo>
                    <a:pt x="1530" y="152"/>
                  </a:lnTo>
                  <a:close/>
                  <a:moveTo>
                    <a:pt x="1609" y="222"/>
                  </a:moveTo>
                  <a:lnTo>
                    <a:pt x="1574" y="222"/>
                  </a:lnTo>
                  <a:lnTo>
                    <a:pt x="1568" y="182"/>
                  </a:lnTo>
                  <a:lnTo>
                    <a:pt x="1526" y="182"/>
                  </a:lnTo>
                  <a:lnTo>
                    <a:pt x="1520" y="222"/>
                  </a:lnTo>
                  <a:lnTo>
                    <a:pt x="1489" y="222"/>
                  </a:lnTo>
                  <a:lnTo>
                    <a:pt x="1524" y="3"/>
                  </a:lnTo>
                  <a:lnTo>
                    <a:pt x="1574" y="3"/>
                  </a:lnTo>
                  <a:lnTo>
                    <a:pt x="1609" y="222"/>
                  </a:lnTo>
                  <a:close/>
                  <a:moveTo>
                    <a:pt x="1405" y="134"/>
                  </a:moveTo>
                  <a:lnTo>
                    <a:pt x="1394" y="154"/>
                  </a:lnTo>
                  <a:lnTo>
                    <a:pt x="1394" y="222"/>
                  </a:lnTo>
                  <a:lnTo>
                    <a:pt x="1360" y="222"/>
                  </a:lnTo>
                  <a:lnTo>
                    <a:pt x="1360" y="3"/>
                  </a:lnTo>
                  <a:lnTo>
                    <a:pt x="1394" y="3"/>
                  </a:lnTo>
                  <a:lnTo>
                    <a:pt x="1394" y="98"/>
                  </a:lnTo>
                  <a:lnTo>
                    <a:pt x="1440" y="3"/>
                  </a:lnTo>
                  <a:lnTo>
                    <a:pt x="1474" y="3"/>
                  </a:lnTo>
                  <a:lnTo>
                    <a:pt x="1426" y="101"/>
                  </a:lnTo>
                  <a:lnTo>
                    <a:pt x="1474" y="222"/>
                  </a:lnTo>
                  <a:lnTo>
                    <a:pt x="1439" y="222"/>
                  </a:lnTo>
                  <a:lnTo>
                    <a:pt x="1405" y="134"/>
                  </a:lnTo>
                  <a:close/>
                  <a:moveTo>
                    <a:pt x="1271" y="95"/>
                  </a:moveTo>
                  <a:lnTo>
                    <a:pt x="1318" y="95"/>
                  </a:lnTo>
                  <a:lnTo>
                    <a:pt x="1318" y="127"/>
                  </a:lnTo>
                  <a:lnTo>
                    <a:pt x="1271" y="127"/>
                  </a:lnTo>
                  <a:lnTo>
                    <a:pt x="1271" y="190"/>
                  </a:lnTo>
                  <a:lnTo>
                    <a:pt x="1331" y="190"/>
                  </a:lnTo>
                  <a:lnTo>
                    <a:pt x="1331" y="222"/>
                  </a:lnTo>
                  <a:lnTo>
                    <a:pt x="1237" y="222"/>
                  </a:lnTo>
                  <a:lnTo>
                    <a:pt x="1237" y="3"/>
                  </a:lnTo>
                  <a:lnTo>
                    <a:pt x="1331" y="3"/>
                  </a:lnTo>
                  <a:lnTo>
                    <a:pt x="1331" y="34"/>
                  </a:lnTo>
                  <a:lnTo>
                    <a:pt x="1271" y="34"/>
                  </a:lnTo>
                  <a:lnTo>
                    <a:pt x="1271" y="95"/>
                  </a:lnTo>
                  <a:close/>
                  <a:moveTo>
                    <a:pt x="1108" y="3"/>
                  </a:moveTo>
                  <a:lnTo>
                    <a:pt x="1214" y="3"/>
                  </a:lnTo>
                  <a:lnTo>
                    <a:pt x="1214" y="34"/>
                  </a:lnTo>
                  <a:lnTo>
                    <a:pt x="1178" y="34"/>
                  </a:lnTo>
                  <a:lnTo>
                    <a:pt x="1178" y="222"/>
                  </a:lnTo>
                  <a:lnTo>
                    <a:pt x="1144" y="222"/>
                  </a:lnTo>
                  <a:lnTo>
                    <a:pt x="1144" y="34"/>
                  </a:lnTo>
                  <a:lnTo>
                    <a:pt x="1108" y="34"/>
                  </a:lnTo>
                  <a:lnTo>
                    <a:pt x="1108" y="3"/>
                  </a:lnTo>
                  <a:close/>
                  <a:moveTo>
                    <a:pt x="1039" y="0"/>
                  </a:moveTo>
                  <a:lnTo>
                    <a:pt x="1044" y="0"/>
                  </a:lnTo>
                  <a:lnTo>
                    <a:pt x="1051" y="1"/>
                  </a:lnTo>
                  <a:lnTo>
                    <a:pt x="1056" y="2"/>
                  </a:lnTo>
                  <a:lnTo>
                    <a:pt x="1061" y="4"/>
                  </a:lnTo>
                  <a:lnTo>
                    <a:pt x="1066" y="6"/>
                  </a:lnTo>
                  <a:lnTo>
                    <a:pt x="1070" y="9"/>
                  </a:lnTo>
                  <a:lnTo>
                    <a:pt x="1073" y="12"/>
                  </a:lnTo>
                  <a:lnTo>
                    <a:pt x="1077" y="15"/>
                  </a:lnTo>
                  <a:lnTo>
                    <a:pt x="1079" y="18"/>
                  </a:lnTo>
                  <a:lnTo>
                    <a:pt x="1083" y="22"/>
                  </a:lnTo>
                  <a:lnTo>
                    <a:pt x="1085" y="28"/>
                  </a:lnTo>
                  <a:lnTo>
                    <a:pt x="1087" y="32"/>
                  </a:lnTo>
                  <a:lnTo>
                    <a:pt x="1088" y="37"/>
                  </a:lnTo>
                  <a:lnTo>
                    <a:pt x="1089" y="43"/>
                  </a:lnTo>
                  <a:lnTo>
                    <a:pt x="1090" y="49"/>
                  </a:lnTo>
                  <a:lnTo>
                    <a:pt x="1090" y="55"/>
                  </a:lnTo>
                  <a:lnTo>
                    <a:pt x="1090" y="62"/>
                  </a:lnTo>
                  <a:lnTo>
                    <a:pt x="1057" y="62"/>
                  </a:lnTo>
                  <a:lnTo>
                    <a:pt x="1057" y="53"/>
                  </a:lnTo>
                  <a:lnTo>
                    <a:pt x="1057" y="48"/>
                  </a:lnTo>
                  <a:lnTo>
                    <a:pt x="1056" y="43"/>
                  </a:lnTo>
                  <a:lnTo>
                    <a:pt x="1054" y="39"/>
                  </a:lnTo>
                  <a:lnTo>
                    <a:pt x="1053" y="36"/>
                  </a:lnTo>
                  <a:lnTo>
                    <a:pt x="1050" y="34"/>
                  </a:lnTo>
                  <a:lnTo>
                    <a:pt x="1048" y="33"/>
                  </a:lnTo>
                  <a:lnTo>
                    <a:pt x="1043" y="32"/>
                  </a:lnTo>
                  <a:lnTo>
                    <a:pt x="1040" y="32"/>
                  </a:lnTo>
                  <a:lnTo>
                    <a:pt x="1036" y="32"/>
                  </a:lnTo>
                  <a:lnTo>
                    <a:pt x="1033" y="33"/>
                  </a:lnTo>
                  <a:lnTo>
                    <a:pt x="1031" y="34"/>
                  </a:lnTo>
                  <a:lnTo>
                    <a:pt x="1030" y="34"/>
                  </a:lnTo>
                  <a:lnTo>
                    <a:pt x="1028" y="36"/>
                  </a:lnTo>
                  <a:lnTo>
                    <a:pt x="1025" y="39"/>
                  </a:lnTo>
                  <a:lnTo>
                    <a:pt x="1023" y="43"/>
                  </a:lnTo>
                  <a:lnTo>
                    <a:pt x="1023" y="48"/>
                  </a:lnTo>
                  <a:lnTo>
                    <a:pt x="1022" y="53"/>
                  </a:lnTo>
                  <a:lnTo>
                    <a:pt x="1022" y="57"/>
                  </a:lnTo>
                  <a:lnTo>
                    <a:pt x="1023" y="61"/>
                  </a:lnTo>
                  <a:lnTo>
                    <a:pt x="1025" y="69"/>
                  </a:lnTo>
                  <a:lnTo>
                    <a:pt x="1026" y="72"/>
                  </a:lnTo>
                  <a:lnTo>
                    <a:pt x="1029" y="75"/>
                  </a:lnTo>
                  <a:lnTo>
                    <a:pt x="1033" y="81"/>
                  </a:lnTo>
                  <a:lnTo>
                    <a:pt x="1038" y="88"/>
                  </a:lnTo>
                  <a:lnTo>
                    <a:pt x="1043" y="93"/>
                  </a:lnTo>
                  <a:lnTo>
                    <a:pt x="1056" y="105"/>
                  </a:lnTo>
                  <a:lnTo>
                    <a:pt x="1069" y="117"/>
                  </a:lnTo>
                  <a:lnTo>
                    <a:pt x="1074" y="124"/>
                  </a:lnTo>
                  <a:lnTo>
                    <a:pt x="1079" y="131"/>
                  </a:lnTo>
                  <a:lnTo>
                    <a:pt x="1084" y="140"/>
                  </a:lnTo>
                  <a:lnTo>
                    <a:pt x="1087" y="148"/>
                  </a:lnTo>
                  <a:lnTo>
                    <a:pt x="1089" y="159"/>
                  </a:lnTo>
                  <a:lnTo>
                    <a:pt x="1090" y="164"/>
                  </a:lnTo>
                  <a:lnTo>
                    <a:pt x="1090" y="169"/>
                  </a:lnTo>
                  <a:lnTo>
                    <a:pt x="1090" y="176"/>
                  </a:lnTo>
                  <a:lnTo>
                    <a:pt x="1089" y="182"/>
                  </a:lnTo>
                  <a:lnTo>
                    <a:pt x="1088" y="187"/>
                  </a:lnTo>
                  <a:lnTo>
                    <a:pt x="1087" y="193"/>
                  </a:lnTo>
                  <a:lnTo>
                    <a:pt x="1085" y="198"/>
                  </a:lnTo>
                  <a:lnTo>
                    <a:pt x="1083" y="202"/>
                  </a:lnTo>
                  <a:lnTo>
                    <a:pt x="1080" y="206"/>
                  </a:lnTo>
                  <a:lnTo>
                    <a:pt x="1077" y="211"/>
                  </a:lnTo>
                  <a:lnTo>
                    <a:pt x="1073" y="214"/>
                  </a:lnTo>
                  <a:lnTo>
                    <a:pt x="1070" y="217"/>
                  </a:lnTo>
                  <a:lnTo>
                    <a:pt x="1068" y="218"/>
                  </a:lnTo>
                  <a:lnTo>
                    <a:pt x="1066" y="219"/>
                  </a:lnTo>
                  <a:lnTo>
                    <a:pt x="1061" y="221"/>
                  </a:lnTo>
                  <a:lnTo>
                    <a:pt x="1056" y="222"/>
                  </a:lnTo>
                  <a:lnTo>
                    <a:pt x="1051" y="223"/>
                  </a:lnTo>
                  <a:lnTo>
                    <a:pt x="1044" y="224"/>
                  </a:lnTo>
                  <a:lnTo>
                    <a:pt x="1038" y="224"/>
                  </a:lnTo>
                  <a:lnTo>
                    <a:pt x="1033" y="224"/>
                  </a:lnTo>
                  <a:lnTo>
                    <a:pt x="1026" y="223"/>
                  </a:lnTo>
                  <a:lnTo>
                    <a:pt x="1021" y="222"/>
                  </a:lnTo>
                  <a:lnTo>
                    <a:pt x="1016" y="221"/>
                  </a:lnTo>
                  <a:lnTo>
                    <a:pt x="1012" y="219"/>
                  </a:lnTo>
                  <a:lnTo>
                    <a:pt x="1007" y="217"/>
                  </a:lnTo>
                  <a:lnTo>
                    <a:pt x="1003" y="214"/>
                  </a:lnTo>
                  <a:lnTo>
                    <a:pt x="1000" y="211"/>
                  </a:lnTo>
                  <a:lnTo>
                    <a:pt x="997" y="206"/>
                  </a:lnTo>
                  <a:lnTo>
                    <a:pt x="995" y="202"/>
                  </a:lnTo>
                  <a:lnTo>
                    <a:pt x="993" y="198"/>
                  </a:lnTo>
                  <a:lnTo>
                    <a:pt x="991" y="193"/>
                  </a:lnTo>
                  <a:lnTo>
                    <a:pt x="989" y="187"/>
                  </a:lnTo>
                  <a:lnTo>
                    <a:pt x="988" y="182"/>
                  </a:lnTo>
                  <a:lnTo>
                    <a:pt x="987" y="176"/>
                  </a:lnTo>
                  <a:lnTo>
                    <a:pt x="987" y="169"/>
                  </a:lnTo>
                  <a:lnTo>
                    <a:pt x="987" y="156"/>
                  </a:lnTo>
                  <a:lnTo>
                    <a:pt x="1020" y="156"/>
                  </a:lnTo>
                  <a:lnTo>
                    <a:pt x="1020" y="171"/>
                  </a:lnTo>
                  <a:lnTo>
                    <a:pt x="1020" y="177"/>
                  </a:lnTo>
                  <a:lnTo>
                    <a:pt x="1021" y="182"/>
                  </a:lnTo>
                  <a:lnTo>
                    <a:pt x="1021" y="183"/>
                  </a:lnTo>
                  <a:lnTo>
                    <a:pt x="1022" y="185"/>
                  </a:lnTo>
                  <a:lnTo>
                    <a:pt x="1024" y="188"/>
                  </a:lnTo>
                  <a:lnTo>
                    <a:pt x="1028" y="190"/>
                  </a:lnTo>
                  <a:lnTo>
                    <a:pt x="1031" y="191"/>
                  </a:lnTo>
                  <a:lnTo>
                    <a:pt x="1034" y="193"/>
                  </a:lnTo>
                  <a:lnTo>
                    <a:pt x="1038" y="193"/>
                  </a:lnTo>
                  <a:lnTo>
                    <a:pt x="1041" y="193"/>
                  </a:lnTo>
                  <a:lnTo>
                    <a:pt x="1046" y="191"/>
                  </a:lnTo>
                  <a:lnTo>
                    <a:pt x="1048" y="190"/>
                  </a:lnTo>
                  <a:lnTo>
                    <a:pt x="1051" y="188"/>
                  </a:lnTo>
                  <a:lnTo>
                    <a:pt x="1053" y="185"/>
                  </a:lnTo>
                  <a:lnTo>
                    <a:pt x="1054" y="182"/>
                  </a:lnTo>
                  <a:lnTo>
                    <a:pt x="1055" y="177"/>
                  </a:lnTo>
                  <a:lnTo>
                    <a:pt x="1055" y="171"/>
                  </a:lnTo>
                  <a:lnTo>
                    <a:pt x="1055" y="167"/>
                  </a:lnTo>
                  <a:lnTo>
                    <a:pt x="1055" y="164"/>
                  </a:lnTo>
                  <a:lnTo>
                    <a:pt x="1053" y="157"/>
                  </a:lnTo>
                  <a:lnTo>
                    <a:pt x="1051" y="152"/>
                  </a:lnTo>
                  <a:lnTo>
                    <a:pt x="1050" y="149"/>
                  </a:lnTo>
                  <a:lnTo>
                    <a:pt x="1044" y="143"/>
                  </a:lnTo>
                  <a:lnTo>
                    <a:pt x="1040" y="138"/>
                  </a:lnTo>
                  <a:lnTo>
                    <a:pt x="1034" y="131"/>
                  </a:lnTo>
                  <a:lnTo>
                    <a:pt x="1022" y="120"/>
                  </a:lnTo>
                  <a:lnTo>
                    <a:pt x="1010" y="108"/>
                  </a:lnTo>
                  <a:lnTo>
                    <a:pt x="1003" y="101"/>
                  </a:lnTo>
                  <a:lnTo>
                    <a:pt x="999" y="93"/>
                  </a:lnTo>
                  <a:lnTo>
                    <a:pt x="995" y="86"/>
                  </a:lnTo>
                  <a:lnTo>
                    <a:pt x="991" y="76"/>
                  </a:lnTo>
                  <a:lnTo>
                    <a:pt x="988" y="67"/>
                  </a:lnTo>
                  <a:lnTo>
                    <a:pt x="988" y="61"/>
                  </a:lnTo>
                  <a:lnTo>
                    <a:pt x="988" y="55"/>
                  </a:lnTo>
                  <a:lnTo>
                    <a:pt x="988" y="49"/>
                  </a:lnTo>
                  <a:lnTo>
                    <a:pt x="988" y="43"/>
                  </a:lnTo>
                  <a:lnTo>
                    <a:pt x="989" y="37"/>
                  </a:lnTo>
                  <a:lnTo>
                    <a:pt x="992" y="32"/>
                  </a:lnTo>
                  <a:lnTo>
                    <a:pt x="993" y="28"/>
                  </a:lnTo>
                  <a:lnTo>
                    <a:pt x="996" y="22"/>
                  </a:lnTo>
                  <a:lnTo>
                    <a:pt x="998" y="18"/>
                  </a:lnTo>
                  <a:lnTo>
                    <a:pt x="1001" y="15"/>
                  </a:lnTo>
                  <a:lnTo>
                    <a:pt x="1004" y="12"/>
                  </a:lnTo>
                  <a:lnTo>
                    <a:pt x="1008" y="9"/>
                  </a:lnTo>
                  <a:lnTo>
                    <a:pt x="1011" y="7"/>
                  </a:lnTo>
                  <a:lnTo>
                    <a:pt x="1013" y="6"/>
                  </a:lnTo>
                  <a:lnTo>
                    <a:pt x="1017" y="4"/>
                  </a:lnTo>
                  <a:lnTo>
                    <a:pt x="1022" y="2"/>
                  </a:lnTo>
                  <a:lnTo>
                    <a:pt x="1028" y="1"/>
                  </a:lnTo>
                  <a:lnTo>
                    <a:pt x="1033" y="0"/>
                  </a:lnTo>
                  <a:lnTo>
                    <a:pt x="1039" y="0"/>
                  </a:lnTo>
                  <a:close/>
                  <a:moveTo>
                    <a:pt x="904" y="95"/>
                  </a:moveTo>
                  <a:lnTo>
                    <a:pt x="951" y="95"/>
                  </a:lnTo>
                  <a:lnTo>
                    <a:pt x="951" y="127"/>
                  </a:lnTo>
                  <a:lnTo>
                    <a:pt x="904" y="127"/>
                  </a:lnTo>
                  <a:lnTo>
                    <a:pt x="904" y="190"/>
                  </a:lnTo>
                  <a:lnTo>
                    <a:pt x="963" y="190"/>
                  </a:lnTo>
                  <a:lnTo>
                    <a:pt x="963" y="222"/>
                  </a:lnTo>
                  <a:lnTo>
                    <a:pt x="870" y="222"/>
                  </a:lnTo>
                  <a:lnTo>
                    <a:pt x="870" y="3"/>
                  </a:lnTo>
                  <a:lnTo>
                    <a:pt x="963" y="3"/>
                  </a:lnTo>
                  <a:lnTo>
                    <a:pt x="963" y="34"/>
                  </a:lnTo>
                  <a:lnTo>
                    <a:pt x="904" y="34"/>
                  </a:lnTo>
                  <a:lnTo>
                    <a:pt x="904" y="95"/>
                  </a:lnTo>
                  <a:close/>
                  <a:moveTo>
                    <a:pt x="759" y="64"/>
                  </a:moveTo>
                  <a:lnTo>
                    <a:pt x="759" y="222"/>
                  </a:lnTo>
                  <a:lnTo>
                    <a:pt x="727" y="222"/>
                  </a:lnTo>
                  <a:lnTo>
                    <a:pt x="727" y="3"/>
                  </a:lnTo>
                  <a:lnTo>
                    <a:pt x="771" y="3"/>
                  </a:lnTo>
                  <a:lnTo>
                    <a:pt x="807" y="134"/>
                  </a:lnTo>
                  <a:lnTo>
                    <a:pt x="807" y="3"/>
                  </a:lnTo>
                  <a:lnTo>
                    <a:pt x="837" y="3"/>
                  </a:lnTo>
                  <a:lnTo>
                    <a:pt x="837" y="222"/>
                  </a:lnTo>
                  <a:lnTo>
                    <a:pt x="801" y="222"/>
                  </a:lnTo>
                  <a:lnTo>
                    <a:pt x="759" y="64"/>
                  </a:lnTo>
                  <a:close/>
                  <a:moveTo>
                    <a:pt x="628" y="171"/>
                  </a:moveTo>
                  <a:lnTo>
                    <a:pt x="628" y="177"/>
                  </a:lnTo>
                  <a:lnTo>
                    <a:pt x="629" y="182"/>
                  </a:lnTo>
                  <a:lnTo>
                    <a:pt x="630" y="184"/>
                  </a:lnTo>
                  <a:lnTo>
                    <a:pt x="630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8" y="193"/>
                  </a:lnTo>
                  <a:lnTo>
                    <a:pt x="642" y="193"/>
                  </a:lnTo>
                  <a:lnTo>
                    <a:pt x="646" y="194"/>
                  </a:lnTo>
                  <a:lnTo>
                    <a:pt x="649" y="193"/>
                  </a:lnTo>
                  <a:lnTo>
                    <a:pt x="653" y="193"/>
                  </a:lnTo>
                  <a:lnTo>
                    <a:pt x="656" y="190"/>
                  </a:lnTo>
                  <a:lnTo>
                    <a:pt x="658" y="188"/>
                  </a:lnTo>
                  <a:lnTo>
                    <a:pt x="661" y="185"/>
                  </a:lnTo>
                  <a:lnTo>
                    <a:pt x="662" y="182"/>
                  </a:lnTo>
                  <a:lnTo>
                    <a:pt x="663" y="177"/>
                  </a:lnTo>
                  <a:lnTo>
                    <a:pt x="664" y="171"/>
                  </a:lnTo>
                  <a:lnTo>
                    <a:pt x="664" y="53"/>
                  </a:lnTo>
                  <a:lnTo>
                    <a:pt x="663" y="48"/>
                  </a:lnTo>
                  <a:lnTo>
                    <a:pt x="662" y="43"/>
                  </a:lnTo>
                  <a:lnTo>
                    <a:pt x="662" y="41"/>
                  </a:lnTo>
                  <a:lnTo>
                    <a:pt x="661" y="39"/>
                  </a:lnTo>
                  <a:lnTo>
                    <a:pt x="658" y="36"/>
                  </a:lnTo>
                  <a:lnTo>
                    <a:pt x="656" y="34"/>
                  </a:lnTo>
                  <a:lnTo>
                    <a:pt x="653" y="33"/>
                  </a:lnTo>
                  <a:lnTo>
                    <a:pt x="649" y="32"/>
                  </a:lnTo>
                  <a:lnTo>
                    <a:pt x="646" y="32"/>
                  </a:lnTo>
                  <a:lnTo>
                    <a:pt x="642" y="32"/>
                  </a:lnTo>
                  <a:lnTo>
                    <a:pt x="638" y="33"/>
                  </a:lnTo>
                  <a:lnTo>
                    <a:pt x="635" y="34"/>
                  </a:lnTo>
                  <a:lnTo>
                    <a:pt x="632" y="36"/>
                  </a:lnTo>
                  <a:lnTo>
                    <a:pt x="630" y="39"/>
                  </a:lnTo>
                  <a:lnTo>
                    <a:pt x="629" y="43"/>
                  </a:lnTo>
                  <a:lnTo>
                    <a:pt x="628" y="48"/>
                  </a:lnTo>
                  <a:lnTo>
                    <a:pt x="628" y="53"/>
                  </a:lnTo>
                  <a:lnTo>
                    <a:pt x="628" y="171"/>
                  </a:lnTo>
                  <a:close/>
                  <a:moveTo>
                    <a:pt x="593" y="55"/>
                  </a:moveTo>
                  <a:lnTo>
                    <a:pt x="593" y="49"/>
                  </a:lnTo>
                  <a:lnTo>
                    <a:pt x="594" y="43"/>
                  </a:lnTo>
                  <a:lnTo>
                    <a:pt x="595" y="37"/>
                  </a:lnTo>
                  <a:lnTo>
                    <a:pt x="596" y="35"/>
                  </a:lnTo>
                  <a:lnTo>
                    <a:pt x="597" y="32"/>
                  </a:lnTo>
                  <a:lnTo>
                    <a:pt x="598" y="28"/>
                  </a:lnTo>
                  <a:lnTo>
                    <a:pt x="601" y="22"/>
                  </a:lnTo>
                  <a:lnTo>
                    <a:pt x="603" y="18"/>
                  </a:lnTo>
                  <a:lnTo>
                    <a:pt x="607" y="15"/>
                  </a:lnTo>
                  <a:lnTo>
                    <a:pt x="610" y="12"/>
                  </a:lnTo>
                  <a:lnTo>
                    <a:pt x="614" y="9"/>
                  </a:lnTo>
                  <a:lnTo>
                    <a:pt x="618" y="6"/>
                  </a:lnTo>
                  <a:lnTo>
                    <a:pt x="624" y="4"/>
                  </a:lnTo>
                  <a:lnTo>
                    <a:pt x="628" y="2"/>
                  </a:lnTo>
                  <a:lnTo>
                    <a:pt x="633" y="1"/>
                  </a:lnTo>
                  <a:lnTo>
                    <a:pt x="639" y="0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7" y="1"/>
                  </a:lnTo>
                  <a:lnTo>
                    <a:pt x="663" y="2"/>
                  </a:lnTo>
                  <a:lnTo>
                    <a:pt x="668" y="4"/>
                  </a:lnTo>
                  <a:lnTo>
                    <a:pt x="672" y="6"/>
                  </a:lnTo>
                  <a:lnTo>
                    <a:pt x="676" y="9"/>
                  </a:lnTo>
                  <a:lnTo>
                    <a:pt x="681" y="12"/>
                  </a:lnTo>
                  <a:lnTo>
                    <a:pt x="684" y="15"/>
                  </a:lnTo>
                  <a:lnTo>
                    <a:pt x="687" y="18"/>
                  </a:lnTo>
                  <a:lnTo>
                    <a:pt x="690" y="22"/>
                  </a:lnTo>
                  <a:lnTo>
                    <a:pt x="692" y="28"/>
                  </a:lnTo>
                  <a:lnTo>
                    <a:pt x="694" y="32"/>
                  </a:lnTo>
                  <a:lnTo>
                    <a:pt x="695" y="37"/>
                  </a:lnTo>
                  <a:lnTo>
                    <a:pt x="697" y="43"/>
                  </a:lnTo>
                  <a:lnTo>
                    <a:pt x="698" y="49"/>
                  </a:lnTo>
                  <a:lnTo>
                    <a:pt x="698" y="55"/>
                  </a:lnTo>
                  <a:lnTo>
                    <a:pt x="698" y="169"/>
                  </a:lnTo>
                  <a:lnTo>
                    <a:pt x="698" y="176"/>
                  </a:lnTo>
                  <a:lnTo>
                    <a:pt x="697" y="182"/>
                  </a:lnTo>
                  <a:lnTo>
                    <a:pt x="695" y="187"/>
                  </a:lnTo>
                  <a:lnTo>
                    <a:pt x="695" y="190"/>
                  </a:lnTo>
                  <a:lnTo>
                    <a:pt x="694" y="193"/>
                  </a:lnTo>
                  <a:lnTo>
                    <a:pt x="692" y="198"/>
                  </a:lnTo>
                  <a:lnTo>
                    <a:pt x="690" y="202"/>
                  </a:lnTo>
                  <a:lnTo>
                    <a:pt x="687" y="206"/>
                  </a:lnTo>
                  <a:lnTo>
                    <a:pt x="684" y="211"/>
                  </a:lnTo>
                  <a:lnTo>
                    <a:pt x="681" y="214"/>
                  </a:lnTo>
                  <a:lnTo>
                    <a:pt x="676" y="217"/>
                  </a:lnTo>
                  <a:lnTo>
                    <a:pt x="672" y="219"/>
                  </a:lnTo>
                  <a:lnTo>
                    <a:pt x="668" y="221"/>
                  </a:lnTo>
                  <a:lnTo>
                    <a:pt x="663" y="222"/>
                  </a:lnTo>
                  <a:lnTo>
                    <a:pt x="657" y="223"/>
                  </a:lnTo>
                  <a:lnTo>
                    <a:pt x="652" y="224"/>
                  </a:lnTo>
                  <a:lnTo>
                    <a:pt x="646" y="224"/>
                  </a:lnTo>
                  <a:lnTo>
                    <a:pt x="639" y="224"/>
                  </a:lnTo>
                  <a:lnTo>
                    <a:pt x="633" y="223"/>
                  </a:lnTo>
                  <a:lnTo>
                    <a:pt x="628" y="222"/>
                  </a:lnTo>
                  <a:lnTo>
                    <a:pt x="624" y="221"/>
                  </a:lnTo>
                  <a:lnTo>
                    <a:pt x="618" y="219"/>
                  </a:lnTo>
                  <a:lnTo>
                    <a:pt x="614" y="217"/>
                  </a:lnTo>
                  <a:lnTo>
                    <a:pt x="610" y="214"/>
                  </a:lnTo>
                  <a:lnTo>
                    <a:pt x="607" y="211"/>
                  </a:lnTo>
                  <a:lnTo>
                    <a:pt x="603" y="206"/>
                  </a:lnTo>
                  <a:lnTo>
                    <a:pt x="601" y="202"/>
                  </a:lnTo>
                  <a:lnTo>
                    <a:pt x="598" y="198"/>
                  </a:lnTo>
                  <a:lnTo>
                    <a:pt x="597" y="193"/>
                  </a:lnTo>
                  <a:lnTo>
                    <a:pt x="595" y="187"/>
                  </a:lnTo>
                  <a:lnTo>
                    <a:pt x="594" y="182"/>
                  </a:lnTo>
                  <a:lnTo>
                    <a:pt x="593" y="176"/>
                  </a:lnTo>
                  <a:lnTo>
                    <a:pt x="593" y="169"/>
                  </a:lnTo>
                  <a:lnTo>
                    <a:pt x="593" y="55"/>
                  </a:lnTo>
                  <a:close/>
                  <a:moveTo>
                    <a:pt x="467" y="3"/>
                  </a:moveTo>
                  <a:lnTo>
                    <a:pt x="573" y="3"/>
                  </a:lnTo>
                  <a:lnTo>
                    <a:pt x="573" y="34"/>
                  </a:lnTo>
                  <a:lnTo>
                    <a:pt x="537" y="34"/>
                  </a:lnTo>
                  <a:lnTo>
                    <a:pt x="537" y="222"/>
                  </a:lnTo>
                  <a:lnTo>
                    <a:pt x="503" y="222"/>
                  </a:lnTo>
                  <a:lnTo>
                    <a:pt x="503" y="34"/>
                  </a:lnTo>
                  <a:lnTo>
                    <a:pt x="467" y="34"/>
                  </a:lnTo>
                  <a:lnTo>
                    <a:pt x="467" y="3"/>
                  </a:lnTo>
                  <a:close/>
                  <a:moveTo>
                    <a:pt x="348" y="3"/>
                  </a:moveTo>
                  <a:lnTo>
                    <a:pt x="454" y="3"/>
                  </a:lnTo>
                  <a:lnTo>
                    <a:pt x="454" y="34"/>
                  </a:lnTo>
                  <a:lnTo>
                    <a:pt x="417" y="34"/>
                  </a:lnTo>
                  <a:lnTo>
                    <a:pt x="417" y="222"/>
                  </a:lnTo>
                  <a:lnTo>
                    <a:pt x="383" y="222"/>
                  </a:lnTo>
                  <a:lnTo>
                    <a:pt x="383" y="34"/>
                  </a:lnTo>
                  <a:lnTo>
                    <a:pt x="348" y="34"/>
                  </a:lnTo>
                  <a:lnTo>
                    <a:pt x="348" y="3"/>
                  </a:lnTo>
                  <a:close/>
                  <a:moveTo>
                    <a:pt x="259" y="3"/>
                  </a:moveTo>
                  <a:lnTo>
                    <a:pt x="294" y="3"/>
                  </a:lnTo>
                  <a:lnTo>
                    <a:pt x="294" y="190"/>
                  </a:lnTo>
                  <a:lnTo>
                    <a:pt x="350" y="190"/>
                  </a:lnTo>
                  <a:lnTo>
                    <a:pt x="350" y="222"/>
                  </a:lnTo>
                  <a:lnTo>
                    <a:pt x="259" y="222"/>
                  </a:lnTo>
                  <a:lnTo>
                    <a:pt x="259" y="3"/>
                  </a:lnTo>
                  <a:close/>
                  <a:moveTo>
                    <a:pt x="159" y="171"/>
                  </a:moveTo>
                  <a:lnTo>
                    <a:pt x="159" y="177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1" y="185"/>
                  </a:lnTo>
                  <a:lnTo>
                    <a:pt x="164" y="188"/>
                  </a:lnTo>
                  <a:lnTo>
                    <a:pt x="167" y="190"/>
                  </a:lnTo>
                  <a:lnTo>
                    <a:pt x="169" y="193"/>
                  </a:lnTo>
                  <a:lnTo>
                    <a:pt x="173" y="193"/>
                  </a:lnTo>
                  <a:lnTo>
                    <a:pt x="176" y="194"/>
                  </a:lnTo>
                  <a:lnTo>
                    <a:pt x="180" y="193"/>
                  </a:lnTo>
                  <a:lnTo>
                    <a:pt x="184" y="193"/>
                  </a:lnTo>
                  <a:lnTo>
                    <a:pt x="187" y="190"/>
                  </a:lnTo>
                  <a:lnTo>
                    <a:pt x="190" y="188"/>
                  </a:lnTo>
                  <a:lnTo>
                    <a:pt x="192" y="185"/>
                  </a:lnTo>
                  <a:lnTo>
                    <a:pt x="193" y="182"/>
                  </a:lnTo>
                  <a:lnTo>
                    <a:pt x="194" y="177"/>
                  </a:lnTo>
                  <a:lnTo>
                    <a:pt x="194" y="171"/>
                  </a:lnTo>
                  <a:lnTo>
                    <a:pt x="194" y="53"/>
                  </a:lnTo>
                  <a:lnTo>
                    <a:pt x="194" y="48"/>
                  </a:lnTo>
                  <a:lnTo>
                    <a:pt x="193" y="43"/>
                  </a:lnTo>
                  <a:lnTo>
                    <a:pt x="192" y="41"/>
                  </a:lnTo>
                  <a:lnTo>
                    <a:pt x="192" y="39"/>
                  </a:lnTo>
                  <a:lnTo>
                    <a:pt x="190" y="36"/>
                  </a:lnTo>
                  <a:lnTo>
                    <a:pt x="187" y="34"/>
                  </a:lnTo>
                  <a:lnTo>
                    <a:pt x="184" y="33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3" y="32"/>
                  </a:lnTo>
                  <a:lnTo>
                    <a:pt x="169" y="33"/>
                  </a:lnTo>
                  <a:lnTo>
                    <a:pt x="167" y="34"/>
                  </a:lnTo>
                  <a:lnTo>
                    <a:pt x="164" y="36"/>
                  </a:lnTo>
                  <a:lnTo>
                    <a:pt x="161" y="39"/>
                  </a:lnTo>
                  <a:lnTo>
                    <a:pt x="160" y="43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9" y="171"/>
                  </a:lnTo>
                  <a:close/>
                  <a:moveTo>
                    <a:pt x="124" y="55"/>
                  </a:moveTo>
                  <a:lnTo>
                    <a:pt x="124" y="49"/>
                  </a:lnTo>
                  <a:lnTo>
                    <a:pt x="125" y="43"/>
                  </a:lnTo>
                  <a:lnTo>
                    <a:pt x="127" y="37"/>
                  </a:lnTo>
                  <a:lnTo>
                    <a:pt x="127" y="35"/>
                  </a:lnTo>
                  <a:lnTo>
                    <a:pt x="128" y="32"/>
                  </a:lnTo>
                  <a:lnTo>
                    <a:pt x="130" y="28"/>
                  </a:lnTo>
                  <a:lnTo>
                    <a:pt x="132" y="22"/>
                  </a:lnTo>
                  <a:lnTo>
                    <a:pt x="135" y="18"/>
                  </a:lnTo>
                  <a:lnTo>
                    <a:pt x="138" y="15"/>
                  </a:lnTo>
                  <a:lnTo>
                    <a:pt x="141" y="12"/>
                  </a:lnTo>
                  <a:lnTo>
                    <a:pt x="146" y="9"/>
                  </a:lnTo>
                  <a:lnTo>
                    <a:pt x="150" y="6"/>
                  </a:lnTo>
                  <a:lnTo>
                    <a:pt x="154" y="4"/>
                  </a:lnTo>
                  <a:lnTo>
                    <a:pt x="159" y="2"/>
                  </a:lnTo>
                  <a:lnTo>
                    <a:pt x="165" y="1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3" y="0"/>
                  </a:lnTo>
                  <a:lnTo>
                    <a:pt x="189" y="1"/>
                  </a:lnTo>
                  <a:lnTo>
                    <a:pt x="194" y="2"/>
                  </a:lnTo>
                  <a:lnTo>
                    <a:pt x="199" y="4"/>
                  </a:lnTo>
                  <a:lnTo>
                    <a:pt x="204" y="6"/>
                  </a:lnTo>
                  <a:lnTo>
                    <a:pt x="208" y="9"/>
                  </a:lnTo>
                  <a:lnTo>
                    <a:pt x="212" y="12"/>
                  </a:lnTo>
                  <a:lnTo>
                    <a:pt x="215" y="15"/>
                  </a:lnTo>
                  <a:lnTo>
                    <a:pt x="219" y="18"/>
                  </a:lnTo>
                  <a:lnTo>
                    <a:pt x="222" y="22"/>
                  </a:lnTo>
                  <a:lnTo>
                    <a:pt x="224" y="28"/>
                  </a:lnTo>
                  <a:lnTo>
                    <a:pt x="226" y="32"/>
                  </a:lnTo>
                  <a:lnTo>
                    <a:pt x="227" y="37"/>
                  </a:lnTo>
                  <a:lnTo>
                    <a:pt x="228" y="43"/>
                  </a:lnTo>
                  <a:lnTo>
                    <a:pt x="229" y="49"/>
                  </a:lnTo>
                  <a:lnTo>
                    <a:pt x="229" y="55"/>
                  </a:lnTo>
                  <a:lnTo>
                    <a:pt x="229" y="169"/>
                  </a:lnTo>
                  <a:lnTo>
                    <a:pt x="229" y="176"/>
                  </a:lnTo>
                  <a:lnTo>
                    <a:pt x="228" y="182"/>
                  </a:lnTo>
                  <a:lnTo>
                    <a:pt x="227" y="187"/>
                  </a:lnTo>
                  <a:lnTo>
                    <a:pt x="226" y="190"/>
                  </a:lnTo>
                  <a:lnTo>
                    <a:pt x="226" y="193"/>
                  </a:lnTo>
                  <a:lnTo>
                    <a:pt x="224" y="198"/>
                  </a:lnTo>
                  <a:lnTo>
                    <a:pt x="222" y="202"/>
                  </a:lnTo>
                  <a:lnTo>
                    <a:pt x="219" y="206"/>
                  </a:lnTo>
                  <a:lnTo>
                    <a:pt x="215" y="211"/>
                  </a:lnTo>
                  <a:lnTo>
                    <a:pt x="212" y="214"/>
                  </a:lnTo>
                  <a:lnTo>
                    <a:pt x="208" y="217"/>
                  </a:lnTo>
                  <a:lnTo>
                    <a:pt x="204" y="219"/>
                  </a:lnTo>
                  <a:lnTo>
                    <a:pt x="199" y="221"/>
                  </a:lnTo>
                  <a:lnTo>
                    <a:pt x="194" y="222"/>
                  </a:lnTo>
                  <a:lnTo>
                    <a:pt x="189" y="223"/>
                  </a:lnTo>
                  <a:lnTo>
                    <a:pt x="183" y="224"/>
                  </a:lnTo>
                  <a:lnTo>
                    <a:pt x="176" y="224"/>
                  </a:lnTo>
                  <a:lnTo>
                    <a:pt x="171" y="224"/>
                  </a:lnTo>
                  <a:lnTo>
                    <a:pt x="165" y="223"/>
                  </a:lnTo>
                  <a:lnTo>
                    <a:pt x="159" y="222"/>
                  </a:lnTo>
                  <a:lnTo>
                    <a:pt x="154" y="221"/>
                  </a:lnTo>
                  <a:lnTo>
                    <a:pt x="150" y="219"/>
                  </a:lnTo>
                  <a:lnTo>
                    <a:pt x="146" y="217"/>
                  </a:lnTo>
                  <a:lnTo>
                    <a:pt x="141" y="214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32" y="202"/>
                  </a:lnTo>
                  <a:lnTo>
                    <a:pt x="130" y="198"/>
                  </a:lnTo>
                  <a:lnTo>
                    <a:pt x="128" y="193"/>
                  </a:lnTo>
                  <a:lnTo>
                    <a:pt x="127" y="187"/>
                  </a:lnTo>
                  <a:lnTo>
                    <a:pt x="125" y="182"/>
                  </a:lnTo>
                  <a:lnTo>
                    <a:pt x="124" y="176"/>
                  </a:lnTo>
                  <a:lnTo>
                    <a:pt x="124" y="169"/>
                  </a:lnTo>
                  <a:lnTo>
                    <a:pt x="124" y="55"/>
                  </a:lnTo>
                  <a:close/>
                  <a:moveTo>
                    <a:pt x="35" y="34"/>
                  </a:moveTo>
                  <a:lnTo>
                    <a:pt x="35" y="108"/>
                  </a:lnTo>
                  <a:lnTo>
                    <a:pt x="50" y="108"/>
                  </a:lnTo>
                  <a:lnTo>
                    <a:pt x="55" y="108"/>
                  </a:lnTo>
                  <a:lnTo>
                    <a:pt x="58" y="107"/>
                  </a:lnTo>
                  <a:lnTo>
                    <a:pt x="61" y="106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66" y="97"/>
                  </a:lnTo>
                  <a:lnTo>
                    <a:pt x="67" y="93"/>
                  </a:lnTo>
                  <a:lnTo>
                    <a:pt x="67" y="88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6" y="44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1" y="36"/>
                  </a:lnTo>
                  <a:lnTo>
                    <a:pt x="58" y="35"/>
                  </a:lnTo>
                  <a:lnTo>
                    <a:pt x="55" y="34"/>
                  </a:lnTo>
                  <a:lnTo>
                    <a:pt x="50" y="34"/>
                  </a:lnTo>
                  <a:lnTo>
                    <a:pt x="35" y="34"/>
                  </a:lnTo>
                  <a:close/>
                  <a:moveTo>
                    <a:pt x="102" y="57"/>
                  </a:moveTo>
                  <a:lnTo>
                    <a:pt x="102" y="86"/>
                  </a:lnTo>
                  <a:lnTo>
                    <a:pt x="101" y="92"/>
                  </a:lnTo>
                  <a:lnTo>
                    <a:pt x="101" y="97"/>
                  </a:lnTo>
                  <a:lnTo>
                    <a:pt x="100" y="104"/>
                  </a:lnTo>
                  <a:lnTo>
                    <a:pt x="99" y="109"/>
                  </a:lnTo>
                  <a:lnTo>
                    <a:pt x="97" y="113"/>
                  </a:lnTo>
                  <a:lnTo>
                    <a:pt x="95" y="118"/>
                  </a:lnTo>
                  <a:lnTo>
                    <a:pt x="92" y="122"/>
                  </a:lnTo>
                  <a:lnTo>
                    <a:pt x="89" y="126"/>
                  </a:lnTo>
                  <a:lnTo>
                    <a:pt x="85" y="129"/>
                  </a:lnTo>
                  <a:lnTo>
                    <a:pt x="82" y="132"/>
                  </a:lnTo>
                  <a:lnTo>
                    <a:pt x="78" y="134"/>
                  </a:lnTo>
                  <a:lnTo>
                    <a:pt x="73" y="136"/>
                  </a:lnTo>
                  <a:lnTo>
                    <a:pt x="68" y="138"/>
                  </a:lnTo>
                  <a:lnTo>
                    <a:pt x="62" y="139"/>
                  </a:lnTo>
                  <a:lnTo>
                    <a:pt x="57" y="140"/>
                  </a:lnTo>
                  <a:lnTo>
                    <a:pt x="50" y="140"/>
                  </a:lnTo>
                  <a:lnTo>
                    <a:pt x="35" y="140"/>
                  </a:lnTo>
                  <a:lnTo>
                    <a:pt x="35" y="222"/>
                  </a:lnTo>
                  <a:lnTo>
                    <a:pt x="0" y="222"/>
                  </a:lnTo>
                  <a:lnTo>
                    <a:pt x="0" y="3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2" y="3"/>
                  </a:lnTo>
                  <a:lnTo>
                    <a:pt x="68" y="4"/>
                  </a:lnTo>
                  <a:lnTo>
                    <a:pt x="73" y="6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9" y="17"/>
                  </a:lnTo>
                  <a:lnTo>
                    <a:pt x="92" y="20"/>
                  </a:lnTo>
                  <a:lnTo>
                    <a:pt x="95" y="24"/>
                  </a:lnTo>
                  <a:lnTo>
                    <a:pt x="97" y="29"/>
                  </a:lnTo>
                  <a:lnTo>
                    <a:pt x="99" y="34"/>
                  </a:lnTo>
                  <a:lnTo>
                    <a:pt x="100" y="39"/>
                  </a:lnTo>
                  <a:lnTo>
                    <a:pt x="101" y="44"/>
                  </a:lnTo>
                  <a:lnTo>
                    <a:pt x="101" y="51"/>
                  </a:lnTo>
                  <a:lnTo>
                    <a:pt x="10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19881617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822AD4-35FD-44EE-801D-11021B678C71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4640810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83448-2E5D-4585-BFA6-1F9091DBB06A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378285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1B23631-7A92-4704-B55F-374766A62BFE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99077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340833-B91C-4459-B088-B0EDF2C4126C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</p:spTree>
    <p:extLst>
      <p:ext uri="{BB962C8B-B14F-4D97-AF65-F5344CB8AC3E}">
        <p14:creationId xmlns:p14="http://schemas.microsoft.com/office/powerpoint/2010/main" val="412323481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DA54F9-5F5D-434D-95ED-4466A9C74740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9" name="Round Same Side Corner Rectangle 8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0" name="Freeform 32"/>
            <p:cNvSpPr>
              <a:spLocks noEditPoints="1"/>
            </p:cNvSpPr>
            <p:nvPr userDrawn="1"/>
          </p:nvSpPr>
          <p:spPr bwMode="auto">
            <a:xfrm>
              <a:off x="8841484" y="6473685"/>
              <a:ext cx="2006400" cy="211200"/>
            </a:xfrm>
            <a:custGeom>
              <a:avLst/>
              <a:gdLst>
                <a:gd name="T0" fmla="*/ 2042 w 2127"/>
                <a:gd name="T1" fmla="*/ 3 h 225"/>
                <a:gd name="T2" fmla="*/ 1959 w 2127"/>
                <a:gd name="T3" fmla="*/ 97 h 225"/>
                <a:gd name="T4" fmla="*/ 1943 w 2127"/>
                <a:gd name="T5" fmla="*/ 34 h 225"/>
                <a:gd name="T6" fmla="*/ 1982 w 2127"/>
                <a:gd name="T7" fmla="*/ 126 h 225"/>
                <a:gd name="T8" fmla="*/ 1893 w 2127"/>
                <a:gd name="T9" fmla="*/ 222 h 225"/>
                <a:gd name="T10" fmla="*/ 1985 w 2127"/>
                <a:gd name="T11" fmla="*/ 20 h 225"/>
                <a:gd name="T12" fmla="*/ 1820 w 2127"/>
                <a:gd name="T13" fmla="*/ 108 h 225"/>
                <a:gd name="T14" fmla="*/ 1830 w 2127"/>
                <a:gd name="T15" fmla="*/ 41 h 225"/>
                <a:gd name="T16" fmla="*/ 1865 w 2127"/>
                <a:gd name="T17" fmla="*/ 104 h 225"/>
                <a:gd name="T18" fmla="*/ 1828 w 2127"/>
                <a:gd name="T19" fmla="*/ 139 h 225"/>
                <a:gd name="T20" fmla="*/ 1839 w 2127"/>
                <a:gd name="T21" fmla="*/ 6 h 225"/>
                <a:gd name="T22" fmla="*/ 1867 w 2127"/>
                <a:gd name="T23" fmla="*/ 51 h 225"/>
                <a:gd name="T24" fmla="*/ 1680 w 2127"/>
                <a:gd name="T25" fmla="*/ 193 h 225"/>
                <a:gd name="T26" fmla="*/ 1734 w 2127"/>
                <a:gd name="T27" fmla="*/ 3 h 225"/>
                <a:gd name="T28" fmla="*/ 1714 w 2127"/>
                <a:gd name="T29" fmla="*/ 217 h 225"/>
                <a:gd name="T30" fmla="*/ 1660 w 2127"/>
                <a:gd name="T31" fmla="*/ 221 h 225"/>
                <a:gd name="T32" fmla="*/ 1631 w 2127"/>
                <a:gd name="T33" fmla="*/ 176 h 225"/>
                <a:gd name="T34" fmla="*/ 1526 w 2127"/>
                <a:gd name="T35" fmla="*/ 182 h 225"/>
                <a:gd name="T36" fmla="*/ 1394 w 2127"/>
                <a:gd name="T37" fmla="*/ 3 h 225"/>
                <a:gd name="T38" fmla="*/ 1271 w 2127"/>
                <a:gd name="T39" fmla="*/ 127 h 225"/>
                <a:gd name="T40" fmla="*/ 1214 w 2127"/>
                <a:gd name="T41" fmla="*/ 3 h 225"/>
                <a:gd name="T42" fmla="*/ 1056 w 2127"/>
                <a:gd name="T43" fmla="*/ 2 h 225"/>
                <a:gd name="T44" fmla="*/ 1089 w 2127"/>
                <a:gd name="T45" fmla="*/ 43 h 225"/>
                <a:gd name="T46" fmla="*/ 1048 w 2127"/>
                <a:gd name="T47" fmla="*/ 33 h 225"/>
                <a:gd name="T48" fmla="*/ 1022 w 2127"/>
                <a:gd name="T49" fmla="*/ 53 h 225"/>
                <a:gd name="T50" fmla="*/ 1074 w 2127"/>
                <a:gd name="T51" fmla="*/ 124 h 225"/>
                <a:gd name="T52" fmla="*/ 1085 w 2127"/>
                <a:gd name="T53" fmla="*/ 198 h 225"/>
                <a:gd name="T54" fmla="*/ 1044 w 2127"/>
                <a:gd name="T55" fmla="*/ 224 h 225"/>
                <a:gd name="T56" fmla="*/ 995 w 2127"/>
                <a:gd name="T57" fmla="*/ 202 h 225"/>
                <a:gd name="T58" fmla="*/ 1021 w 2127"/>
                <a:gd name="T59" fmla="*/ 182 h 225"/>
                <a:gd name="T60" fmla="*/ 1051 w 2127"/>
                <a:gd name="T61" fmla="*/ 188 h 225"/>
                <a:gd name="T62" fmla="*/ 1040 w 2127"/>
                <a:gd name="T63" fmla="*/ 138 h 225"/>
                <a:gd name="T64" fmla="*/ 988 w 2127"/>
                <a:gd name="T65" fmla="*/ 49 h 225"/>
                <a:gd name="T66" fmla="*/ 1013 w 2127"/>
                <a:gd name="T67" fmla="*/ 6 h 225"/>
                <a:gd name="T68" fmla="*/ 963 w 2127"/>
                <a:gd name="T69" fmla="*/ 190 h 225"/>
                <a:gd name="T70" fmla="*/ 727 w 2127"/>
                <a:gd name="T71" fmla="*/ 3 h 225"/>
                <a:gd name="T72" fmla="*/ 630 w 2127"/>
                <a:gd name="T73" fmla="*/ 184 h 225"/>
                <a:gd name="T74" fmla="*/ 661 w 2127"/>
                <a:gd name="T75" fmla="*/ 185 h 225"/>
                <a:gd name="T76" fmla="*/ 653 w 2127"/>
                <a:gd name="T77" fmla="*/ 33 h 225"/>
                <a:gd name="T78" fmla="*/ 628 w 2127"/>
                <a:gd name="T79" fmla="*/ 171 h 225"/>
                <a:gd name="T80" fmla="*/ 610 w 2127"/>
                <a:gd name="T81" fmla="*/ 12 h 225"/>
                <a:gd name="T82" fmla="*/ 668 w 2127"/>
                <a:gd name="T83" fmla="*/ 4 h 225"/>
                <a:gd name="T84" fmla="*/ 698 w 2127"/>
                <a:gd name="T85" fmla="*/ 49 h 225"/>
                <a:gd name="T86" fmla="*/ 684 w 2127"/>
                <a:gd name="T87" fmla="*/ 211 h 225"/>
                <a:gd name="T88" fmla="*/ 628 w 2127"/>
                <a:gd name="T89" fmla="*/ 222 h 225"/>
                <a:gd name="T90" fmla="*/ 594 w 2127"/>
                <a:gd name="T91" fmla="*/ 182 h 225"/>
                <a:gd name="T92" fmla="*/ 467 w 2127"/>
                <a:gd name="T93" fmla="*/ 34 h 225"/>
                <a:gd name="T94" fmla="*/ 259 w 2127"/>
                <a:gd name="T95" fmla="*/ 3 h 225"/>
                <a:gd name="T96" fmla="*/ 161 w 2127"/>
                <a:gd name="T97" fmla="*/ 185 h 225"/>
                <a:gd name="T98" fmla="*/ 193 w 2127"/>
                <a:gd name="T99" fmla="*/ 182 h 225"/>
                <a:gd name="T100" fmla="*/ 180 w 2127"/>
                <a:gd name="T101" fmla="*/ 32 h 225"/>
                <a:gd name="T102" fmla="*/ 124 w 2127"/>
                <a:gd name="T103" fmla="*/ 55 h 225"/>
                <a:gd name="T104" fmla="*/ 146 w 2127"/>
                <a:gd name="T105" fmla="*/ 9 h 225"/>
                <a:gd name="T106" fmla="*/ 204 w 2127"/>
                <a:gd name="T107" fmla="*/ 6 h 225"/>
                <a:gd name="T108" fmla="*/ 229 w 2127"/>
                <a:gd name="T109" fmla="*/ 55 h 225"/>
                <a:gd name="T110" fmla="*/ 212 w 2127"/>
                <a:gd name="T111" fmla="*/ 214 h 225"/>
                <a:gd name="T112" fmla="*/ 154 w 2127"/>
                <a:gd name="T113" fmla="*/ 221 h 225"/>
                <a:gd name="T114" fmla="*/ 124 w 2127"/>
                <a:gd name="T115" fmla="*/ 176 h 225"/>
                <a:gd name="T116" fmla="*/ 66 w 2127"/>
                <a:gd name="T117" fmla="*/ 97 h 225"/>
                <a:gd name="T118" fmla="*/ 50 w 2127"/>
                <a:gd name="T119" fmla="*/ 34 h 225"/>
                <a:gd name="T120" fmla="*/ 89 w 2127"/>
                <a:gd name="T121" fmla="*/ 126 h 225"/>
                <a:gd name="T122" fmla="*/ 0 w 2127"/>
                <a:gd name="T123" fmla="*/ 222 h 225"/>
                <a:gd name="T124" fmla="*/ 92 w 2127"/>
                <a:gd name="T125" fmla="*/ 2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7" h="225">
                  <a:moveTo>
                    <a:pt x="2049" y="152"/>
                  </a:moveTo>
                  <a:lnTo>
                    <a:pt x="2082" y="152"/>
                  </a:lnTo>
                  <a:lnTo>
                    <a:pt x="2066" y="41"/>
                  </a:lnTo>
                  <a:lnTo>
                    <a:pt x="2049" y="152"/>
                  </a:lnTo>
                  <a:close/>
                  <a:moveTo>
                    <a:pt x="2127" y="222"/>
                  </a:moveTo>
                  <a:lnTo>
                    <a:pt x="2092" y="222"/>
                  </a:lnTo>
                  <a:lnTo>
                    <a:pt x="2087" y="182"/>
                  </a:lnTo>
                  <a:lnTo>
                    <a:pt x="2045" y="182"/>
                  </a:lnTo>
                  <a:lnTo>
                    <a:pt x="2039" y="222"/>
                  </a:lnTo>
                  <a:lnTo>
                    <a:pt x="2007" y="222"/>
                  </a:lnTo>
                  <a:lnTo>
                    <a:pt x="2042" y="3"/>
                  </a:lnTo>
                  <a:lnTo>
                    <a:pt x="2092" y="3"/>
                  </a:lnTo>
                  <a:lnTo>
                    <a:pt x="2127" y="222"/>
                  </a:lnTo>
                  <a:close/>
                  <a:moveTo>
                    <a:pt x="1927" y="34"/>
                  </a:moveTo>
                  <a:lnTo>
                    <a:pt x="1927" y="108"/>
                  </a:lnTo>
                  <a:lnTo>
                    <a:pt x="1943" y="108"/>
                  </a:lnTo>
                  <a:lnTo>
                    <a:pt x="1948" y="108"/>
                  </a:lnTo>
                  <a:lnTo>
                    <a:pt x="1951" y="107"/>
                  </a:lnTo>
                  <a:lnTo>
                    <a:pt x="1954" y="106"/>
                  </a:lnTo>
                  <a:lnTo>
                    <a:pt x="1956" y="104"/>
                  </a:lnTo>
                  <a:lnTo>
                    <a:pt x="1958" y="102"/>
                  </a:lnTo>
                  <a:lnTo>
                    <a:pt x="1959" y="97"/>
                  </a:lnTo>
                  <a:lnTo>
                    <a:pt x="1960" y="93"/>
                  </a:lnTo>
                  <a:lnTo>
                    <a:pt x="1960" y="88"/>
                  </a:lnTo>
                  <a:lnTo>
                    <a:pt x="1960" y="55"/>
                  </a:lnTo>
                  <a:lnTo>
                    <a:pt x="1960" y="50"/>
                  </a:lnTo>
                  <a:lnTo>
                    <a:pt x="1959" y="44"/>
                  </a:lnTo>
                  <a:lnTo>
                    <a:pt x="1958" y="41"/>
                  </a:lnTo>
                  <a:lnTo>
                    <a:pt x="1956" y="38"/>
                  </a:lnTo>
                  <a:lnTo>
                    <a:pt x="1954" y="36"/>
                  </a:lnTo>
                  <a:lnTo>
                    <a:pt x="1951" y="35"/>
                  </a:lnTo>
                  <a:lnTo>
                    <a:pt x="1948" y="34"/>
                  </a:lnTo>
                  <a:lnTo>
                    <a:pt x="1943" y="34"/>
                  </a:lnTo>
                  <a:lnTo>
                    <a:pt x="1927" y="34"/>
                  </a:lnTo>
                  <a:close/>
                  <a:moveTo>
                    <a:pt x="1995" y="57"/>
                  </a:moveTo>
                  <a:lnTo>
                    <a:pt x="1995" y="86"/>
                  </a:lnTo>
                  <a:lnTo>
                    <a:pt x="1994" y="92"/>
                  </a:lnTo>
                  <a:lnTo>
                    <a:pt x="1994" y="97"/>
                  </a:lnTo>
                  <a:lnTo>
                    <a:pt x="1993" y="104"/>
                  </a:lnTo>
                  <a:lnTo>
                    <a:pt x="1992" y="109"/>
                  </a:lnTo>
                  <a:lnTo>
                    <a:pt x="1990" y="113"/>
                  </a:lnTo>
                  <a:lnTo>
                    <a:pt x="1988" y="118"/>
                  </a:lnTo>
                  <a:lnTo>
                    <a:pt x="1985" y="122"/>
                  </a:lnTo>
                  <a:lnTo>
                    <a:pt x="1982" y="126"/>
                  </a:lnTo>
                  <a:lnTo>
                    <a:pt x="1978" y="129"/>
                  </a:lnTo>
                  <a:lnTo>
                    <a:pt x="1975" y="132"/>
                  </a:lnTo>
                  <a:lnTo>
                    <a:pt x="1971" y="134"/>
                  </a:lnTo>
                  <a:lnTo>
                    <a:pt x="1966" y="136"/>
                  </a:lnTo>
                  <a:lnTo>
                    <a:pt x="1961" y="138"/>
                  </a:lnTo>
                  <a:lnTo>
                    <a:pt x="1955" y="139"/>
                  </a:lnTo>
                  <a:lnTo>
                    <a:pt x="1950" y="140"/>
                  </a:lnTo>
                  <a:lnTo>
                    <a:pt x="1943" y="140"/>
                  </a:lnTo>
                  <a:lnTo>
                    <a:pt x="1927" y="140"/>
                  </a:lnTo>
                  <a:lnTo>
                    <a:pt x="1927" y="222"/>
                  </a:lnTo>
                  <a:lnTo>
                    <a:pt x="1893" y="222"/>
                  </a:lnTo>
                  <a:lnTo>
                    <a:pt x="1893" y="3"/>
                  </a:lnTo>
                  <a:lnTo>
                    <a:pt x="1943" y="3"/>
                  </a:lnTo>
                  <a:lnTo>
                    <a:pt x="1950" y="3"/>
                  </a:lnTo>
                  <a:lnTo>
                    <a:pt x="1955" y="3"/>
                  </a:lnTo>
                  <a:lnTo>
                    <a:pt x="1961" y="4"/>
                  </a:lnTo>
                  <a:lnTo>
                    <a:pt x="1966" y="6"/>
                  </a:lnTo>
                  <a:lnTo>
                    <a:pt x="1971" y="9"/>
                  </a:lnTo>
                  <a:lnTo>
                    <a:pt x="1975" y="11"/>
                  </a:lnTo>
                  <a:lnTo>
                    <a:pt x="1978" y="14"/>
                  </a:lnTo>
                  <a:lnTo>
                    <a:pt x="1982" y="17"/>
                  </a:lnTo>
                  <a:lnTo>
                    <a:pt x="1985" y="20"/>
                  </a:lnTo>
                  <a:lnTo>
                    <a:pt x="1988" y="24"/>
                  </a:lnTo>
                  <a:lnTo>
                    <a:pt x="1990" y="29"/>
                  </a:lnTo>
                  <a:lnTo>
                    <a:pt x="1992" y="34"/>
                  </a:lnTo>
                  <a:lnTo>
                    <a:pt x="1993" y="39"/>
                  </a:lnTo>
                  <a:lnTo>
                    <a:pt x="1994" y="44"/>
                  </a:lnTo>
                  <a:lnTo>
                    <a:pt x="1994" y="51"/>
                  </a:lnTo>
                  <a:lnTo>
                    <a:pt x="1995" y="57"/>
                  </a:lnTo>
                  <a:close/>
                  <a:moveTo>
                    <a:pt x="1800" y="34"/>
                  </a:moveTo>
                  <a:lnTo>
                    <a:pt x="1800" y="108"/>
                  </a:lnTo>
                  <a:lnTo>
                    <a:pt x="1815" y="108"/>
                  </a:lnTo>
                  <a:lnTo>
                    <a:pt x="1820" y="108"/>
                  </a:lnTo>
                  <a:lnTo>
                    <a:pt x="1823" y="107"/>
                  </a:lnTo>
                  <a:lnTo>
                    <a:pt x="1826" y="106"/>
                  </a:lnTo>
                  <a:lnTo>
                    <a:pt x="1828" y="104"/>
                  </a:lnTo>
                  <a:lnTo>
                    <a:pt x="1830" y="102"/>
                  </a:lnTo>
                  <a:lnTo>
                    <a:pt x="1831" y="97"/>
                  </a:lnTo>
                  <a:lnTo>
                    <a:pt x="1832" y="93"/>
                  </a:lnTo>
                  <a:lnTo>
                    <a:pt x="1833" y="88"/>
                  </a:lnTo>
                  <a:lnTo>
                    <a:pt x="1833" y="55"/>
                  </a:lnTo>
                  <a:lnTo>
                    <a:pt x="1832" y="50"/>
                  </a:lnTo>
                  <a:lnTo>
                    <a:pt x="1831" y="44"/>
                  </a:lnTo>
                  <a:lnTo>
                    <a:pt x="1830" y="41"/>
                  </a:lnTo>
                  <a:lnTo>
                    <a:pt x="1828" y="38"/>
                  </a:lnTo>
                  <a:lnTo>
                    <a:pt x="1826" y="36"/>
                  </a:lnTo>
                  <a:lnTo>
                    <a:pt x="1823" y="35"/>
                  </a:lnTo>
                  <a:lnTo>
                    <a:pt x="1820" y="34"/>
                  </a:lnTo>
                  <a:lnTo>
                    <a:pt x="1815" y="34"/>
                  </a:lnTo>
                  <a:lnTo>
                    <a:pt x="1800" y="34"/>
                  </a:lnTo>
                  <a:close/>
                  <a:moveTo>
                    <a:pt x="1867" y="57"/>
                  </a:moveTo>
                  <a:lnTo>
                    <a:pt x="1867" y="86"/>
                  </a:lnTo>
                  <a:lnTo>
                    <a:pt x="1867" y="92"/>
                  </a:lnTo>
                  <a:lnTo>
                    <a:pt x="1866" y="97"/>
                  </a:lnTo>
                  <a:lnTo>
                    <a:pt x="1865" y="104"/>
                  </a:lnTo>
                  <a:lnTo>
                    <a:pt x="1864" y="109"/>
                  </a:lnTo>
                  <a:lnTo>
                    <a:pt x="1862" y="113"/>
                  </a:lnTo>
                  <a:lnTo>
                    <a:pt x="1860" y="118"/>
                  </a:lnTo>
                  <a:lnTo>
                    <a:pt x="1858" y="122"/>
                  </a:lnTo>
                  <a:lnTo>
                    <a:pt x="1855" y="126"/>
                  </a:lnTo>
                  <a:lnTo>
                    <a:pt x="1851" y="129"/>
                  </a:lnTo>
                  <a:lnTo>
                    <a:pt x="1847" y="132"/>
                  </a:lnTo>
                  <a:lnTo>
                    <a:pt x="1843" y="134"/>
                  </a:lnTo>
                  <a:lnTo>
                    <a:pt x="1839" y="136"/>
                  </a:lnTo>
                  <a:lnTo>
                    <a:pt x="1833" y="138"/>
                  </a:lnTo>
                  <a:lnTo>
                    <a:pt x="1828" y="139"/>
                  </a:lnTo>
                  <a:lnTo>
                    <a:pt x="1822" y="140"/>
                  </a:lnTo>
                  <a:lnTo>
                    <a:pt x="1815" y="140"/>
                  </a:lnTo>
                  <a:lnTo>
                    <a:pt x="1800" y="140"/>
                  </a:lnTo>
                  <a:lnTo>
                    <a:pt x="1800" y="222"/>
                  </a:lnTo>
                  <a:lnTo>
                    <a:pt x="1766" y="222"/>
                  </a:lnTo>
                  <a:lnTo>
                    <a:pt x="1766" y="3"/>
                  </a:lnTo>
                  <a:lnTo>
                    <a:pt x="1815" y="3"/>
                  </a:lnTo>
                  <a:lnTo>
                    <a:pt x="1822" y="3"/>
                  </a:lnTo>
                  <a:lnTo>
                    <a:pt x="1828" y="3"/>
                  </a:lnTo>
                  <a:lnTo>
                    <a:pt x="1833" y="4"/>
                  </a:lnTo>
                  <a:lnTo>
                    <a:pt x="1839" y="6"/>
                  </a:lnTo>
                  <a:lnTo>
                    <a:pt x="1843" y="9"/>
                  </a:lnTo>
                  <a:lnTo>
                    <a:pt x="1847" y="11"/>
                  </a:lnTo>
                  <a:lnTo>
                    <a:pt x="1851" y="14"/>
                  </a:lnTo>
                  <a:lnTo>
                    <a:pt x="1855" y="17"/>
                  </a:lnTo>
                  <a:lnTo>
                    <a:pt x="1858" y="20"/>
                  </a:lnTo>
                  <a:lnTo>
                    <a:pt x="1860" y="24"/>
                  </a:lnTo>
                  <a:lnTo>
                    <a:pt x="1862" y="29"/>
                  </a:lnTo>
                  <a:lnTo>
                    <a:pt x="1864" y="34"/>
                  </a:lnTo>
                  <a:lnTo>
                    <a:pt x="1865" y="39"/>
                  </a:lnTo>
                  <a:lnTo>
                    <a:pt x="1866" y="44"/>
                  </a:lnTo>
                  <a:lnTo>
                    <a:pt x="1867" y="51"/>
                  </a:lnTo>
                  <a:lnTo>
                    <a:pt x="1867" y="57"/>
                  </a:lnTo>
                  <a:close/>
                  <a:moveTo>
                    <a:pt x="1665" y="3"/>
                  </a:moveTo>
                  <a:lnTo>
                    <a:pt x="1665" y="172"/>
                  </a:lnTo>
                  <a:lnTo>
                    <a:pt x="1666" y="178"/>
                  </a:lnTo>
                  <a:lnTo>
                    <a:pt x="1667" y="182"/>
                  </a:lnTo>
                  <a:lnTo>
                    <a:pt x="1667" y="184"/>
                  </a:lnTo>
                  <a:lnTo>
                    <a:pt x="1668" y="185"/>
                  </a:lnTo>
                  <a:lnTo>
                    <a:pt x="1671" y="188"/>
                  </a:lnTo>
                  <a:lnTo>
                    <a:pt x="1673" y="190"/>
                  </a:lnTo>
                  <a:lnTo>
                    <a:pt x="1676" y="193"/>
                  </a:lnTo>
                  <a:lnTo>
                    <a:pt x="1680" y="193"/>
                  </a:lnTo>
                  <a:lnTo>
                    <a:pt x="1683" y="194"/>
                  </a:lnTo>
                  <a:lnTo>
                    <a:pt x="1687" y="193"/>
                  </a:lnTo>
                  <a:lnTo>
                    <a:pt x="1691" y="193"/>
                  </a:lnTo>
                  <a:lnTo>
                    <a:pt x="1694" y="190"/>
                  </a:lnTo>
                  <a:lnTo>
                    <a:pt x="1697" y="188"/>
                  </a:lnTo>
                  <a:lnTo>
                    <a:pt x="1698" y="185"/>
                  </a:lnTo>
                  <a:lnTo>
                    <a:pt x="1700" y="182"/>
                  </a:lnTo>
                  <a:lnTo>
                    <a:pt x="1701" y="178"/>
                  </a:lnTo>
                  <a:lnTo>
                    <a:pt x="1701" y="172"/>
                  </a:lnTo>
                  <a:lnTo>
                    <a:pt x="1701" y="3"/>
                  </a:lnTo>
                  <a:lnTo>
                    <a:pt x="1734" y="3"/>
                  </a:lnTo>
                  <a:lnTo>
                    <a:pt x="1734" y="169"/>
                  </a:lnTo>
                  <a:lnTo>
                    <a:pt x="1734" y="176"/>
                  </a:lnTo>
                  <a:lnTo>
                    <a:pt x="1733" y="182"/>
                  </a:lnTo>
                  <a:lnTo>
                    <a:pt x="1732" y="188"/>
                  </a:lnTo>
                  <a:lnTo>
                    <a:pt x="1731" y="194"/>
                  </a:lnTo>
                  <a:lnTo>
                    <a:pt x="1729" y="198"/>
                  </a:lnTo>
                  <a:lnTo>
                    <a:pt x="1727" y="203"/>
                  </a:lnTo>
                  <a:lnTo>
                    <a:pt x="1723" y="206"/>
                  </a:lnTo>
                  <a:lnTo>
                    <a:pt x="1721" y="211"/>
                  </a:lnTo>
                  <a:lnTo>
                    <a:pt x="1717" y="214"/>
                  </a:lnTo>
                  <a:lnTo>
                    <a:pt x="1714" y="217"/>
                  </a:lnTo>
                  <a:lnTo>
                    <a:pt x="1712" y="218"/>
                  </a:lnTo>
                  <a:lnTo>
                    <a:pt x="1710" y="219"/>
                  </a:lnTo>
                  <a:lnTo>
                    <a:pt x="1704" y="221"/>
                  </a:lnTo>
                  <a:lnTo>
                    <a:pt x="1700" y="223"/>
                  </a:lnTo>
                  <a:lnTo>
                    <a:pt x="1695" y="224"/>
                  </a:lnTo>
                  <a:lnTo>
                    <a:pt x="1688" y="224"/>
                  </a:lnTo>
                  <a:lnTo>
                    <a:pt x="1682" y="225"/>
                  </a:lnTo>
                  <a:lnTo>
                    <a:pt x="1677" y="224"/>
                  </a:lnTo>
                  <a:lnTo>
                    <a:pt x="1671" y="224"/>
                  </a:lnTo>
                  <a:lnTo>
                    <a:pt x="1665" y="223"/>
                  </a:lnTo>
                  <a:lnTo>
                    <a:pt x="1660" y="221"/>
                  </a:lnTo>
                  <a:lnTo>
                    <a:pt x="1656" y="219"/>
                  </a:lnTo>
                  <a:lnTo>
                    <a:pt x="1651" y="217"/>
                  </a:lnTo>
                  <a:lnTo>
                    <a:pt x="1647" y="214"/>
                  </a:lnTo>
                  <a:lnTo>
                    <a:pt x="1644" y="211"/>
                  </a:lnTo>
                  <a:lnTo>
                    <a:pt x="1641" y="206"/>
                  </a:lnTo>
                  <a:lnTo>
                    <a:pt x="1639" y="203"/>
                  </a:lnTo>
                  <a:lnTo>
                    <a:pt x="1637" y="198"/>
                  </a:lnTo>
                  <a:lnTo>
                    <a:pt x="1635" y="194"/>
                  </a:lnTo>
                  <a:lnTo>
                    <a:pt x="1632" y="188"/>
                  </a:lnTo>
                  <a:lnTo>
                    <a:pt x="1632" y="182"/>
                  </a:lnTo>
                  <a:lnTo>
                    <a:pt x="1631" y="176"/>
                  </a:lnTo>
                  <a:lnTo>
                    <a:pt x="1631" y="169"/>
                  </a:lnTo>
                  <a:lnTo>
                    <a:pt x="1631" y="3"/>
                  </a:lnTo>
                  <a:lnTo>
                    <a:pt x="1665" y="3"/>
                  </a:lnTo>
                  <a:close/>
                  <a:moveTo>
                    <a:pt x="1530" y="152"/>
                  </a:moveTo>
                  <a:lnTo>
                    <a:pt x="1564" y="152"/>
                  </a:lnTo>
                  <a:lnTo>
                    <a:pt x="1547" y="41"/>
                  </a:lnTo>
                  <a:lnTo>
                    <a:pt x="1530" y="152"/>
                  </a:lnTo>
                  <a:close/>
                  <a:moveTo>
                    <a:pt x="1609" y="222"/>
                  </a:moveTo>
                  <a:lnTo>
                    <a:pt x="1574" y="222"/>
                  </a:lnTo>
                  <a:lnTo>
                    <a:pt x="1568" y="182"/>
                  </a:lnTo>
                  <a:lnTo>
                    <a:pt x="1526" y="182"/>
                  </a:lnTo>
                  <a:lnTo>
                    <a:pt x="1520" y="222"/>
                  </a:lnTo>
                  <a:lnTo>
                    <a:pt x="1489" y="222"/>
                  </a:lnTo>
                  <a:lnTo>
                    <a:pt x="1524" y="3"/>
                  </a:lnTo>
                  <a:lnTo>
                    <a:pt x="1574" y="3"/>
                  </a:lnTo>
                  <a:lnTo>
                    <a:pt x="1609" y="222"/>
                  </a:lnTo>
                  <a:close/>
                  <a:moveTo>
                    <a:pt x="1405" y="134"/>
                  </a:moveTo>
                  <a:lnTo>
                    <a:pt x="1394" y="154"/>
                  </a:lnTo>
                  <a:lnTo>
                    <a:pt x="1394" y="222"/>
                  </a:lnTo>
                  <a:lnTo>
                    <a:pt x="1360" y="222"/>
                  </a:lnTo>
                  <a:lnTo>
                    <a:pt x="1360" y="3"/>
                  </a:lnTo>
                  <a:lnTo>
                    <a:pt x="1394" y="3"/>
                  </a:lnTo>
                  <a:lnTo>
                    <a:pt x="1394" y="98"/>
                  </a:lnTo>
                  <a:lnTo>
                    <a:pt x="1440" y="3"/>
                  </a:lnTo>
                  <a:lnTo>
                    <a:pt x="1474" y="3"/>
                  </a:lnTo>
                  <a:lnTo>
                    <a:pt x="1426" y="101"/>
                  </a:lnTo>
                  <a:lnTo>
                    <a:pt x="1474" y="222"/>
                  </a:lnTo>
                  <a:lnTo>
                    <a:pt x="1439" y="222"/>
                  </a:lnTo>
                  <a:lnTo>
                    <a:pt x="1405" y="134"/>
                  </a:lnTo>
                  <a:close/>
                  <a:moveTo>
                    <a:pt x="1271" y="95"/>
                  </a:moveTo>
                  <a:lnTo>
                    <a:pt x="1318" y="95"/>
                  </a:lnTo>
                  <a:lnTo>
                    <a:pt x="1318" y="127"/>
                  </a:lnTo>
                  <a:lnTo>
                    <a:pt x="1271" y="127"/>
                  </a:lnTo>
                  <a:lnTo>
                    <a:pt x="1271" y="190"/>
                  </a:lnTo>
                  <a:lnTo>
                    <a:pt x="1331" y="190"/>
                  </a:lnTo>
                  <a:lnTo>
                    <a:pt x="1331" y="222"/>
                  </a:lnTo>
                  <a:lnTo>
                    <a:pt x="1237" y="222"/>
                  </a:lnTo>
                  <a:lnTo>
                    <a:pt x="1237" y="3"/>
                  </a:lnTo>
                  <a:lnTo>
                    <a:pt x="1331" y="3"/>
                  </a:lnTo>
                  <a:lnTo>
                    <a:pt x="1331" y="34"/>
                  </a:lnTo>
                  <a:lnTo>
                    <a:pt x="1271" y="34"/>
                  </a:lnTo>
                  <a:lnTo>
                    <a:pt x="1271" y="95"/>
                  </a:lnTo>
                  <a:close/>
                  <a:moveTo>
                    <a:pt x="1108" y="3"/>
                  </a:moveTo>
                  <a:lnTo>
                    <a:pt x="1214" y="3"/>
                  </a:lnTo>
                  <a:lnTo>
                    <a:pt x="1214" y="34"/>
                  </a:lnTo>
                  <a:lnTo>
                    <a:pt x="1178" y="34"/>
                  </a:lnTo>
                  <a:lnTo>
                    <a:pt x="1178" y="222"/>
                  </a:lnTo>
                  <a:lnTo>
                    <a:pt x="1144" y="222"/>
                  </a:lnTo>
                  <a:lnTo>
                    <a:pt x="1144" y="34"/>
                  </a:lnTo>
                  <a:lnTo>
                    <a:pt x="1108" y="34"/>
                  </a:lnTo>
                  <a:lnTo>
                    <a:pt x="1108" y="3"/>
                  </a:lnTo>
                  <a:close/>
                  <a:moveTo>
                    <a:pt x="1039" y="0"/>
                  </a:moveTo>
                  <a:lnTo>
                    <a:pt x="1044" y="0"/>
                  </a:lnTo>
                  <a:lnTo>
                    <a:pt x="1051" y="1"/>
                  </a:lnTo>
                  <a:lnTo>
                    <a:pt x="1056" y="2"/>
                  </a:lnTo>
                  <a:lnTo>
                    <a:pt x="1061" y="4"/>
                  </a:lnTo>
                  <a:lnTo>
                    <a:pt x="1066" y="6"/>
                  </a:lnTo>
                  <a:lnTo>
                    <a:pt x="1070" y="9"/>
                  </a:lnTo>
                  <a:lnTo>
                    <a:pt x="1073" y="12"/>
                  </a:lnTo>
                  <a:lnTo>
                    <a:pt x="1077" y="15"/>
                  </a:lnTo>
                  <a:lnTo>
                    <a:pt x="1079" y="18"/>
                  </a:lnTo>
                  <a:lnTo>
                    <a:pt x="1083" y="22"/>
                  </a:lnTo>
                  <a:lnTo>
                    <a:pt x="1085" y="28"/>
                  </a:lnTo>
                  <a:lnTo>
                    <a:pt x="1087" y="32"/>
                  </a:lnTo>
                  <a:lnTo>
                    <a:pt x="1088" y="37"/>
                  </a:lnTo>
                  <a:lnTo>
                    <a:pt x="1089" y="43"/>
                  </a:lnTo>
                  <a:lnTo>
                    <a:pt x="1090" y="49"/>
                  </a:lnTo>
                  <a:lnTo>
                    <a:pt x="1090" y="55"/>
                  </a:lnTo>
                  <a:lnTo>
                    <a:pt x="1090" y="62"/>
                  </a:lnTo>
                  <a:lnTo>
                    <a:pt x="1057" y="62"/>
                  </a:lnTo>
                  <a:lnTo>
                    <a:pt x="1057" y="53"/>
                  </a:lnTo>
                  <a:lnTo>
                    <a:pt x="1057" y="48"/>
                  </a:lnTo>
                  <a:lnTo>
                    <a:pt x="1056" y="43"/>
                  </a:lnTo>
                  <a:lnTo>
                    <a:pt x="1054" y="39"/>
                  </a:lnTo>
                  <a:lnTo>
                    <a:pt x="1053" y="36"/>
                  </a:lnTo>
                  <a:lnTo>
                    <a:pt x="1050" y="34"/>
                  </a:lnTo>
                  <a:lnTo>
                    <a:pt x="1048" y="33"/>
                  </a:lnTo>
                  <a:lnTo>
                    <a:pt x="1043" y="32"/>
                  </a:lnTo>
                  <a:lnTo>
                    <a:pt x="1040" y="32"/>
                  </a:lnTo>
                  <a:lnTo>
                    <a:pt x="1036" y="32"/>
                  </a:lnTo>
                  <a:lnTo>
                    <a:pt x="1033" y="33"/>
                  </a:lnTo>
                  <a:lnTo>
                    <a:pt x="1031" y="34"/>
                  </a:lnTo>
                  <a:lnTo>
                    <a:pt x="1030" y="34"/>
                  </a:lnTo>
                  <a:lnTo>
                    <a:pt x="1028" y="36"/>
                  </a:lnTo>
                  <a:lnTo>
                    <a:pt x="1025" y="39"/>
                  </a:lnTo>
                  <a:lnTo>
                    <a:pt x="1023" y="43"/>
                  </a:lnTo>
                  <a:lnTo>
                    <a:pt x="1023" y="48"/>
                  </a:lnTo>
                  <a:lnTo>
                    <a:pt x="1022" y="53"/>
                  </a:lnTo>
                  <a:lnTo>
                    <a:pt x="1022" y="57"/>
                  </a:lnTo>
                  <a:lnTo>
                    <a:pt x="1023" y="61"/>
                  </a:lnTo>
                  <a:lnTo>
                    <a:pt x="1025" y="69"/>
                  </a:lnTo>
                  <a:lnTo>
                    <a:pt x="1026" y="72"/>
                  </a:lnTo>
                  <a:lnTo>
                    <a:pt x="1029" y="75"/>
                  </a:lnTo>
                  <a:lnTo>
                    <a:pt x="1033" y="81"/>
                  </a:lnTo>
                  <a:lnTo>
                    <a:pt x="1038" y="88"/>
                  </a:lnTo>
                  <a:lnTo>
                    <a:pt x="1043" y="93"/>
                  </a:lnTo>
                  <a:lnTo>
                    <a:pt x="1056" y="105"/>
                  </a:lnTo>
                  <a:lnTo>
                    <a:pt x="1069" y="117"/>
                  </a:lnTo>
                  <a:lnTo>
                    <a:pt x="1074" y="124"/>
                  </a:lnTo>
                  <a:lnTo>
                    <a:pt x="1079" y="131"/>
                  </a:lnTo>
                  <a:lnTo>
                    <a:pt x="1084" y="140"/>
                  </a:lnTo>
                  <a:lnTo>
                    <a:pt x="1087" y="148"/>
                  </a:lnTo>
                  <a:lnTo>
                    <a:pt x="1089" y="159"/>
                  </a:lnTo>
                  <a:lnTo>
                    <a:pt x="1090" y="164"/>
                  </a:lnTo>
                  <a:lnTo>
                    <a:pt x="1090" y="169"/>
                  </a:lnTo>
                  <a:lnTo>
                    <a:pt x="1090" y="176"/>
                  </a:lnTo>
                  <a:lnTo>
                    <a:pt x="1089" y="182"/>
                  </a:lnTo>
                  <a:lnTo>
                    <a:pt x="1088" y="187"/>
                  </a:lnTo>
                  <a:lnTo>
                    <a:pt x="1087" y="193"/>
                  </a:lnTo>
                  <a:lnTo>
                    <a:pt x="1085" y="198"/>
                  </a:lnTo>
                  <a:lnTo>
                    <a:pt x="1083" y="202"/>
                  </a:lnTo>
                  <a:lnTo>
                    <a:pt x="1080" y="206"/>
                  </a:lnTo>
                  <a:lnTo>
                    <a:pt x="1077" y="211"/>
                  </a:lnTo>
                  <a:lnTo>
                    <a:pt x="1073" y="214"/>
                  </a:lnTo>
                  <a:lnTo>
                    <a:pt x="1070" y="217"/>
                  </a:lnTo>
                  <a:lnTo>
                    <a:pt x="1068" y="218"/>
                  </a:lnTo>
                  <a:lnTo>
                    <a:pt x="1066" y="219"/>
                  </a:lnTo>
                  <a:lnTo>
                    <a:pt x="1061" y="221"/>
                  </a:lnTo>
                  <a:lnTo>
                    <a:pt x="1056" y="222"/>
                  </a:lnTo>
                  <a:lnTo>
                    <a:pt x="1051" y="223"/>
                  </a:lnTo>
                  <a:lnTo>
                    <a:pt x="1044" y="224"/>
                  </a:lnTo>
                  <a:lnTo>
                    <a:pt x="1038" y="224"/>
                  </a:lnTo>
                  <a:lnTo>
                    <a:pt x="1033" y="224"/>
                  </a:lnTo>
                  <a:lnTo>
                    <a:pt x="1026" y="223"/>
                  </a:lnTo>
                  <a:lnTo>
                    <a:pt x="1021" y="222"/>
                  </a:lnTo>
                  <a:lnTo>
                    <a:pt x="1016" y="221"/>
                  </a:lnTo>
                  <a:lnTo>
                    <a:pt x="1012" y="219"/>
                  </a:lnTo>
                  <a:lnTo>
                    <a:pt x="1007" y="217"/>
                  </a:lnTo>
                  <a:lnTo>
                    <a:pt x="1003" y="214"/>
                  </a:lnTo>
                  <a:lnTo>
                    <a:pt x="1000" y="211"/>
                  </a:lnTo>
                  <a:lnTo>
                    <a:pt x="997" y="206"/>
                  </a:lnTo>
                  <a:lnTo>
                    <a:pt x="995" y="202"/>
                  </a:lnTo>
                  <a:lnTo>
                    <a:pt x="993" y="198"/>
                  </a:lnTo>
                  <a:lnTo>
                    <a:pt x="991" y="193"/>
                  </a:lnTo>
                  <a:lnTo>
                    <a:pt x="989" y="187"/>
                  </a:lnTo>
                  <a:lnTo>
                    <a:pt x="988" y="182"/>
                  </a:lnTo>
                  <a:lnTo>
                    <a:pt x="987" y="176"/>
                  </a:lnTo>
                  <a:lnTo>
                    <a:pt x="987" y="169"/>
                  </a:lnTo>
                  <a:lnTo>
                    <a:pt x="987" y="156"/>
                  </a:lnTo>
                  <a:lnTo>
                    <a:pt x="1020" y="156"/>
                  </a:lnTo>
                  <a:lnTo>
                    <a:pt x="1020" y="171"/>
                  </a:lnTo>
                  <a:lnTo>
                    <a:pt x="1020" y="177"/>
                  </a:lnTo>
                  <a:lnTo>
                    <a:pt x="1021" y="182"/>
                  </a:lnTo>
                  <a:lnTo>
                    <a:pt x="1021" y="183"/>
                  </a:lnTo>
                  <a:lnTo>
                    <a:pt x="1022" y="185"/>
                  </a:lnTo>
                  <a:lnTo>
                    <a:pt x="1024" y="188"/>
                  </a:lnTo>
                  <a:lnTo>
                    <a:pt x="1028" y="190"/>
                  </a:lnTo>
                  <a:lnTo>
                    <a:pt x="1031" y="191"/>
                  </a:lnTo>
                  <a:lnTo>
                    <a:pt x="1034" y="193"/>
                  </a:lnTo>
                  <a:lnTo>
                    <a:pt x="1038" y="193"/>
                  </a:lnTo>
                  <a:lnTo>
                    <a:pt x="1041" y="193"/>
                  </a:lnTo>
                  <a:lnTo>
                    <a:pt x="1046" y="191"/>
                  </a:lnTo>
                  <a:lnTo>
                    <a:pt x="1048" y="190"/>
                  </a:lnTo>
                  <a:lnTo>
                    <a:pt x="1051" y="188"/>
                  </a:lnTo>
                  <a:lnTo>
                    <a:pt x="1053" y="185"/>
                  </a:lnTo>
                  <a:lnTo>
                    <a:pt x="1054" y="182"/>
                  </a:lnTo>
                  <a:lnTo>
                    <a:pt x="1055" y="177"/>
                  </a:lnTo>
                  <a:lnTo>
                    <a:pt x="1055" y="171"/>
                  </a:lnTo>
                  <a:lnTo>
                    <a:pt x="1055" y="167"/>
                  </a:lnTo>
                  <a:lnTo>
                    <a:pt x="1055" y="164"/>
                  </a:lnTo>
                  <a:lnTo>
                    <a:pt x="1053" y="157"/>
                  </a:lnTo>
                  <a:lnTo>
                    <a:pt x="1051" y="152"/>
                  </a:lnTo>
                  <a:lnTo>
                    <a:pt x="1050" y="149"/>
                  </a:lnTo>
                  <a:lnTo>
                    <a:pt x="1044" y="143"/>
                  </a:lnTo>
                  <a:lnTo>
                    <a:pt x="1040" y="138"/>
                  </a:lnTo>
                  <a:lnTo>
                    <a:pt x="1034" y="131"/>
                  </a:lnTo>
                  <a:lnTo>
                    <a:pt x="1022" y="120"/>
                  </a:lnTo>
                  <a:lnTo>
                    <a:pt x="1010" y="108"/>
                  </a:lnTo>
                  <a:lnTo>
                    <a:pt x="1003" y="101"/>
                  </a:lnTo>
                  <a:lnTo>
                    <a:pt x="999" y="93"/>
                  </a:lnTo>
                  <a:lnTo>
                    <a:pt x="995" y="86"/>
                  </a:lnTo>
                  <a:lnTo>
                    <a:pt x="991" y="76"/>
                  </a:lnTo>
                  <a:lnTo>
                    <a:pt x="988" y="67"/>
                  </a:lnTo>
                  <a:lnTo>
                    <a:pt x="988" y="61"/>
                  </a:lnTo>
                  <a:lnTo>
                    <a:pt x="988" y="55"/>
                  </a:lnTo>
                  <a:lnTo>
                    <a:pt x="988" y="49"/>
                  </a:lnTo>
                  <a:lnTo>
                    <a:pt x="988" y="43"/>
                  </a:lnTo>
                  <a:lnTo>
                    <a:pt x="989" y="37"/>
                  </a:lnTo>
                  <a:lnTo>
                    <a:pt x="992" y="32"/>
                  </a:lnTo>
                  <a:lnTo>
                    <a:pt x="993" y="28"/>
                  </a:lnTo>
                  <a:lnTo>
                    <a:pt x="996" y="22"/>
                  </a:lnTo>
                  <a:lnTo>
                    <a:pt x="998" y="18"/>
                  </a:lnTo>
                  <a:lnTo>
                    <a:pt x="1001" y="15"/>
                  </a:lnTo>
                  <a:lnTo>
                    <a:pt x="1004" y="12"/>
                  </a:lnTo>
                  <a:lnTo>
                    <a:pt x="1008" y="9"/>
                  </a:lnTo>
                  <a:lnTo>
                    <a:pt x="1011" y="7"/>
                  </a:lnTo>
                  <a:lnTo>
                    <a:pt x="1013" y="6"/>
                  </a:lnTo>
                  <a:lnTo>
                    <a:pt x="1017" y="4"/>
                  </a:lnTo>
                  <a:lnTo>
                    <a:pt x="1022" y="2"/>
                  </a:lnTo>
                  <a:lnTo>
                    <a:pt x="1028" y="1"/>
                  </a:lnTo>
                  <a:lnTo>
                    <a:pt x="1033" y="0"/>
                  </a:lnTo>
                  <a:lnTo>
                    <a:pt x="1039" y="0"/>
                  </a:lnTo>
                  <a:close/>
                  <a:moveTo>
                    <a:pt x="904" y="95"/>
                  </a:moveTo>
                  <a:lnTo>
                    <a:pt x="951" y="95"/>
                  </a:lnTo>
                  <a:lnTo>
                    <a:pt x="951" y="127"/>
                  </a:lnTo>
                  <a:lnTo>
                    <a:pt x="904" y="127"/>
                  </a:lnTo>
                  <a:lnTo>
                    <a:pt x="904" y="190"/>
                  </a:lnTo>
                  <a:lnTo>
                    <a:pt x="963" y="190"/>
                  </a:lnTo>
                  <a:lnTo>
                    <a:pt x="963" y="222"/>
                  </a:lnTo>
                  <a:lnTo>
                    <a:pt x="870" y="222"/>
                  </a:lnTo>
                  <a:lnTo>
                    <a:pt x="870" y="3"/>
                  </a:lnTo>
                  <a:lnTo>
                    <a:pt x="963" y="3"/>
                  </a:lnTo>
                  <a:lnTo>
                    <a:pt x="963" y="34"/>
                  </a:lnTo>
                  <a:lnTo>
                    <a:pt x="904" y="34"/>
                  </a:lnTo>
                  <a:lnTo>
                    <a:pt x="904" y="95"/>
                  </a:lnTo>
                  <a:close/>
                  <a:moveTo>
                    <a:pt x="759" y="64"/>
                  </a:moveTo>
                  <a:lnTo>
                    <a:pt x="759" y="222"/>
                  </a:lnTo>
                  <a:lnTo>
                    <a:pt x="727" y="222"/>
                  </a:lnTo>
                  <a:lnTo>
                    <a:pt x="727" y="3"/>
                  </a:lnTo>
                  <a:lnTo>
                    <a:pt x="771" y="3"/>
                  </a:lnTo>
                  <a:lnTo>
                    <a:pt x="807" y="134"/>
                  </a:lnTo>
                  <a:lnTo>
                    <a:pt x="807" y="3"/>
                  </a:lnTo>
                  <a:lnTo>
                    <a:pt x="837" y="3"/>
                  </a:lnTo>
                  <a:lnTo>
                    <a:pt x="837" y="222"/>
                  </a:lnTo>
                  <a:lnTo>
                    <a:pt x="801" y="222"/>
                  </a:lnTo>
                  <a:lnTo>
                    <a:pt x="759" y="64"/>
                  </a:lnTo>
                  <a:close/>
                  <a:moveTo>
                    <a:pt x="628" y="171"/>
                  </a:moveTo>
                  <a:lnTo>
                    <a:pt x="628" y="177"/>
                  </a:lnTo>
                  <a:lnTo>
                    <a:pt x="629" y="182"/>
                  </a:lnTo>
                  <a:lnTo>
                    <a:pt x="630" y="184"/>
                  </a:lnTo>
                  <a:lnTo>
                    <a:pt x="630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8" y="193"/>
                  </a:lnTo>
                  <a:lnTo>
                    <a:pt x="642" y="193"/>
                  </a:lnTo>
                  <a:lnTo>
                    <a:pt x="646" y="194"/>
                  </a:lnTo>
                  <a:lnTo>
                    <a:pt x="649" y="193"/>
                  </a:lnTo>
                  <a:lnTo>
                    <a:pt x="653" y="193"/>
                  </a:lnTo>
                  <a:lnTo>
                    <a:pt x="656" y="190"/>
                  </a:lnTo>
                  <a:lnTo>
                    <a:pt x="658" y="188"/>
                  </a:lnTo>
                  <a:lnTo>
                    <a:pt x="661" y="185"/>
                  </a:lnTo>
                  <a:lnTo>
                    <a:pt x="662" y="182"/>
                  </a:lnTo>
                  <a:lnTo>
                    <a:pt x="663" y="177"/>
                  </a:lnTo>
                  <a:lnTo>
                    <a:pt x="664" y="171"/>
                  </a:lnTo>
                  <a:lnTo>
                    <a:pt x="664" y="53"/>
                  </a:lnTo>
                  <a:lnTo>
                    <a:pt x="663" y="48"/>
                  </a:lnTo>
                  <a:lnTo>
                    <a:pt x="662" y="43"/>
                  </a:lnTo>
                  <a:lnTo>
                    <a:pt x="662" y="41"/>
                  </a:lnTo>
                  <a:lnTo>
                    <a:pt x="661" y="39"/>
                  </a:lnTo>
                  <a:lnTo>
                    <a:pt x="658" y="36"/>
                  </a:lnTo>
                  <a:lnTo>
                    <a:pt x="656" y="34"/>
                  </a:lnTo>
                  <a:lnTo>
                    <a:pt x="653" y="33"/>
                  </a:lnTo>
                  <a:lnTo>
                    <a:pt x="649" y="32"/>
                  </a:lnTo>
                  <a:lnTo>
                    <a:pt x="646" y="32"/>
                  </a:lnTo>
                  <a:lnTo>
                    <a:pt x="642" y="32"/>
                  </a:lnTo>
                  <a:lnTo>
                    <a:pt x="638" y="33"/>
                  </a:lnTo>
                  <a:lnTo>
                    <a:pt x="635" y="34"/>
                  </a:lnTo>
                  <a:lnTo>
                    <a:pt x="632" y="36"/>
                  </a:lnTo>
                  <a:lnTo>
                    <a:pt x="630" y="39"/>
                  </a:lnTo>
                  <a:lnTo>
                    <a:pt x="629" y="43"/>
                  </a:lnTo>
                  <a:lnTo>
                    <a:pt x="628" y="48"/>
                  </a:lnTo>
                  <a:lnTo>
                    <a:pt x="628" y="53"/>
                  </a:lnTo>
                  <a:lnTo>
                    <a:pt x="628" y="171"/>
                  </a:lnTo>
                  <a:close/>
                  <a:moveTo>
                    <a:pt x="593" y="55"/>
                  </a:moveTo>
                  <a:lnTo>
                    <a:pt x="593" y="49"/>
                  </a:lnTo>
                  <a:lnTo>
                    <a:pt x="594" y="43"/>
                  </a:lnTo>
                  <a:lnTo>
                    <a:pt x="595" y="37"/>
                  </a:lnTo>
                  <a:lnTo>
                    <a:pt x="596" y="35"/>
                  </a:lnTo>
                  <a:lnTo>
                    <a:pt x="597" y="32"/>
                  </a:lnTo>
                  <a:lnTo>
                    <a:pt x="598" y="28"/>
                  </a:lnTo>
                  <a:lnTo>
                    <a:pt x="601" y="22"/>
                  </a:lnTo>
                  <a:lnTo>
                    <a:pt x="603" y="18"/>
                  </a:lnTo>
                  <a:lnTo>
                    <a:pt x="607" y="15"/>
                  </a:lnTo>
                  <a:lnTo>
                    <a:pt x="610" y="12"/>
                  </a:lnTo>
                  <a:lnTo>
                    <a:pt x="614" y="9"/>
                  </a:lnTo>
                  <a:lnTo>
                    <a:pt x="618" y="6"/>
                  </a:lnTo>
                  <a:lnTo>
                    <a:pt x="624" y="4"/>
                  </a:lnTo>
                  <a:lnTo>
                    <a:pt x="628" y="2"/>
                  </a:lnTo>
                  <a:lnTo>
                    <a:pt x="633" y="1"/>
                  </a:lnTo>
                  <a:lnTo>
                    <a:pt x="639" y="0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7" y="1"/>
                  </a:lnTo>
                  <a:lnTo>
                    <a:pt x="663" y="2"/>
                  </a:lnTo>
                  <a:lnTo>
                    <a:pt x="668" y="4"/>
                  </a:lnTo>
                  <a:lnTo>
                    <a:pt x="672" y="6"/>
                  </a:lnTo>
                  <a:lnTo>
                    <a:pt x="676" y="9"/>
                  </a:lnTo>
                  <a:lnTo>
                    <a:pt x="681" y="12"/>
                  </a:lnTo>
                  <a:lnTo>
                    <a:pt x="684" y="15"/>
                  </a:lnTo>
                  <a:lnTo>
                    <a:pt x="687" y="18"/>
                  </a:lnTo>
                  <a:lnTo>
                    <a:pt x="690" y="22"/>
                  </a:lnTo>
                  <a:lnTo>
                    <a:pt x="692" y="28"/>
                  </a:lnTo>
                  <a:lnTo>
                    <a:pt x="694" y="32"/>
                  </a:lnTo>
                  <a:lnTo>
                    <a:pt x="695" y="37"/>
                  </a:lnTo>
                  <a:lnTo>
                    <a:pt x="697" y="43"/>
                  </a:lnTo>
                  <a:lnTo>
                    <a:pt x="698" y="49"/>
                  </a:lnTo>
                  <a:lnTo>
                    <a:pt x="698" y="55"/>
                  </a:lnTo>
                  <a:lnTo>
                    <a:pt x="698" y="169"/>
                  </a:lnTo>
                  <a:lnTo>
                    <a:pt x="698" y="176"/>
                  </a:lnTo>
                  <a:lnTo>
                    <a:pt x="697" y="182"/>
                  </a:lnTo>
                  <a:lnTo>
                    <a:pt x="695" y="187"/>
                  </a:lnTo>
                  <a:lnTo>
                    <a:pt x="695" y="190"/>
                  </a:lnTo>
                  <a:lnTo>
                    <a:pt x="694" y="193"/>
                  </a:lnTo>
                  <a:lnTo>
                    <a:pt x="692" y="198"/>
                  </a:lnTo>
                  <a:lnTo>
                    <a:pt x="690" y="202"/>
                  </a:lnTo>
                  <a:lnTo>
                    <a:pt x="687" y="206"/>
                  </a:lnTo>
                  <a:lnTo>
                    <a:pt x="684" y="211"/>
                  </a:lnTo>
                  <a:lnTo>
                    <a:pt x="681" y="214"/>
                  </a:lnTo>
                  <a:lnTo>
                    <a:pt x="676" y="217"/>
                  </a:lnTo>
                  <a:lnTo>
                    <a:pt x="672" y="219"/>
                  </a:lnTo>
                  <a:lnTo>
                    <a:pt x="668" y="221"/>
                  </a:lnTo>
                  <a:lnTo>
                    <a:pt x="663" y="222"/>
                  </a:lnTo>
                  <a:lnTo>
                    <a:pt x="657" y="223"/>
                  </a:lnTo>
                  <a:lnTo>
                    <a:pt x="652" y="224"/>
                  </a:lnTo>
                  <a:lnTo>
                    <a:pt x="646" y="224"/>
                  </a:lnTo>
                  <a:lnTo>
                    <a:pt x="639" y="224"/>
                  </a:lnTo>
                  <a:lnTo>
                    <a:pt x="633" y="223"/>
                  </a:lnTo>
                  <a:lnTo>
                    <a:pt x="628" y="222"/>
                  </a:lnTo>
                  <a:lnTo>
                    <a:pt x="624" y="221"/>
                  </a:lnTo>
                  <a:lnTo>
                    <a:pt x="618" y="219"/>
                  </a:lnTo>
                  <a:lnTo>
                    <a:pt x="614" y="217"/>
                  </a:lnTo>
                  <a:lnTo>
                    <a:pt x="610" y="214"/>
                  </a:lnTo>
                  <a:lnTo>
                    <a:pt x="607" y="211"/>
                  </a:lnTo>
                  <a:lnTo>
                    <a:pt x="603" y="206"/>
                  </a:lnTo>
                  <a:lnTo>
                    <a:pt x="601" y="202"/>
                  </a:lnTo>
                  <a:lnTo>
                    <a:pt x="598" y="198"/>
                  </a:lnTo>
                  <a:lnTo>
                    <a:pt x="597" y="193"/>
                  </a:lnTo>
                  <a:lnTo>
                    <a:pt x="595" y="187"/>
                  </a:lnTo>
                  <a:lnTo>
                    <a:pt x="594" y="182"/>
                  </a:lnTo>
                  <a:lnTo>
                    <a:pt x="593" y="176"/>
                  </a:lnTo>
                  <a:lnTo>
                    <a:pt x="593" y="169"/>
                  </a:lnTo>
                  <a:lnTo>
                    <a:pt x="593" y="55"/>
                  </a:lnTo>
                  <a:close/>
                  <a:moveTo>
                    <a:pt x="467" y="3"/>
                  </a:moveTo>
                  <a:lnTo>
                    <a:pt x="573" y="3"/>
                  </a:lnTo>
                  <a:lnTo>
                    <a:pt x="573" y="34"/>
                  </a:lnTo>
                  <a:lnTo>
                    <a:pt x="537" y="34"/>
                  </a:lnTo>
                  <a:lnTo>
                    <a:pt x="537" y="222"/>
                  </a:lnTo>
                  <a:lnTo>
                    <a:pt x="503" y="222"/>
                  </a:lnTo>
                  <a:lnTo>
                    <a:pt x="503" y="34"/>
                  </a:lnTo>
                  <a:lnTo>
                    <a:pt x="467" y="34"/>
                  </a:lnTo>
                  <a:lnTo>
                    <a:pt x="467" y="3"/>
                  </a:lnTo>
                  <a:close/>
                  <a:moveTo>
                    <a:pt x="348" y="3"/>
                  </a:moveTo>
                  <a:lnTo>
                    <a:pt x="454" y="3"/>
                  </a:lnTo>
                  <a:lnTo>
                    <a:pt x="454" y="34"/>
                  </a:lnTo>
                  <a:lnTo>
                    <a:pt x="417" y="34"/>
                  </a:lnTo>
                  <a:lnTo>
                    <a:pt x="417" y="222"/>
                  </a:lnTo>
                  <a:lnTo>
                    <a:pt x="383" y="222"/>
                  </a:lnTo>
                  <a:lnTo>
                    <a:pt x="383" y="34"/>
                  </a:lnTo>
                  <a:lnTo>
                    <a:pt x="348" y="34"/>
                  </a:lnTo>
                  <a:lnTo>
                    <a:pt x="348" y="3"/>
                  </a:lnTo>
                  <a:close/>
                  <a:moveTo>
                    <a:pt x="259" y="3"/>
                  </a:moveTo>
                  <a:lnTo>
                    <a:pt x="294" y="3"/>
                  </a:lnTo>
                  <a:lnTo>
                    <a:pt x="294" y="190"/>
                  </a:lnTo>
                  <a:lnTo>
                    <a:pt x="350" y="190"/>
                  </a:lnTo>
                  <a:lnTo>
                    <a:pt x="350" y="222"/>
                  </a:lnTo>
                  <a:lnTo>
                    <a:pt x="259" y="222"/>
                  </a:lnTo>
                  <a:lnTo>
                    <a:pt x="259" y="3"/>
                  </a:lnTo>
                  <a:close/>
                  <a:moveTo>
                    <a:pt x="159" y="171"/>
                  </a:moveTo>
                  <a:lnTo>
                    <a:pt x="159" y="177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1" y="185"/>
                  </a:lnTo>
                  <a:lnTo>
                    <a:pt x="164" y="188"/>
                  </a:lnTo>
                  <a:lnTo>
                    <a:pt x="167" y="190"/>
                  </a:lnTo>
                  <a:lnTo>
                    <a:pt x="169" y="193"/>
                  </a:lnTo>
                  <a:lnTo>
                    <a:pt x="173" y="193"/>
                  </a:lnTo>
                  <a:lnTo>
                    <a:pt x="176" y="194"/>
                  </a:lnTo>
                  <a:lnTo>
                    <a:pt x="180" y="193"/>
                  </a:lnTo>
                  <a:lnTo>
                    <a:pt x="184" y="193"/>
                  </a:lnTo>
                  <a:lnTo>
                    <a:pt x="187" y="190"/>
                  </a:lnTo>
                  <a:lnTo>
                    <a:pt x="190" y="188"/>
                  </a:lnTo>
                  <a:lnTo>
                    <a:pt x="192" y="185"/>
                  </a:lnTo>
                  <a:lnTo>
                    <a:pt x="193" y="182"/>
                  </a:lnTo>
                  <a:lnTo>
                    <a:pt x="194" y="177"/>
                  </a:lnTo>
                  <a:lnTo>
                    <a:pt x="194" y="171"/>
                  </a:lnTo>
                  <a:lnTo>
                    <a:pt x="194" y="53"/>
                  </a:lnTo>
                  <a:lnTo>
                    <a:pt x="194" y="48"/>
                  </a:lnTo>
                  <a:lnTo>
                    <a:pt x="193" y="43"/>
                  </a:lnTo>
                  <a:lnTo>
                    <a:pt x="192" y="41"/>
                  </a:lnTo>
                  <a:lnTo>
                    <a:pt x="192" y="39"/>
                  </a:lnTo>
                  <a:lnTo>
                    <a:pt x="190" y="36"/>
                  </a:lnTo>
                  <a:lnTo>
                    <a:pt x="187" y="34"/>
                  </a:lnTo>
                  <a:lnTo>
                    <a:pt x="184" y="33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3" y="32"/>
                  </a:lnTo>
                  <a:lnTo>
                    <a:pt x="169" y="33"/>
                  </a:lnTo>
                  <a:lnTo>
                    <a:pt x="167" y="34"/>
                  </a:lnTo>
                  <a:lnTo>
                    <a:pt x="164" y="36"/>
                  </a:lnTo>
                  <a:lnTo>
                    <a:pt x="161" y="39"/>
                  </a:lnTo>
                  <a:lnTo>
                    <a:pt x="160" y="43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9" y="171"/>
                  </a:lnTo>
                  <a:close/>
                  <a:moveTo>
                    <a:pt x="124" y="55"/>
                  </a:moveTo>
                  <a:lnTo>
                    <a:pt x="124" y="49"/>
                  </a:lnTo>
                  <a:lnTo>
                    <a:pt x="125" y="43"/>
                  </a:lnTo>
                  <a:lnTo>
                    <a:pt x="127" y="37"/>
                  </a:lnTo>
                  <a:lnTo>
                    <a:pt x="127" y="35"/>
                  </a:lnTo>
                  <a:lnTo>
                    <a:pt x="128" y="32"/>
                  </a:lnTo>
                  <a:lnTo>
                    <a:pt x="130" y="28"/>
                  </a:lnTo>
                  <a:lnTo>
                    <a:pt x="132" y="22"/>
                  </a:lnTo>
                  <a:lnTo>
                    <a:pt x="135" y="18"/>
                  </a:lnTo>
                  <a:lnTo>
                    <a:pt x="138" y="15"/>
                  </a:lnTo>
                  <a:lnTo>
                    <a:pt x="141" y="12"/>
                  </a:lnTo>
                  <a:lnTo>
                    <a:pt x="146" y="9"/>
                  </a:lnTo>
                  <a:lnTo>
                    <a:pt x="150" y="6"/>
                  </a:lnTo>
                  <a:lnTo>
                    <a:pt x="154" y="4"/>
                  </a:lnTo>
                  <a:lnTo>
                    <a:pt x="159" y="2"/>
                  </a:lnTo>
                  <a:lnTo>
                    <a:pt x="165" y="1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3" y="0"/>
                  </a:lnTo>
                  <a:lnTo>
                    <a:pt x="189" y="1"/>
                  </a:lnTo>
                  <a:lnTo>
                    <a:pt x="194" y="2"/>
                  </a:lnTo>
                  <a:lnTo>
                    <a:pt x="199" y="4"/>
                  </a:lnTo>
                  <a:lnTo>
                    <a:pt x="204" y="6"/>
                  </a:lnTo>
                  <a:lnTo>
                    <a:pt x="208" y="9"/>
                  </a:lnTo>
                  <a:lnTo>
                    <a:pt x="212" y="12"/>
                  </a:lnTo>
                  <a:lnTo>
                    <a:pt x="215" y="15"/>
                  </a:lnTo>
                  <a:lnTo>
                    <a:pt x="219" y="18"/>
                  </a:lnTo>
                  <a:lnTo>
                    <a:pt x="222" y="22"/>
                  </a:lnTo>
                  <a:lnTo>
                    <a:pt x="224" y="28"/>
                  </a:lnTo>
                  <a:lnTo>
                    <a:pt x="226" y="32"/>
                  </a:lnTo>
                  <a:lnTo>
                    <a:pt x="227" y="37"/>
                  </a:lnTo>
                  <a:lnTo>
                    <a:pt x="228" y="43"/>
                  </a:lnTo>
                  <a:lnTo>
                    <a:pt x="229" y="49"/>
                  </a:lnTo>
                  <a:lnTo>
                    <a:pt x="229" y="55"/>
                  </a:lnTo>
                  <a:lnTo>
                    <a:pt x="229" y="169"/>
                  </a:lnTo>
                  <a:lnTo>
                    <a:pt x="229" y="176"/>
                  </a:lnTo>
                  <a:lnTo>
                    <a:pt x="228" y="182"/>
                  </a:lnTo>
                  <a:lnTo>
                    <a:pt x="227" y="187"/>
                  </a:lnTo>
                  <a:lnTo>
                    <a:pt x="226" y="190"/>
                  </a:lnTo>
                  <a:lnTo>
                    <a:pt x="226" y="193"/>
                  </a:lnTo>
                  <a:lnTo>
                    <a:pt x="224" y="198"/>
                  </a:lnTo>
                  <a:lnTo>
                    <a:pt x="222" y="202"/>
                  </a:lnTo>
                  <a:lnTo>
                    <a:pt x="219" y="206"/>
                  </a:lnTo>
                  <a:lnTo>
                    <a:pt x="215" y="211"/>
                  </a:lnTo>
                  <a:lnTo>
                    <a:pt x="212" y="214"/>
                  </a:lnTo>
                  <a:lnTo>
                    <a:pt x="208" y="217"/>
                  </a:lnTo>
                  <a:lnTo>
                    <a:pt x="204" y="219"/>
                  </a:lnTo>
                  <a:lnTo>
                    <a:pt x="199" y="221"/>
                  </a:lnTo>
                  <a:lnTo>
                    <a:pt x="194" y="222"/>
                  </a:lnTo>
                  <a:lnTo>
                    <a:pt x="189" y="223"/>
                  </a:lnTo>
                  <a:lnTo>
                    <a:pt x="183" y="224"/>
                  </a:lnTo>
                  <a:lnTo>
                    <a:pt x="176" y="224"/>
                  </a:lnTo>
                  <a:lnTo>
                    <a:pt x="171" y="224"/>
                  </a:lnTo>
                  <a:lnTo>
                    <a:pt x="165" y="223"/>
                  </a:lnTo>
                  <a:lnTo>
                    <a:pt x="159" y="222"/>
                  </a:lnTo>
                  <a:lnTo>
                    <a:pt x="154" y="221"/>
                  </a:lnTo>
                  <a:lnTo>
                    <a:pt x="150" y="219"/>
                  </a:lnTo>
                  <a:lnTo>
                    <a:pt x="146" y="217"/>
                  </a:lnTo>
                  <a:lnTo>
                    <a:pt x="141" y="214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32" y="202"/>
                  </a:lnTo>
                  <a:lnTo>
                    <a:pt x="130" y="198"/>
                  </a:lnTo>
                  <a:lnTo>
                    <a:pt x="128" y="193"/>
                  </a:lnTo>
                  <a:lnTo>
                    <a:pt x="127" y="187"/>
                  </a:lnTo>
                  <a:lnTo>
                    <a:pt x="125" y="182"/>
                  </a:lnTo>
                  <a:lnTo>
                    <a:pt x="124" y="176"/>
                  </a:lnTo>
                  <a:lnTo>
                    <a:pt x="124" y="169"/>
                  </a:lnTo>
                  <a:lnTo>
                    <a:pt x="124" y="55"/>
                  </a:lnTo>
                  <a:close/>
                  <a:moveTo>
                    <a:pt x="35" y="34"/>
                  </a:moveTo>
                  <a:lnTo>
                    <a:pt x="35" y="108"/>
                  </a:lnTo>
                  <a:lnTo>
                    <a:pt x="50" y="108"/>
                  </a:lnTo>
                  <a:lnTo>
                    <a:pt x="55" y="108"/>
                  </a:lnTo>
                  <a:lnTo>
                    <a:pt x="58" y="107"/>
                  </a:lnTo>
                  <a:lnTo>
                    <a:pt x="61" y="106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66" y="97"/>
                  </a:lnTo>
                  <a:lnTo>
                    <a:pt x="67" y="93"/>
                  </a:lnTo>
                  <a:lnTo>
                    <a:pt x="67" y="88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6" y="44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1" y="36"/>
                  </a:lnTo>
                  <a:lnTo>
                    <a:pt x="58" y="35"/>
                  </a:lnTo>
                  <a:lnTo>
                    <a:pt x="55" y="34"/>
                  </a:lnTo>
                  <a:lnTo>
                    <a:pt x="50" y="34"/>
                  </a:lnTo>
                  <a:lnTo>
                    <a:pt x="35" y="34"/>
                  </a:lnTo>
                  <a:close/>
                  <a:moveTo>
                    <a:pt x="102" y="57"/>
                  </a:moveTo>
                  <a:lnTo>
                    <a:pt x="102" y="86"/>
                  </a:lnTo>
                  <a:lnTo>
                    <a:pt x="101" y="92"/>
                  </a:lnTo>
                  <a:lnTo>
                    <a:pt x="101" y="97"/>
                  </a:lnTo>
                  <a:lnTo>
                    <a:pt x="100" y="104"/>
                  </a:lnTo>
                  <a:lnTo>
                    <a:pt x="99" y="109"/>
                  </a:lnTo>
                  <a:lnTo>
                    <a:pt x="97" y="113"/>
                  </a:lnTo>
                  <a:lnTo>
                    <a:pt x="95" y="118"/>
                  </a:lnTo>
                  <a:lnTo>
                    <a:pt x="92" y="122"/>
                  </a:lnTo>
                  <a:lnTo>
                    <a:pt x="89" y="126"/>
                  </a:lnTo>
                  <a:lnTo>
                    <a:pt x="85" y="129"/>
                  </a:lnTo>
                  <a:lnTo>
                    <a:pt x="82" y="132"/>
                  </a:lnTo>
                  <a:lnTo>
                    <a:pt x="78" y="134"/>
                  </a:lnTo>
                  <a:lnTo>
                    <a:pt x="73" y="136"/>
                  </a:lnTo>
                  <a:lnTo>
                    <a:pt x="68" y="138"/>
                  </a:lnTo>
                  <a:lnTo>
                    <a:pt x="62" y="139"/>
                  </a:lnTo>
                  <a:lnTo>
                    <a:pt x="57" y="140"/>
                  </a:lnTo>
                  <a:lnTo>
                    <a:pt x="50" y="140"/>
                  </a:lnTo>
                  <a:lnTo>
                    <a:pt x="35" y="140"/>
                  </a:lnTo>
                  <a:lnTo>
                    <a:pt x="35" y="222"/>
                  </a:lnTo>
                  <a:lnTo>
                    <a:pt x="0" y="222"/>
                  </a:lnTo>
                  <a:lnTo>
                    <a:pt x="0" y="3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2" y="3"/>
                  </a:lnTo>
                  <a:lnTo>
                    <a:pt x="68" y="4"/>
                  </a:lnTo>
                  <a:lnTo>
                    <a:pt x="73" y="6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9" y="17"/>
                  </a:lnTo>
                  <a:lnTo>
                    <a:pt x="92" y="20"/>
                  </a:lnTo>
                  <a:lnTo>
                    <a:pt x="95" y="24"/>
                  </a:lnTo>
                  <a:lnTo>
                    <a:pt x="97" y="29"/>
                  </a:lnTo>
                  <a:lnTo>
                    <a:pt x="99" y="34"/>
                  </a:lnTo>
                  <a:lnTo>
                    <a:pt x="100" y="39"/>
                  </a:lnTo>
                  <a:lnTo>
                    <a:pt x="101" y="44"/>
                  </a:lnTo>
                  <a:lnTo>
                    <a:pt x="101" y="51"/>
                  </a:lnTo>
                  <a:lnTo>
                    <a:pt x="10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21389708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9FE078-C6FB-4BDC-A7E0-44649670E6EB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32"/>
            <p:cNvSpPr>
              <a:spLocks noEditPoints="1"/>
            </p:cNvSpPr>
            <p:nvPr userDrawn="1"/>
          </p:nvSpPr>
          <p:spPr bwMode="auto">
            <a:xfrm>
              <a:off x="8841484" y="6473685"/>
              <a:ext cx="2006400" cy="211200"/>
            </a:xfrm>
            <a:custGeom>
              <a:avLst/>
              <a:gdLst>
                <a:gd name="T0" fmla="*/ 2042 w 2127"/>
                <a:gd name="T1" fmla="*/ 3 h 225"/>
                <a:gd name="T2" fmla="*/ 1959 w 2127"/>
                <a:gd name="T3" fmla="*/ 97 h 225"/>
                <a:gd name="T4" fmla="*/ 1943 w 2127"/>
                <a:gd name="T5" fmla="*/ 34 h 225"/>
                <a:gd name="T6" fmla="*/ 1982 w 2127"/>
                <a:gd name="T7" fmla="*/ 126 h 225"/>
                <a:gd name="T8" fmla="*/ 1893 w 2127"/>
                <a:gd name="T9" fmla="*/ 222 h 225"/>
                <a:gd name="T10" fmla="*/ 1985 w 2127"/>
                <a:gd name="T11" fmla="*/ 20 h 225"/>
                <a:gd name="T12" fmla="*/ 1820 w 2127"/>
                <a:gd name="T13" fmla="*/ 108 h 225"/>
                <a:gd name="T14" fmla="*/ 1830 w 2127"/>
                <a:gd name="T15" fmla="*/ 41 h 225"/>
                <a:gd name="T16" fmla="*/ 1865 w 2127"/>
                <a:gd name="T17" fmla="*/ 104 h 225"/>
                <a:gd name="T18" fmla="*/ 1828 w 2127"/>
                <a:gd name="T19" fmla="*/ 139 h 225"/>
                <a:gd name="T20" fmla="*/ 1839 w 2127"/>
                <a:gd name="T21" fmla="*/ 6 h 225"/>
                <a:gd name="T22" fmla="*/ 1867 w 2127"/>
                <a:gd name="T23" fmla="*/ 51 h 225"/>
                <a:gd name="T24" fmla="*/ 1680 w 2127"/>
                <a:gd name="T25" fmla="*/ 193 h 225"/>
                <a:gd name="T26" fmla="*/ 1734 w 2127"/>
                <a:gd name="T27" fmla="*/ 3 h 225"/>
                <a:gd name="T28" fmla="*/ 1714 w 2127"/>
                <a:gd name="T29" fmla="*/ 217 h 225"/>
                <a:gd name="T30" fmla="*/ 1660 w 2127"/>
                <a:gd name="T31" fmla="*/ 221 h 225"/>
                <a:gd name="T32" fmla="*/ 1631 w 2127"/>
                <a:gd name="T33" fmla="*/ 176 h 225"/>
                <a:gd name="T34" fmla="*/ 1526 w 2127"/>
                <a:gd name="T35" fmla="*/ 182 h 225"/>
                <a:gd name="T36" fmla="*/ 1394 w 2127"/>
                <a:gd name="T37" fmla="*/ 3 h 225"/>
                <a:gd name="T38" fmla="*/ 1271 w 2127"/>
                <a:gd name="T39" fmla="*/ 127 h 225"/>
                <a:gd name="T40" fmla="*/ 1214 w 2127"/>
                <a:gd name="T41" fmla="*/ 3 h 225"/>
                <a:gd name="T42" fmla="*/ 1056 w 2127"/>
                <a:gd name="T43" fmla="*/ 2 h 225"/>
                <a:gd name="T44" fmla="*/ 1089 w 2127"/>
                <a:gd name="T45" fmla="*/ 43 h 225"/>
                <a:gd name="T46" fmla="*/ 1048 w 2127"/>
                <a:gd name="T47" fmla="*/ 33 h 225"/>
                <a:gd name="T48" fmla="*/ 1022 w 2127"/>
                <a:gd name="T49" fmla="*/ 53 h 225"/>
                <a:gd name="T50" fmla="*/ 1074 w 2127"/>
                <a:gd name="T51" fmla="*/ 124 h 225"/>
                <a:gd name="T52" fmla="*/ 1085 w 2127"/>
                <a:gd name="T53" fmla="*/ 198 h 225"/>
                <a:gd name="T54" fmla="*/ 1044 w 2127"/>
                <a:gd name="T55" fmla="*/ 224 h 225"/>
                <a:gd name="T56" fmla="*/ 995 w 2127"/>
                <a:gd name="T57" fmla="*/ 202 h 225"/>
                <a:gd name="T58" fmla="*/ 1021 w 2127"/>
                <a:gd name="T59" fmla="*/ 182 h 225"/>
                <a:gd name="T60" fmla="*/ 1051 w 2127"/>
                <a:gd name="T61" fmla="*/ 188 h 225"/>
                <a:gd name="T62" fmla="*/ 1040 w 2127"/>
                <a:gd name="T63" fmla="*/ 138 h 225"/>
                <a:gd name="T64" fmla="*/ 988 w 2127"/>
                <a:gd name="T65" fmla="*/ 49 h 225"/>
                <a:gd name="T66" fmla="*/ 1013 w 2127"/>
                <a:gd name="T67" fmla="*/ 6 h 225"/>
                <a:gd name="T68" fmla="*/ 963 w 2127"/>
                <a:gd name="T69" fmla="*/ 190 h 225"/>
                <a:gd name="T70" fmla="*/ 727 w 2127"/>
                <a:gd name="T71" fmla="*/ 3 h 225"/>
                <a:gd name="T72" fmla="*/ 630 w 2127"/>
                <a:gd name="T73" fmla="*/ 184 h 225"/>
                <a:gd name="T74" fmla="*/ 661 w 2127"/>
                <a:gd name="T75" fmla="*/ 185 h 225"/>
                <a:gd name="T76" fmla="*/ 653 w 2127"/>
                <a:gd name="T77" fmla="*/ 33 h 225"/>
                <a:gd name="T78" fmla="*/ 628 w 2127"/>
                <a:gd name="T79" fmla="*/ 171 h 225"/>
                <a:gd name="T80" fmla="*/ 610 w 2127"/>
                <a:gd name="T81" fmla="*/ 12 h 225"/>
                <a:gd name="T82" fmla="*/ 668 w 2127"/>
                <a:gd name="T83" fmla="*/ 4 h 225"/>
                <a:gd name="T84" fmla="*/ 698 w 2127"/>
                <a:gd name="T85" fmla="*/ 49 h 225"/>
                <a:gd name="T86" fmla="*/ 684 w 2127"/>
                <a:gd name="T87" fmla="*/ 211 h 225"/>
                <a:gd name="T88" fmla="*/ 628 w 2127"/>
                <a:gd name="T89" fmla="*/ 222 h 225"/>
                <a:gd name="T90" fmla="*/ 594 w 2127"/>
                <a:gd name="T91" fmla="*/ 182 h 225"/>
                <a:gd name="T92" fmla="*/ 467 w 2127"/>
                <a:gd name="T93" fmla="*/ 34 h 225"/>
                <a:gd name="T94" fmla="*/ 259 w 2127"/>
                <a:gd name="T95" fmla="*/ 3 h 225"/>
                <a:gd name="T96" fmla="*/ 161 w 2127"/>
                <a:gd name="T97" fmla="*/ 185 h 225"/>
                <a:gd name="T98" fmla="*/ 193 w 2127"/>
                <a:gd name="T99" fmla="*/ 182 h 225"/>
                <a:gd name="T100" fmla="*/ 180 w 2127"/>
                <a:gd name="T101" fmla="*/ 32 h 225"/>
                <a:gd name="T102" fmla="*/ 124 w 2127"/>
                <a:gd name="T103" fmla="*/ 55 h 225"/>
                <a:gd name="T104" fmla="*/ 146 w 2127"/>
                <a:gd name="T105" fmla="*/ 9 h 225"/>
                <a:gd name="T106" fmla="*/ 204 w 2127"/>
                <a:gd name="T107" fmla="*/ 6 h 225"/>
                <a:gd name="T108" fmla="*/ 229 w 2127"/>
                <a:gd name="T109" fmla="*/ 55 h 225"/>
                <a:gd name="T110" fmla="*/ 212 w 2127"/>
                <a:gd name="T111" fmla="*/ 214 h 225"/>
                <a:gd name="T112" fmla="*/ 154 w 2127"/>
                <a:gd name="T113" fmla="*/ 221 h 225"/>
                <a:gd name="T114" fmla="*/ 124 w 2127"/>
                <a:gd name="T115" fmla="*/ 176 h 225"/>
                <a:gd name="T116" fmla="*/ 66 w 2127"/>
                <a:gd name="T117" fmla="*/ 97 h 225"/>
                <a:gd name="T118" fmla="*/ 50 w 2127"/>
                <a:gd name="T119" fmla="*/ 34 h 225"/>
                <a:gd name="T120" fmla="*/ 89 w 2127"/>
                <a:gd name="T121" fmla="*/ 126 h 225"/>
                <a:gd name="T122" fmla="*/ 0 w 2127"/>
                <a:gd name="T123" fmla="*/ 222 h 225"/>
                <a:gd name="T124" fmla="*/ 92 w 2127"/>
                <a:gd name="T125" fmla="*/ 2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7" h="225">
                  <a:moveTo>
                    <a:pt x="2049" y="152"/>
                  </a:moveTo>
                  <a:lnTo>
                    <a:pt x="2082" y="152"/>
                  </a:lnTo>
                  <a:lnTo>
                    <a:pt x="2066" y="41"/>
                  </a:lnTo>
                  <a:lnTo>
                    <a:pt x="2049" y="152"/>
                  </a:lnTo>
                  <a:close/>
                  <a:moveTo>
                    <a:pt x="2127" y="222"/>
                  </a:moveTo>
                  <a:lnTo>
                    <a:pt x="2092" y="222"/>
                  </a:lnTo>
                  <a:lnTo>
                    <a:pt x="2087" y="182"/>
                  </a:lnTo>
                  <a:lnTo>
                    <a:pt x="2045" y="182"/>
                  </a:lnTo>
                  <a:lnTo>
                    <a:pt x="2039" y="222"/>
                  </a:lnTo>
                  <a:lnTo>
                    <a:pt x="2007" y="222"/>
                  </a:lnTo>
                  <a:lnTo>
                    <a:pt x="2042" y="3"/>
                  </a:lnTo>
                  <a:lnTo>
                    <a:pt x="2092" y="3"/>
                  </a:lnTo>
                  <a:lnTo>
                    <a:pt x="2127" y="222"/>
                  </a:lnTo>
                  <a:close/>
                  <a:moveTo>
                    <a:pt x="1927" y="34"/>
                  </a:moveTo>
                  <a:lnTo>
                    <a:pt x="1927" y="108"/>
                  </a:lnTo>
                  <a:lnTo>
                    <a:pt x="1943" y="108"/>
                  </a:lnTo>
                  <a:lnTo>
                    <a:pt x="1948" y="108"/>
                  </a:lnTo>
                  <a:lnTo>
                    <a:pt x="1951" y="107"/>
                  </a:lnTo>
                  <a:lnTo>
                    <a:pt x="1954" y="106"/>
                  </a:lnTo>
                  <a:lnTo>
                    <a:pt x="1956" y="104"/>
                  </a:lnTo>
                  <a:lnTo>
                    <a:pt x="1958" y="102"/>
                  </a:lnTo>
                  <a:lnTo>
                    <a:pt x="1959" y="97"/>
                  </a:lnTo>
                  <a:lnTo>
                    <a:pt x="1960" y="93"/>
                  </a:lnTo>
                  <a:lnTo>
                    <a:pt x="1960" y="88"/>
                  </a:lnTo>
                  <a:lnTo>
                    <a:pt x="1960" y="55"/>
                  </a:lnTo>
                  <a:lnTo>
                    <a:pt x="1960" y="50"/>
                  </a:lnTo>
                  <a:lnTo>
                    <a:pt x="1959" y="44"/>
                  </a:lnTo>
                  <a:lnTo>
                    <a:pt x="1958" y="41"/>
                  </a:lnTo>
                  <a:lnTo>
                    <a:pt x="1956" y="38"/>
                  </a:lnTo>
                  <a:lnTo>
                    <a:pt x="1954" y="36"/>
                  </a:lnTo>
                  <a:lnTo>
                    <a:pt x="1951" y="35"/>
                  </a:lnTo>
                  <a:lnTo>
                    <a:pt x="1948" y="34"/>
                  </a:lnTo>
                  <a:lnTo>
                    <a:pt x="1943" y="34"/>
                  </a:lnTo>
                  <a:lnTo>
                    <a:pt x="1927" y="34"/>
                  </a:lnTo>
                  <a:close/>
                  <a:moveTo>
                    <a:pt x="1995" y="57"/>
                  </a:moveTo>
                  <a:lnTo>
                    <a:pt x="1995" y="86"/>
                  </a:lnTo>
                  <a:lnTo>
                    <a:pt x="1994" y="92"/>
                  </a:lnTo>
                  <a:lnTo>
                    <a:pt x="1994" y="97"/>
                  </a:lnTo>
                  <a:lnTo>
                    <a:pt x="1993" y="104"/>
                  </a:lnTo>
                  <a:lnTo>
                    <a:pt x="1992" y="109"/>
                  </a:lnTo>
                  <a:lnTo>
                    <a:pt x="1990" y="113"/>
                  </a:lnTo>
                  <a:lnTo>
                    <a:pt x="1988" y="118"/>
                  </a:lnTo>
                  <a:lnTo>
                    <a:pt x="1985" y="122"/>
                  </a:lnTo>
                  <a:lnTo>
                    <a:pt x="1982" y="126"/>
                  </a:lnTo>
                  <a:lnTo>
                    <a:pt x="1978" y="129"/>
                  </a:lnTo>
                  <a:lnTo>
                    <a:pt x="1975" y="132"/>
                  </a:lnTo>
                  <a:lnTo>
                    <a:pt x="1971" y="134"/>
                  </a:lnTo>
                  <a:lnTo>
                    <a:pt x="1966" y="136"/>
                  </a:lnTo>
                  <a:lnTo>
                    <a:pt x="1961" y="138"/>
                  </a:lnTo>
                  <a:lnTo>
                    <a:pt x="1955" y="139"/>
                  </a:lnTo>
                  <a:lnTo>
                    <a:pt x="1950" y="140"/>
                  </a:lnTo>
                  <a:lnTo>
                    <a:pt x="1943" y="140"/>
                  </a:lnTo>
                  <a:lnTo>
                    <a:pt x="1927" y="140"/>
                  </a:lnTo>
                  <a:lnTo>
                    <a:pt x="1927" y="222"/>
                  </a:lnTo>
                  <a:lnTo>
                    <a:pt x="1893" y="222"/>
                  </a:lnTo>
                  <a:lnTo>
                    <a:pt x="1893" y="3"/>
                  </a:lnTo>
                  <a:lnTo>
                    <a:pt x="1943" y="3"/>
                  </a:lnTo>
                  <a:lnTo>
                    <a:pt x="1950" y="3"/>
                  </a:lnTo>
                  <a:lnTo>
                    <a:pt x="1955" y="3"/>
                  </a:lnTo>
                  <a:lnTo>
                    <a:pt x="1961" y="4"/>
                  </a:lnTo>
                  <a:lnTo>
                    <a:pt x="1966" y="6"/>
                  </a:lnTo>
                  <a:lnTo>
                    <a:pt x="1971" y="9"/>
                  </a:lnTo>
                  <a:lnTo>
                    <a:pt x="1975" y="11"/>
                  </a:lnTo>
                  <a:lnTo>
                    <a:pt x="1978" y="14"/>
                  </a:lnTo>
                  <a:lnTo>
                    <a:pt x="1982" y="17"/>
                  </a:lnTo>
                  <a:lnTo>
                    <a:pt x="1985" y="20"/>
                  </a:lnTo>
                  <a:lnTo>
                    <a:pt x="1988" y="24"/>
                  </a:lnTo>
                  <a:lnTo>
                    <a:pt x="1990" y="29"/>
                  </a:lnTo>
                  <a:lnTo>
                    <a:pt x="1992" y="34"/>
                  </a:lnTo>
                  <a:lnTo>
                    <a:pt x="1993" y="39"/>
                  </a:lnTo>
                  <a:lnTo>
                    <a:pt x="1994" y="44"/>
                  </a:lnTo>
                  <a:lnTo>
                    <a:pt x="1994" y="51"/>
                  </a:lnTo>
                  <a:lnTo>
                    <a:pt x="1995" y="57"/>
                  </a:lnTo>
                  <a:close/>
                  <a:moveTo>
                    <a:pt x="1800" y="34"/>
                  </a:moveTo>
                  <a:lnTo>
                    <a:pt x="1800" y="108"/>
                  </a:lnTo>
                  <a:lnTo>
                    <a:pt x="1815" y="108"/>
                  </a:lnTo>
                  <a:lnTo>
                    <a:pt x="1820" y="108"/>
                  </a:lnTo>
                  <a:lnTo>
                    <a:pt x="1823" y="107"/>
                  </a:lnTo>
                  <a:lnTo>
                    <a:pt x="1826" y="106"/>
                  </a:lnTo>
                  <a:lnTo>
                    <a:pt x="1828" y="104"/>
                  </a:lnTo>
                  <a:lnTo>
                    <a:pt x="1830" y="102"/>
                  </a:lnTo>
                  <a:lnTo>
                    <a:pt x="1831" y="97"/>
                  </a:lnTo>
                  <a:lnTo>
                    <a:pt x="1832" y="93"/>
                  </a:lnTo>
                  <a:lnTo>
                    <a:pt x="1833" y="88"/>
                  </a:lnTo>
                  <a:lnTo>
                    <a:pt x="1833" y="55"/>
                  </a:lnTo>
                  <a:lnTo>
                    <a:pt x="1832" y="50"/>
                  </a:lnTo>
                  <a:lnTo>
                    <a:pt x="1831" y="44"/>
                  </a:lnTo>
                  <a:lnTo>
                    <a:pt x="1830" y="41"/>
                  </a:lnTo>
                  <a:lnTo>
                    <a:pt x="1828" y="38"/>
                  </a:lnTo>
                  <a:lnTo>
                    <a:pt x="1826" y="36"/>
                  </a:lnTo>
                  <a:lnTo>
                    <a:pt x="1823" y="35"/>
                  </a:lnTo>
                  <a:lnTo>
                    <a:pt x="1820" y="34"/>
                  </a:lnTo>
                  <a:lnTo>
                    <a:pt x="1815" y="34"/>
                  </a:lnTo>
                  <a:lnTo>
                    <a:pt x="1800" y="34"/>
                  </a:lnTo>
                  <a:close/>
                  <a:moveTo>
                    <a:pt x="1867" y="57"/>
                  </a:moveTo>
                  <a:lnTo>
                    <a:pt x="1867" y="86"/>
                  </a:lnTo>
                  <a:lnTo>
                    <a:pt x="1867" y="92"/>
                  </a:lnTo>
                  <a:lnTo>
                    <a:pt x="1866" y="97"/>
                  </a:lnTo>
                  <a:lnTo>
                    <a:pt x="1865" y="104"/>
                  </a:lnTo>
                  <a:lnTo>
                    <a:pt x="1864" y="109"/>
                  </a:lnTo>
                  <a:lnTo>
                    <a:pt x="1862" y="113"/>
                  </a:lnTo>
                  <a:lnTo>
                    <a:pt x="1860" y="118"/>
                  </a:lnTo>
                  <a:lnTo>
                    <a:pt x="1858" y="122"/>
                  </a:lnTo>
                  <a:lnTo>
                    <a:pt x="1855" y="126"/>
                  </a:lnTo>
                  <a:lnTo>
                    <a:pt x="1851" y="129"/>
                  </a:lnTo>
                  <a:lnTo>
                    <a:pt x="1847" y="132"/>
                  </a:lnTo>
                  <a:lnTo>
                    <a:pt x="1843" y="134"/>
                  </a:lnTo>
                  <a:lnTo>
                    <a:pt x="1839" y="136"/>
                  </a:lnTo>
                  <a:lnTo>
                    <a:pt x="1833" y="138"/>
                  </a:lnTo>
                  <a:lnTo>
                    <a:pt x="1828" y="139"/>
                  </a:lnTo>
                  <a:lnTo>
                    <a:pt x="1822" y="140"/>
                  </a:lnTo>
                  <a:lnTo>
                    <a:pt x="1815" y="140"/>
                  </a:lnTo>
                  <a:lnTo>
                    <a:pt x="1800" y="140"/>
                  </a:lnTo>
                  <a:lnTo>
                    <a:pt x="1800" y="222"/>
                  </a:lnTo>
                  <a:lnTo>
                    <a:pt x="1766" y="222"/>
                  </a:lnTo>
                  <a:lnTo>
                    <a:pt x="1766" y="3"/>
                  </a:lnTo>
                  <a:lnTo>
                    <a:pt x="1815" y="3"/>
                  </a:lnTo>
                  <a:lnTo>
                    <a:pt x="1822" y="3"/>
                  </a:lnTo>
                  <a:lnTo>
                    <a:pt x="1828" y="3"/>
                  </a:lnTo>
                  <a:lnTo>
                    <a:pt x="1833" y="4"/>
                  </a:lnTo>
                  <a:lnTo>
                    <a:pt x="1839" y="6"/>
                  </a:lnTo>
                  <a:lnTo>
                    <a:pt x="1843" y="9"/>
                  </a:lnTo>
                  <a:lnTo>
                    <a:pt x="1847" y="11"/>
                  </a:lnTo>
                  <a:lnTo>
                    <a:pt x="1851" y="14"/>
                  </a:lnTo>
                  <a:lnTo>
                    <a:pt x="1855" y="17"/>
                  </a:lnTo>
                  <a:lnTo>
                    <a:pt x="1858" y="20"/>
                  </a:lnTo>
                  <a:lnTo>
                    <a:pt x="1860" y="24"/>
                  </a:lnTo>
                  <a:lnTo>
                    <a:pt x="1862" y="29"/>
                  </a:lnTo>
                  <a:lnTo>
                    <a:pt x="1864" y="34"/>
                  </a:lnTo>
                  <a:lnTo>
                    <a:pt x="1865" y="39"/>
                  </a:lnTo>
                  <a:lnTo>
                    <a:pt x="1866" y="44"/>
                  </a:lnTo>
                  <a:lnTo>
                    <a:pt x="1867" y="51"/>
                  </a:lnTo>
                  <a:lnTo>
                    <a:pt x="1867" y="57"/>
                  </a:lnTo>
                  <a:close/>
                  <a:moveTo>
                    <a:pt x="1665" y="3"/>
                  </a:moveTo>
                  <a:lnTo>
                    <a:pt x="1665" y="172"/>
                  </a:lnTo>
                  <a:lnTo>
                    <a:pt x="1666" y="178"/>
                  </a:lnTo>
                  <a:lnTo>
                    <a:pt x="1667" y="182"/>
                  </a:lnTo>
                  <a:lnTo>
                    <a:pt x="1667" y="184"/>
                  </a:lnTo>
                  <a:lnTo>
                    <a:pt x="1668" y="185"/>
                  </a:lnTo>
                  <a:lnTo>
                    <a:pt x="1671" y="188"/>
                  </a:lnTo>
                  <a:lnTo>
                    <a:pt x="1673" y="190"/>
                  </a:lnTo>
                  <a:lnTo>
                    <a:pt x="1676" y="193"/>
                  </a:lnTo>
                  <a:lnTo>
                    <a:pt x="1680" y="193"/>
                  </a:lnTo>
                  <a:lnTo>
                    <a:pt x="1683" y="194"/>
                  </a:lnTo>
                  <a:lnTo>
                    <a:pt x="1687" y="193"/>
                  </a:lnTo>
                  <a:lnTo>
                    <a:pt x="1691" y="193"/>
                  </a:lnTo>
                  <a:lnTo>
                    <a:pt x="1694" y="190"/>
                  </a:lnTo>
                  <a:lnTo>
                    <a:pt x="1697" y="188"/>
                  </a:lnTo>
                  <a:lnTo>
                    <a:pt x="1698" y="185"/>
                  </a:lnTo>
                  <a:lnTo>
                    <a:pt x="1700" y="182"/>
                  </a:lnTo>
                  <a:lnTo>
                    <a:pt x="1701" y="178"/>
                  </a:lnTo>
                  <a:lnTo>
                    <a:pt x="1701" y="172"/>
                  </a:lnTo>
                  <a:lnTo>
                    <a:pt x="1701" y="3"/>
                  </a:lnTo>
                  <a:lnTo>
                    <a:pt x="1734" y="3"/>
                  </a:lnTo>
                  <a:lnTo>
                    <a:pt x="1734" y="169"/>
                  </a:lnTo>
                  <a:lnTo>
                    <a:pt x="1734" y="176"/>
                  </a:lnTo>
                  <a:lnTo>
                    <a:pt x="1733" y="182"/>
                  </a:lnTo>
                  <a:lnTo>
                    <a:pt x="1732" y="188"/>
                  </a:lnTo>
                  <a:lnTo>
                    <a:pt x="1731" y="194"/>
                  </a:lnTo>
                  <a:lnTo>
                    <a:pt x="1729" y="198"/>
                  </a:lnTo>
                  <a:lnTo>
                    <a:pt x="1727" y="203"/>
                  </a:lnTo>
                  <a:lnTo>
                    <a:pt x="1723" y="206"/>
                  </a:lnTo>
                  <a:lnTo>
                    <a:pt x="1721" y="211"/>
                  </a:lnTo>
                  <a:lnTo>
                    <a:pt x="1717" y="214"/>
                  </a:lnTo>
                  <a:lnTo>
                    <a:pt x="1714" y="217"/>
                  </a:lnTo>
                  <a:lnTo>
                    <a:pt x="1712" y="218"/>
                  </a:lnTo>
                  <a:lnTo>
                    <a:pt x="1710" y="219"/>
                  </a:lnTo>
                  <a:lnTo>
                    <a:pt x="1704" y="221"/>
                  </a:lnTo>
                  <a:lnTo>
                    <a:pt x="1700" y="223"/>
                  </a:lnTo>
                  <a:lnTo>
                    <a:pt x="1695" y="224"/>
                  </a:lnTo>
                  <a:lnTo>
                    <a:pt x="1688" y="224"/>
                  </a:lnTo>
                  <a:lnTo>
                    <a:pt x="1682" y="225"/>
                  </a:lnTo>
                  <a:lnTo>
                    <a:pt x="1677" y="224"/>
                  </a:lnTo>
                  <a:lnTo>
                    <a:pt x="1671" y="224"/>
                  </a:lnTo>
                  <a:lnTo>
                    <a:pt x="1665" y="223"/>
                  </a:lnTo>
                  <a:lnTo>
                    <a:pt x="1660" y="221"/>
                  </a:lnTo>
                  <a:lnTo>
                    <a:pt x="1656" y="219"/>
                  </a:lnTo>
                  <a:lnTo>
                    <a:pt x="1651" y="217"/>
                  </a:lnTo>
                  <a:lnTo>
                    <a:pt x="1647" y="214"/>
                  </a:lnTo>
                  <a:lnTo>
                    <a:pt x="1644" y="211"/>
                  </a:lnTo>
                  <a:lnTo>
                    <a:pt x="1641" y="206"/>
                  </a:lnTo>
                  <a:lnTo>
                    <a:pt x="1639" y="203"/>
                  </a:lnTo>
                  <a:lnTo>
                    <a:pt x="1637" y="198"/>
                  </a:lnTo>
                  <a:lnTo>
                    <a:pt x="1635" y="194"/>
                  </a:lnTo>
                  <a:lnTo>
                    <a:pt x="1632" y="188"/>
                  </a:lnTo>
                  <a:lnTo>
                    <a:pt x="1632" y="182"/>
                  </a:lnTo>
                  <a:lnTo>
                    <a:pt x="1631" y="176"/>
                  </a:lnTo>
                  <a:lnTo>
                    <a:pt x="1631" y="169"/>
                  </a:lnTo>
                  <a:lnTo>
                    <a:pt x="1631" y="3"/>
                  </a:lnTo>
                  <a:lnTo>
                    <a:pt x="1665" y="3"/>
                  </a:lnTo>
                  <a:close/>
                  <a:moveTo>
                    <a:pt x="1530" y="152"/>
                  </a:moveTo>
                  <a:lnTo>
                    <a:pt x="1564" y="152"/>
                  </a:lnTo>
                  <a:lnTo>
                    <a:pt x="1547" y="41"/>
                  </a:lnTo>
                  <a:lnTo>
                    <a:pt x="1530" y="152"/>
                  </a:lnTo>
                  <a:close/>
                  <a:moveTo>
                    <a:pt x="1609" y="222"/>
                  </a:moveTo>
                  <a:lnTo>
                    <a:pt x="1574" y="222"/>
                  </a:lnTo>
                  <a:lnTo>
                    <a:pt x="1568" y="182"/>
                  </a:lnTo>
                  <a:lnTo>
                    <a:pt x="1526" y="182"/>
                  </a:lnTo>
                  <a:lnTo>
                    <a:pt x="1520" y="222"/>
                  </a:lnTo>
                  <a:lnTo>
                    <a:pt x="1489" y="222"/>
                  </a:lnTo>
                  <a:lnTo>
                    <a:pt x="1524" y="3"/>
                  </a:lnTo>
                  <a:lnTo>
                    <a:pt x="1574" y="3"/>
                  </a:lnTo>
                  <a:lnTo>
                    <a:pt x="1609" y="222"/>
                  </a:lnTo>
                  <a:close/>
                  <a:moveTo>
                    <a:pt x="1405" y="134"/>
                  </a:moveTo>
                  <a:lnTo>
                    <a:pt x="1394" y="154"/>
                  </a:lnTo>
                  <a:lnTo>
                    <a:pt x="1394" y="222"/>
                  </a:lnTo>
                  <a:lnTo>
                    <a:pt x="1360" y="222"/>
                  </a:lnTo>
                  <a:lnTo>
                    <a:pt x="1360" y="3"/>
                  </a:lnTo>
                  <a:lnTo>
                    <a:pt x="1394" y="3"/>
                  </a:lnTo>
                  <a:lnTo>
                    <a:pt x="1394" y="98"/>
                  </a:lnTo>
                  <a:lnTo>
                    <a:pt x="1440" y="3"/>
                  </a:lnTo>
                  <a:lnTo>
                    <a:pt x="1474" y="3"/>
                  </a:lnTo>
                  <a:lnTo>
                    <a:pt x="1426" y="101"/>
                  </a:lnTo>
                  <a:lnTo>
                    <a:pt x="1474" y="222"/>
                  </a:lnTo>
                  <a:lnTo>
                    <a:pt x="1439" y="222"/>
                  </a:lnTo>
                  <a:lnTo>
                    <a:pt x="1405" y="134"/>
                  </a:lnTo>
                  <a:close/>
                  <a:moveTo>
                    <a:pt x="1271" y="95"/>
                  </a:moveTo>
                  <a:lnTo>
                    <a:pt x="1318" y="95"/>
                  </a:lnTo>
                  <a:lnTo>
                    <a:pt x="1318" y="127"/>
                  </a:lnTo>
                  <a:lnTo>
                    <a:pt x="1271" y="127"/>
                  </a:lnTo>
                  <a:lnTo>
                    <a:pt x="1271" y="190"/>
                  </a:lnTo>
                  <a:lnTo>
                    <a:pt x="1331" y="190"/>
                  </a:lnTo>
                  <a:lnTo>
                    <a:pt x="1331" y="222"/>
                  </a:lnTo>
                  <a:lnTo>
                    <a:pt x="1237" y="222"/>
                  </a:lnTo>
                  <a:lnTo>
                    <a:pt x="1237" y="3"/>
                  </a:lnTo>
                  <a:lnTo>
                    <a:pt x="1331" y="3"/>
                  </a:lnTo>
                  <a:lnTo>
                    <a:pt x="1331" y="34"/>
                  </a:lnTo>
                  <a:lnTo>
                    <a:pt x="1271" y="34"/>
                  </a:lnTo>
                  <a:lnTo>
                    <a:pt x="1271" y="95"/>
                  </a:lnTo>
                  <a:close/>
                  <a:moveTo>
                    <a:pt x="1108" y="3"/>
                  </a:moveTo>
                  <a:lnTo>
                    <a:pt x="1214" y="3"/>
                  </a:lnTo>
                  <a:lnTo>
                    <a:pt x="1214" y="34"/>
                  </a:lnTo>
                  <a:lnTo>
                    <a:pt x="1178" y="34"/>
                  </a:lnTo>
                  <a:lnTo>
                    <a:pt x="1178" y="222"/>
                  </a:lnTo>
                  <a:lnTo>
                    <a:pt x="1144" y="222"/>
                  </a:lnTo>
                  <a:lnTo>
                    <a:pt x="1144" y="34"/>
                  </a:lnTo>
                  <a:lnTo>
                    <a:pt x="1108" y="34"/>
                  </a:lnTo>
                  <a:lnTo>
                    <a:pt x="1108" y="3"/>
                  </a:lnTo>
                  <a:close/>
                  <a:moveTo>
                    <a:pt x="1039" y="0"/>
                  </a:moveTo>
                  <a:lnTo>
                    <a:pt x="1044" y="0"/>
                  </a:lnTo>
                  <a:lnTo>
                    <a:pt x="1051" y="1"/>
                  </a:lnTo>
                  <a:lnTo>
                    <a:pt x="1056" y="2"/>
                  </a:lnTo>
                  <a:lnTo>
                    <a:pt x="1061" y="4"/>
                  </a:lnTo>
                  <a:lnTo>
                    <a:pt x="1066" y="6"/>
                  </a:lnTo>
                  <a:lnTo>
                    <a:pt x="1070" y="9"/>
                  </a:lnTo>
                  <a:lnTo>
                    <a:pt x="1073" y="12"/>
                  </a:lnTo>
                  <a:lnTo>
                    <a:pt x="1077" y="15"/>
                  </a:lnTo>
                  <a:lnTo>
                    <a:pt x="1079" y="18"/>
                  </a:lnTo>
                  <a:lnTo>
                    <a:pt x="1083" y="22"/>
                  </a:lnTo>
                  <a:lnTo>
                    <a:pt x="1085" y="28"/>
                  </a:lnTo>
                  <a:lnTo>
                    <a:pt x="1087" y="32"/>
                  </a:lnTo>
                  <a:lnTo>
                    <a:pt x="1088" y="37"/>
                  </a:lnTo>
                  <a:lnTo>
                    <a:pt x="1089" y="43"/>
                  </a:lnTo>
                  <a:lnTo>
                    <a:pt x="1090" y="49"/>
                  </a:lnTo>
                  <a:lnTo>
                    <a:pt x="1090" y="55"/>
                  </a:lnTo>
                  <a:lnTo>
                    <a:pt x="1090" y="62"/>
                  </a:lnTo>
                  <a:lnTo>
                    <a:pt x="1057" y="62"/>
                  </a:lnTo>
                  <a:lnTo>
                    <a:pt x="1057" y="53"/>
                  </a:lnTo>
                  <a:lnTo>
                    <a:pt x="1057" y="48"/>
                  </a:lnTo>
                  <a:lnTo>
                    <a:pt x="1056" y="43"/>
                  </a:lnTo>
                  <a:lnTo>
                    <a:pt x="1054" y="39"/>
                  </a:lnTo>
                  <a:lnTo>
                    <a:pt x="1053" y="36"/>
                  </a:lnTo>
                  <a:lnTo>
                    <a:pt x="1050" y="34"/>
                  </a:lnTo>
                  <a:lnTo>
                    <a:pt x="1048" y="33"/>
                  </a:lnTo>
                  <a:lnTo>
                    <a:pt x="1043" y="32"/>
                  </a:lnTo>
                  <a:lnTo>
                    <a:pt x="1040" y="32"/>
                  </a:lnTo>
                  <a:lnTo>
                    <a:pt x="1036" y="32"/>
                  </a:lnTo>
                  <a:lnTo>
                    <a:pt x="1033" y="33"/>
                  </a:lnTo>
                  <a:lnTo>
                    <a:pt x="1031" y="34"/>
                  </a:lnTo>
                  <a:lnTo>
                    <a:pt x="1030" y="34"/>
                  </a:lnTo>
                  <a:lnTo>
                    <a:pt x="1028" y="36"/>
                  </a:lnTo>
                  <a:lnTo>
                    <a:pt x="1025" y="39"/>
                  </a:lnTo>
                  <a:lnTo>
                    <a:pt x="1023" y="43"/>
                  </a:lnTo>
                  <a:lnTo>
                    <a:pt x="1023" y="48"/>
                  </a:lnTo>
                  <a:lnTo>
                    <a:pt x="1022" y="53"/>
                  </a:lnTo>
                  <a:lnTo>
                    <a:pt x="1022" y="57"/>
                  </a:lnTo>
                  <a:lnTo>
                    <a:pt x="1023" y="61"/>
                  </a:lnTo>
                  <a:lnTo>
                    <a:pt x="1025" y="69"/>
                  </a:lnTo>
                  <a:lnTo>
                    <a:pt x="1026" y="72"/>
                  </a:lnTo>
                  <a:lnTo>
                    <a:pt x="1029" y="75"/>
                  </a:lnTo>
                  <a:lnTo>
                    <a:pt x="1033" y="81"/>
                  </a:lnTo>
                  <a:lnTo>
                    <a:pt x="1038" y="88"/>
                  </a:lnTo>
                  <a:lnTo>
                    <a:pt x="1043" y="93"/>
                  </a:lnTo>
                  <a:lnTo>
                    <a:pt x="1056" y="105"/>
                  </a:lnTo>
                  <a:lnTo>
                    <a:pt x="1069" y="117"/>
                  </a:lnTo>
                  <a:lnTo>
                    <a:pt x="1074" y="124"/>
                  </a:lnTo>
                  <a:lnTo>
                    <a:pt x="1079" y="131"/>
                  </a:lnTo>
                  <a:lnTo>
                    <a:pt x="1084" y="140"/>
                  </a:lnTo>
                  <a:lnTo>
                    <a:pt x="1087" y="148"/>
                  </a:lnTo>
                  <a:lnTo>
                    <a:pt x="1089" y="159"/>
                  </a:lnTo>
                  <a:lnTo>
                    <a:pt x="1090" y="164"/>
                  </a:lnTo>
                  <a:lnTo>
                    <a:pt x="1090" y="169"/>
                  </a:lnTo>
                  <a:lnTo>
                    <a:pt x="1090" y="176"/>
                  </a:lnTo>
                  <a:lnTo>
                    <a:pt x="1089" y="182"/>
                  </a:lnTo>
                  <a:lnTo>
                    <a:pt x="1088" y="187"/>
                  </a:lnTo>
                  <a:lnTo>
                    <a:pt x="1087" y="193"/>
                  </a:lnTo>
                  <a:lnTo>
                    <a:pt x="1085" y="198"/>
                  </a:lnTo>
                  <a:lnTo>
                    <a:pt x="1083" y="202"/>
                  </a:lnTo>
                  <a:lnTo>
                    <a:pt x="1080" y="206"/>
                  </a:lnTo>
                  <a:lnTo>
                    <a:pt x="1077" y="211"/>
                  </a:lnTo>
                  <a:lnTo>
                    <a:pt x="1073" y="214"/>
                  </a:lnTo>
                  <a:lnTo>
                    <a:pt x="1070" y="217"/>
                  </a:lnTo>
                  <a:lnTo>
                    <a:pt x="1068" y="218"/>
                  </a:lnTo>
                  <a:lnTo>
                    <a:pt x="1066" y="219"/>
                  </a:lnTo>
                  <a:lnTo>
                    <a:pt x="1061" y="221"/>
                  </a:lnTo>
                  <a:lnTo>
                    <a:pt x="1056" y="222"/>
                  </a:lnTo>
                  <a:lnTo>
                    <a:pt x="1051" y="223"/>
                  </a:lnTo>
                  <a:lnTo>
                    <a:pt x="1044" y="224"/>
                  </a:lnTo>
                  <a:lnTo>
                    <a:pt x="1038" y="224"/>
                  </a:lnTo>
                  <a:lnTo>
                    <a:pt x="1033" y="224"/>
                  </a:lnTo>
                  <a:lnTo>
                    <a:pt x="1026" y="223"/>
                  </a:lnTo>
                  <a:lnTo>
                    <a:pt x="1021" y="222"/>
                  </a:lnTo>
                  <a:lnTo>
                    <a:pt x="1016" y="221"/>
                  </a:lnTo>
                  <a:lnTo>
                    <a:pt x="1012" y="219"/>
                  </a:lnTo>
                  <a:lnTo>
                    <a:pt x="1007" y="217"/>
                  </a:lnTo>
                  <a:lnTo>
                    <a:pt x="1003" y="214"/>
                  </a:lnTo>
                  <a:lnTo>
                    <a:pt x="1000" y="211"/>
                  </a:lnTo>
                  <a:lnTo>
                    <a:pt x="997" y="206"/>
                  </a:lnTo>
                  <a:lnTo>
                    <a:pt x="995" y="202"/>
                  </a:lnTo>
                  <a:lnTo>
                    <a:pt x="993" y="198"/>
                  </a:lnTo>
                  <a:lnTo>
                    <a:pt x="991" y="193"/>
                  </a:lnTo>
                  <a:lnTo>
                    <a:pt x="989" y="187"/>
                  </a:lnTo>
                  <a:lnTo>
                    <a:pt x="988" y="182"/>
                  </a:lnTo>
                  <a:lnTo>
                    <a:pt x="987" y="176"/>
                  </a:lnTo>
                  <a:lnTo>
                    <a:pt x="987" y="169"/>
                  </a:lnTo>
                  <a:lnTo>
                    <a:pt x="987" y="156"/>
                  </a:lnTo>
                  <a:lnTo>
                    <a:pt x="1020" y="156"/>
                  </a:lnTo>
                  <a:lnTo>
                    <a:pt x="1020" y="171"/>
                  </a:lnTo>
                  <a:lnTo>
                    <a:pt x="1020" y="177"/>
                  </a:lnTo>
                  <a:lnTo>
                    <a:pt x="1021" y="182"/>
                  </a:lnTo>
                  <a:lnTo>
                    <a:pt x="1021" y="183"/>
                  </a:lnTo>
                  <a:lnTo>
                    <a:pt x="1022" y="185"/>
                  </a:lnTo>
                  <a:lnTo>
                    <a:pt x="1024" y="188"/>
                  </a:lnTo>
                  <a:lnTo>
                    <a:pt x="1028" y="190"/>
                  </a:lnTo>
                  <a:lnTo>
                    <a:pt x="1031" y="191"/>
                  </a:lnTo>
                  <a:lnTo>
                    <a:pt x="1034" y="193"/>
                  </a:lnTo>
                  <a:lnTo>
                    <a:pt x="1038" y="193"/>
                  </a:lnTo>
                  <a:lnTo>
                    <a:pt x="1041" y="193"/>
                  </a:lnTo>
                  <a:lnTo>
                    <a:pt x="1046" y="191"/>
                  </a:lnTo>
                  <a:lnTo>
                    <a:pt x="1048" y="190"/>
                  </a:lnTo>
                  <a:lnTo>
                    <a:pt x="1051" y="188"/>
                  </a:lnTo>
                  <a:lnTo>
                    <a:pt x="1053" y="185"/>
                  </a:lnTo>
                  <a:lnTo>
                    <a:pt x="1054" y="182"/>
                  </a:lnTo>
                  <a:lnTo>
                    <a:pt x="1055" y="177"/>
                  </a:lnTo>
                  <a:lnTo>
                    <a:pt x="1055" y="171"/>
                  </a:lnTo>
                  <a:lnTo>
                    <a:pt x="1055" y="167"/>
                  </a:lnTo>
                  <a:lnTo>
                    <a:pt x="1055" y="164"/>
                  </a:lnTo>
                  <a:lnTo>
                    <a:pt x="1053" y="157"/>
                  </a:lnTo>
                  <a:lnTo>
                    <a:pt x="1051" y="152"/>
                  </a:lnTo>
                  <a:lnTo>
                    <a:pt x="1050" y="149"/>
                  </a:lnTo>
                  <a:lnTo>
                    <a:pt x="1044" y="143"/>
                  </a:lnTo>
                  <a:lnTo>
                    <a:pt x="1040" y="138"/>
                  </a:lnTo>
                  <a:lnTo>
                    <a:pt x="1034" y="131"/>
                  </a:lnTo>
                  <a:lnTo>
                    <a:pt x="1022" y="120"/>
                  </a:lnTo>
                  <a:lnTo>
                    <a:pt x="1010" y="108"/>
                  </a:lnTo>
                  <a:lnTo>
                    <a:pt x="1003" y="101"/>
                  </a:lnTo>
                  <a:lnTo>
                    <a:pt x="999" y="93"/>
                  </a:lnTo>
                  <a:lnTo>
                    <a:pt x="995" y="86"/>
                  </a:lnTo>
                  <a:lnTo>
                    <a:pt x="991" y="76"/>
                  </a:lnTo>
                  <a:lnTo>
                    <a:pt x="988" y="67"/>
                  </a:lnTo>
                  <a:lnTo>
                    <a:pt x="988" y="61"/>
                  </a:lnTo>
                  <a:lnTo>
                    <a:pt x="988" y="55"/>
                  </a:lnTo>
                  <a:lnTo>
                    <a:pt x="988" y="49"/>
                  </a:lnTo>
                  <a:lnTo>
                    <a:pt x="988" y="43"/>
                  </a:lnTo>
                  <a:lnTo>
                    <a:pt x="989" y="37"/>
                  </a:lnTo>
                  <a:lnTo>
                    <a:pt x="992" y="32"/>
                  </a:lnTo>
                  <a:lnTo>
                    <a:pt x="993" y="28"/>
                  </a:lnTo>
                  <a:lnTo>
                    <a:pt x="996" y="22"/>
                  </a:lnTo>
                  <a:lnTo>
                    <a:pt x="998" y="18"/>
                  </a:lnTo>
                  <a:lnTo>
                    <a:pt x="1001" y="15"/>
                  </a:lnTo>
                  <a:lnTo>
                    <a:pt x="1004" y="12"/>
                  </a:lnTo>
                  <a:lnTo>
                    <a:pt x="1008" y="9"/>
                  </a:lnTo>
                  <a:lnTo>
                    <a:pt x="1011" y="7"/>
                  </a:lnTo>
                  <a:lnTo>
                    <a:pt x="1013" y="6"/>
                  </a:lnTo>
                  <a:lnTo>
                    <a:pt x="1017" y="4"/>
                  </a:lnTo>
                  <a:lnTo>
                    <a:pt x="1022" y="2"/>
                  </a:lnTo>
                  <a:lnTo>
                    <a:pt x="1028" y="1"/>
                  </a:lnTo>
                  <a:lnTo>
                    <a:pt x="1033" y="0"/>
                  </a:lnTo>
                  <a:lnTo>
                    <a:pt x="1039" y="0"/>
                  </a:lnTo>
                  <a:close/>
                  <a:moveTo>
                    <a:pt x="904" y="95"/>
                  </a:moveTo>
                  <a:lnTo>
                    <a:pt x="951" y="95"/>
                  </a:lnTo>
                  <a:lnTo>
                    <a:pt x="951" y="127"/>
                  </a:lnTo>
                  <a:lnTo>
                    <a:pt x="904" y="127"/>
                  </a:lnTo>
                  <a:lnTo>
                    <a:pt x="904" y="190"/>
                  </a:lnTo>
                  <a:lnTo>
                    <a:pt x="963" y="190"/>
                  </a:lnTo>
                  <a:lnTo>
                    <a:pt x="963" y="222"/>
                  </a:lnTo>
                  <a:lnTo>
                    <a:pt x="870" y="222"/>
                  </a:lnTo>
                  <a:lnTo>
                    <a:pt x="870" y="3"/>
                  </a:lnTo>
                  <a:lnTo>
                    <a:pt x="963" y="3"/>
                  </a:lnTo>
                  <a:lnTo>
                    <a:pt x="963" y="34"/>
                  </a:lnTo>
                  <a:lnTo>
                    <a:pt x="904" y="34"/>
                  </a:lnTo>
                  <a:lnTo>
                    <a:pt x="904" y="95"/>
                  </a:lnTo>
                  <a:close/>
                  <a:moveTo>
                    <a:pt x="759" y="64"/>
                  </a:moveTo>
                  <a:lnTo>
                    <a:pt x="759" y="222"/>
                  </a:lnTo>
                  <a:lnTo>
                    <a:pt x="727" y="222"/>
                  </a:lnTo>
                  <a:lnTo>
                    <a:pt x="727" y="3"/>
                  </a:lnTo>
                  <a:lnTo>
                    <a:pt x="771" y="3"/>
                  </a:lnTo>
                  <a:lnTo>
                    <a:pt x="807" y="134"/>
                  </a:lnTo>
                  <a:lnTo>
                    <a:pt x="807" y="3"/>
                  </a:lnTo>
                  <a:lnTo>
                    <a:pt x="837" y="3"/>
                  </a:lnTo>
                  <a:lnTo>
                    <a:pt x="837" y="222"/>
                  </a:lnTo>
                  <a:lnTo>
                    <a:pt x="801" y="222"/>
                  </a:lnTo>
                  <a:lnTo>
                    <a:pt x="759" y="64"/>
                  </a:lnTo>
                  <a:close/>
                  <a:moveTo>
                    <a:pt x="628" y="171"/>
                  </a:moveTo>
                  <a:lnTo>
                    <a:pt x="628" y="177"/>
                  </a:lnTo>
                  <a:lnTo>
                    <a:pt x="629" y="182"/>
                  </a:lnTo>
                  <a:lnTo>
                    <a:pt x="630" y="184"/>
                  </a:lnTo>
                  <a:lnTo>
                    <a:pt x="630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8" y="193"/>
                  </a:lnTo>
                  <a:lnTo>
                    <a:pt x="642" y="193"/>
                  </a:lnTo>
                  <a:lnTo>
                    <a:pt x="646" y="194"/>
                  </a:lnTo>
                  <a:lnTo>
                    <a:pt x="649" y="193"/>
                  </a:lnTo>
                  <a:lnTo>
                    <a:pt x="653" y="193"/>
                  </a:lnTo>
                  <a:lnTo>
                    <a:pt x="656" y="190"/>
                  </a:lnTo>
                  <a:lnTo>
                    <a:pt x="658" y="188"/>
                  </a:lnTo>
                  <a:lnTo>
                    <a:pt x="661" y="185"/>
                  </a:lnTo>
                  <a:lnTo>
                    <a:pt x="662" y="182"/>
                  </a:lnTo>
                  <a:lnTo>
                    <a:pt x="663" y="177"/>
                  </a:lnTo>
                  <a:lnTo>
                    <a:pt x="664" y="171"/>
                  </a:lnTo>
                  <a:lnTo>
                    <a:pt x="664" y="53"/>
                  </a:lnTo>
                  <a:lnTo>
                    <a:pt x="663" y="48"/>
                  </a:lnTo>
                  <a:lnTo>
                    <a:pt x="662" y="43"/>
                  </a:lnTo>
                  <a:lnTo>
                    <a:pt x="662" y="41"/>
                  </a:lnTo>
                  <a:lnTo>
                    <a:pt x="661" y="39"/>
                  </a:lnTo>
                  <a:lnTo>
                    <a:pt x="658" y="36"/>
                  </a:lnTo>
                  <a:lnTo>
                    <a:pt x="656" y="34"/>
                  </a:lnTo>
                  <a:lnTo>
                    <a:pt x="653" y="33"/>
                  </a:lnTo>
                  <a:lnTo>
                    <a:pt x="649" y="32"/>
                  </a:lnTo>
                  <a:lnTo>
                    <a:pt x="646" y="32"/>
                  </a:lnTo>
                  <a:lnTo>
                    <a:pt x="642" y="32"/>
                  </a:lnTo>
                  <a:lnTo>
                    <a:pt x="638" y="33"/>
                  </a:lnTo>
                  <a:lnTo>
                    <a:pt x="635" y="34"/>
                  </a:lnTo>
                  <a:lnTo>
                    <a:pt x="632" y="36"/>
                  </a:lnTo>
                  <a:lnTo>
                    <a:pt x="630" y="39"/>
                  </a:lnTo>
                  <a:lnTo>
                    <a:pt x="629" y="43"/>
                  </a:lnTo>
                  <a:lnTo>
                    <a:pt x="628" y="48"/>
                  </a:lnTo>
                  <a:lnTo>
                    <a:pt x="628" y="53"/>
                  </a:lnTo>
                  <a:lnTo>
                    <a:pt x="628" y="171"/>
                  </a:lnTo>
                  <a:close/>
                  <a:moveTo>
                    <a:pt x="593" y="55"/>
                  </a:moveTo>
                  <a:lnTo>
                    <a:pt x="593" y="49"/>
                  </a:lnTo>
                  <a:lnTo>
                    <a:pt x="594" y="43"/>
                  </a:lnTo>
                  <a:lnTo>
                    <a:pt x="595" y="37"/>
                  </a:lnTo>
                  <a:lnTo>
                    <a:pt x="596" y="35"/>
                  </a:lnTo>
                  <a:lnTo>
                    <a:pt x="597" y="32"/>
                  </a:lnTo>
                  <a:lnTo>
                    <a:pt x="598" y="28"/>
                  </a:lnTo>
                  <a:lnTo>
                    <a:pt x="601" y="22"/>
                  </a:lnTo>
                  <a:lnTo>
                    <a:pt x="603" y="18"/>
                  </a:lnTo>
                  <a:lnTo>
                    <a:pt x="607" y="15"/>
                  </a:lnTo>
                  <a:lnTo>
                    <a:pt x="610" y="12"/>
                  </a:lnTo>
                  <a:lnTo>
                    <a:pt x="614" y="9"/>
                  </a:lnTo>
                  <a:lnTo>
                    <a:pt x="618" y="6"/>
                  </a:lnTo>
                  <a:lnTo>
                    <a:pt x="624" y="4"/>
                  </a:lnTo>
                  <a:lnTo>
                    <a:pt x="628" y="2"/>
                  </a:lnTo>
                  <a:lnTo>
                    <a:pt x="633" y="1"/>
                  </a:lnTo>
                  <a:lnTo>
                    <a:pt x="639" y="0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7" y="1"/>
                  </a:lnTo>
                  <a:lnTo>
                    <a:pt x="663" y="2"/>
                  </a:lnTo>
                  <a:lnTo>
                    <a:pt x="668" y="4"/>
                  </a:lnTo>
                  <a:lnTo>
                    <a:pt x="672" y="6"/>
                  </a:lnTo>
                  <a:lnTo>
                    <a:pt x="676" y="9"/>
                  </a:lnTo>
                  <a:lnTo>
                    <a:pt x="681" y="12"/>
                  </a:lnTo>
                  <a:lnTo>
                    <a:pt x="684" y="15"/>
                  </a:lnTo>
                  <a:lnTo>
                    <a:pt x="687" y="18"/>
                  </a:lnTo>
                  <a:lnTo>
                    <a:pt x="690" y="22"/>
                  </a:lnTo>
                  <a:lnTo>
                    <a:pt x="692" y="28"/>
                  </a:lnTo>
                  <a:lnTo>
                    <a:pt x="694" y="32"/>
                  </a:lnTo>
                  <a:lnTo>
                    <a:pt x="695" y="37"/>
                  </a:lnTo>
                  <a:lnTo>
                    <a:pt x="697" y="43"/>
                  </a:lnTo>
                  <a:lnTo>
                    <a:pt x="698" y="49"/>
                  </a:lnTo>
                  <a:lnTo>
                    <a:pt x="698" y="55"/>
                  </a:lnTo>
                  <a:lnTo>
                    <a:pt x="698" y="169"/>
                  </a:lnTo>
                  <a:lnTo>
                    <a:pt x="698" y="176"/>
                  </a:lnTo>
                  <a:lnTo>
                    <a:pt x="697" y="182"/>
                  </a:lnTo>
                  <a:lnTo>
                    <a:pt x="695" y="187"/>
                  </a:lnTo>
                  <a:lnTo>
                    <a:pt x="695" y="190"/>
                  </a:lnTo>
                  <a:lnTo>
                    <a:pt x="694" y="193"/>
                  </a:lnTo>
                  <a:lnTo>
                    <a:pt x="692" y="198"/>
                  </a:lnTo>
                  <a:lnTo>
                    <a:pt x="690" y="202"/>
                  </a:lnTo>
                  <a:lnTo>
                    <a:pt x="687" y="206"/>
                  </a:lnTo>
                  <a:lnTo>
                    <a:pt x="684" y="211"/>
                  </a:lnTo>
                  <a:lnTo>
                    <a:pt x="681" y="214"/>
                  </a:lnTo>
                  <a:lnTo>
                    <a:pt x="676" y="217"/>
                  </a:lnTo>
                  <a:lnTo>
                    <a:pt x="672" y="219"/>
                  </a:lnTo>
                  <a:lnTo>
                    <a:pt x="668" y="221"/>
                  </a:lnTo>
                  <a:lnTo>
                    <a:pt x="663" y="222"/>
                  </a:lnTo>
                  <a:lnTo>
                    <a:pt x="657" y="223"/>
                  </a:lnTo>
                  <a:lnTo>
                    <a:pt x="652" y="224"/>
                  </a:lnTo>
                  <a:lnTo>
                    <a:pt x="646" y="224"/>
                  </a:lnTo>
                  <a:lnTo>
                    <a:pt x="639" y="224"/>
                  </a:lnTo>
                  <a:lnTo>
                    <a:pt x="633" y="223"/>
                  </a:lnTo>
                  <a:lnTo>
                    <a:pt x="628" y="222"/>
                  </a:lnTo>
                  <a:lnTo>
                    <a:pt x="624" y="221"/>
                  </a:lnTo>
                  <a:lnTo>
                    <a:pt x="618" y="219"/>
                  </a:lnTo>
                  <a:lnTo>
                    <a:pt x="614" y="217"/>
                  </a:lnTo>
                  <a:lnTo>
                    <a:pt x="610" y="214"/>
                  </a:lnTo>
                  <a:lnTo>
                    <a:pt x="607" y="211"/>
                  </a:lnTo>
                  <a:lnTo>
                    <a:pt x="603" y="206"/>
                  </a:lnTo>
                  <a:lnTo>
                    <a:pt x="601" y="202"/>
                  </a:lnTo>
                  <a:lnTo>
                    <a:pt x="598" y="198"/>
                  </a:lnTo>
                  <a:lnTo>
                    <a:pt x="597" y="193"/>
                  </a:lnTo>
                  <a:lnTo>
                    <a:pt x="595" y="187"/>
                  </a:lnTo>
                  <a:lnTo>
                    <a:pt x="594" y="182"/>
                  </a:lnTo>
                  <a:lnTo>
                    <a:pt x="593" y="176"/>
                  </a:lnTo>
                  <a:lnTo>
                    <a:pt x="593" y="169"/>
                  </a:lnTo>
                  <a:lnTo>
                    <a:pt x="593" y="55"/>
                  </a:lnTo>
                  <a:close/>
                  <a:moveTo>
                    <a:pt x="467" y="3"/>
                  </a:moveTo>
                  <a:lnTo>
                    <a:pt x="573" y="3"/>
                  </a:lnTo>
                  <a:lnTo>
                    <a:pt x="573" y="34"/>
                  </a:lnTo>
                  <a:lnTo>
                    <a:pt x="537" y="34"/>
                  </a:lnTo>
                  <a:lnTo>
                    <a:pt x="537" y="222"/>
                  </a:lnTo>
                  <a:lnTo>
                    <a:pt x="503" y="222"/>
                  </a:lnTo>
                  <a:lnTo>
                    <a:pt x="503" y="34"/>
                  </a:lnTo>
                  <a:lnTo>
                    <a:pt x="467" y="34"/>
                  </a:lnTo>
                  <a:lnTo>
                    <a:pt x="467" y="3"/>
                  </a:lnTo>
                  <a:close/>
                  <a:moveTo>
                    <a:pt x="348" y="3"/>
                  </a:moveTo>
                  <a:lnTo>
                    <a:pt x="454" y="3"/>
                  </a:lnTo>
                  <a:lnTo>
                    <a:pt x="454" y="34"/>
                  </a:lnTo>
                  <a:lnTo>
                    <a:pt x="417" y="34"/>
                  </a:lnTo>
                  <a:lnTo>
                    <a:pt x="417" y="222"/>
                  </a:lnTo>
                  <a:lnTo>
                    <a:pt x="383" y="222"/>
                  </a:lnTo>
                  <a:lnTo>
                    <a:pt x="383" y="34"/>
                  </a:lnTo>
                  <a:lnTo>
                    <a:pt x="348" y="34"/>
                  </a:lnTo>
                  <a:lnTo>
                    <a:pt x="348" y="3"/>
                  </a:lnTo>
                  <a:close/>
                  <a:moveTo>
                    <a:pt x="259" y="3"/>
                  </a:moveTo>
                  <a:lnTo>
                    <a:pt x="294" y="3"/>
                  </a:lnTo>
                  <a:lnTo>
                    <a:pt x="294" y="190"/>
                  </a:lnTo>
                  <a:lnTo>
                    <a:pt x="350" y="190"/>
                  </a:lnTo>
                  <a:lnTo>
                    <a:pt x="350" y="222"/>
                  </a:lnTo>
                  <a:lnTo>
                    <a:pt x="259" y="222"/>
                  </a:lnTo>
                  <a:lnTo>
                    <a:pt x="259" y="3"/>
                  </a:lnTo>
                  <a:close/>
                  <a:moveTo>
                    <a:pt x="159" y="171"/>
                  </a:moveTo>
                  <a:lnTo>
                    <a:pt x="159" y="177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1" y="185"/>
                  </a:lnTo>
                  <a:lnTo>
                    <a:pt x="164" y="188"/>
                  </a:lnTo>
                  <a:lnTo>
                    <a:pt x="167" y="190"/>
                  </a:lnTo>
                  <a:lnTo>
                    <a:pt x="169" y="193"/>
                  </a:lnTo>
                  <a:lnTo>
                    <a:pt x="173" y="193"/>
                  </a:lnTo>
                  <a:lnTo>
                    <a:pt x="176" y="194"/>
                  </a:lnTo>
                  <a:lnTo>
                    <a:pt x="180" y="193"/>
                  </a:lnTo>
                  <a:lnTo>
                    <a:pt x="184" y="193"/>
                  </a:lnTo>
                  <a:lnTo>
                    <a:pt x="187" y="190"/>
                  </a:lnTo>
                  <a:lnTo>
                    <a:pt x="190" y="188"/>
                  </a:lnTo>
                  <a:lnTo>
                    <a:pt x="192" y="185"/>
                  </a:lnTo>
                  <a:lnTo>
                    <a:pt x="193" y="182"/>
                  </a:lnTo>
                  <a:lnTo>
                    <a:pt x="194" y="177"/>
                  </a:lnTo>
                  <a:lnTo>
                    <a:pt x="194" y="171"/>
                  </a:lnTo>
                  <a:lnTo>
                    <a:pt x="194" y="53"/>
                  </a:lnTo>
                  <a:lnTo>
                    <a:pt x="194" y="48"/>
                  </a:lnTo>
                  <a:lnTo>
                    <a:pt x="193" y="43"/>
                  </a:lnTo>
                  <a:lnTo>
                    <a:pt x="192" y="41"/>
                  </a:lnTo>
                  <a:lnTo>
                    <a:pt x="192" y="39"/>
                  </a:lnTo>
                  <a:lnTo>
                    <a:pt x="190" y="36"/>
                  </a:lnTo>
                  <a:lnTo>
                    <a:pt x="187" y="34"/>
                  </a:lnTo>
                  <a:lnTo>
                    <a:pt x="184" y="33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3" y="32"/>
                  </a:lnTo>
                  <a:lnTo>
                    <a:pt x="169" y="33"/>
                  </a:lnTo>
                  <a:lnTo>
                    <a:pt x="167" y="34"/>
                  </a:lnTo>
                  <a:lnTo>
                    <a:pt x="164" y="36"/>
                  </a:lnTo>
                  <a:lnTo>
                    <a:pt x="161" y="39"/>
                  </a:lnTo>
                  <a:lnTo>
                    <a:pt x="160" y="43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9" y="171"/>
                  </a:lnTo>
                  <a:close/>
                  <a:moveTo>
                    <a:pt x="124" y="55"/>
                  </a:moveTo>
                  <a:lnTo>
                    <a:pt x="124" y="49"/>
                  </a:lnTo>
                  <a:lnTo>
                    <a:pt x="125" y="43"/>
                  </a:lnTo>
                  <a:lnTo>
                    <a:pt x="127" y="37"/>
                  </a:lnTo>
                  <a:lnTo>
                    <a:pt x="127" y="35"/>
                  </a:lnTo>
                  <a:lnTo>
                    <a:pt x="128" y="32"/>
                  </a:lnTo>
                  <a:lnTo>
                    <a:pt x="130" y="28"/>
                  </a:lnTo>
                  <a:lnTo>
                    <a:pt x="132" y="22"/>
                  </a:lnTo>
                  <a:lnTo>
                    <a:pt x="135" y="18"/>
                  </a:lnTo>
                  <a:lnTo>
                    <a:pt x="138" y="15"/>
                  </a:lnTo>
                  <a:lnTo>
                    <a:pt x="141" y="12"/>
                  </a:lnTo>
                  <a:lnTo>
                    <a:pt x="146" y="9"/>
                  </a:lnTo>
                  <a:lnTo>
                    <a:pt x="150" y="6"/>
                  </a:lnTo>
                  <a:lnTo>
                    <a:pt x="154" y="4"/>
                  </a:lnTo>
                  <a:lnTo>
                    <a:pt x="159" y="2"/>
                  </a:lnTo>
                  <a:lnTo>
                    <a:pt x="165" y="1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3" y="0"/>
                  </a:lnTo>
                  <a:lnTo>
                    <a:pt x="189" y="1"/>
                  </a:lnTo>
                  <a:lnTo>
                    <a:pt x="194" y="2"/>
                  </a:lnTo>
                  <a:lnTo>
                    <a:pt x="199" y="4"/>
                  </a:lnTo>
                  <a:lnTo>
                    <a:pt x="204" y="6"/>
                  </a:lnTo>
                  <a:lnTo>
                    <a:pt x="208" y="9"/>
                  </a:lnTo>
                  <a:lnTo>
                    <a:pt x="212" y="12"/>
                  </a:lnTo>
                  <a:lnTo>
                    <a:pt x="215" y="15"/>
                  </a:lnTo>
                  <a:lnTo>
                    <a:pt x="219" y="18"/>
                  </a:lnTo>
                  <a:lnTo>
                    <a:pt x="222" y="22"/>
                  </a:lnTo>
                  <a:lnTo>
                    <a:pt x="224" y="28"/>
                  </a:lnTo>
                  <a:lnTo>
                    <a:pt x="226" y="32"/>
                  </a:lnTo>
                  <a:lnTo>
                    <a:pt x="227" y="37"/>
                  </a:lnTo>
                  <a:lnTo>
                    <a:pt x="228" y="43"/>
                  </a:lnTo>
                  <a:lnTo>
                    <a:pt x="229" y="49"/>
                  </a:lnTo>
                  <a:lnTo>
                    <a:pt x="229" y="55"/>
                  </a:lnTo>
                  <a:lnTo>
                    <a:pt x="229" y="169"/>
                  </a:lnTo>
                  <a:lnTo>
                    <a:pt x="229" y="176"/>
                  </a:lnTo>
                  <a:lnTo>
                    <a:pt x="228" y="182"/>
                  </a:lnTo>
                  <a:lnTo>
                    <a:pt x="227" y="187"/>
                  </a:lnTo>
                  <a:lnTo>
                    <a:pt x="226" y="190"/>
                  </a:lnTo>
                  <a:lnTo>
                    <a:pt x="226" y="193"/>
                  </a:lnTo>
                  <a:lnTo>
                    <a:pt x="224" y="198"/>
                  </a:lnTo>
                  <a:lnTo>
                    <a:pt x="222" y="202"/>
                  </a:lnTo>
                  <a:lnTo>
                    <a:pt x="219" y="206"/>
                  </a:lnTo>
                  <a:lnTo>
                    <a:pt x="215" y="211"/>
                  </a:lnTo>
                  <a:lnTo>
                    <a:pt x="212" y="214"/>
                  </a:lnTo>
                  <a:lnTo>
                    <a:pt x="208" y="217"/>
                  </a:lnTo>
                  <a:lnTo>
                    <a:pt x="204" y="219"/>
                  </a:lnTo>
                  <a:lnTo>
                    <a:pt x="199" y="221"/>
                  </a:lnTo>
                  <a:lnTo>
                    <a:pt x="194" y="222"/>
                  </a:lnTo>
                  <a:lnTo>
                    <a:pt x="189" y="223"/>
                  </a:lnTo>
                  <a:lnTo>
                    <a:pt x="183" y="224"/>
                  </a:lnTo>
                  <a:lnTo>
                    <a:pt x="176" y="224"/>
                  </a:lnTo>
                  <a:lnTo>
                    <a:pt x="171" y="224"/>
                  </a:lnTo>
                  <a:lnTo>
                    <a:pt x="165" y="223"/>
                  </a:lnTo>
                  <a:lnTo>
                    <a:pt x="159" y="222"/>
                  </a:lnTo>
                  <a:lnTo>
                    <a:pt x="154" y="221"/>
                  </a:lnTo>
                  <a:lnTo>
                    <a:pt x="150" y="219"/>
                  </a:lnTo>
                  <a:lnTo>
                    <a:pt x="146" y="217"/>
                  </a:lnTo>
                  <a:lnTo>
                    <a:pt x="141" y="214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32" y="202"/>
                  </a:lnTo>
                  <a:lnTo>
                    <a:pt x="130" y="198"/>
                  </a:lnTo>
                  <a:lnTo>
                    <a:pt x="128" y="193"/>
                  </a:lnTo>
                  <a:lnTo>
                    <a:pt x="127" y="187"/>
                  </a:lnTo>
                  <a:lnTo>
                    <a:pt x="125" y="182"/>
                  </a:lnTo>
                  <a:lnTo>
                    <a:pt x="124" y="176"/>
                  </a:lnTo>
                  <a:lnTo>
                    <a:pt x="124" y="169"/>
                  </a:lnTo>
                  <a:lnTo>
                    <a:pt x="124" y="55"/>
                  </a:lnTo>
                  <a:close/>
                  <a:moveTo>
                    <a:pt x="35" y="34"/>
                  </a:moveTo>
                  <a:lnTo>
                    <a:pt x="35" y="108"/>
                  </a:lnTo>
                  <a:lnTo>
                    <a:pt x="50" y="108"/>
                  </a:lnTo>
                  <a:lnTo>
                    <a:pt x="55" y="108"/>
                  </a:lnTo>
                  <a:lnTo>
                    <a:pt x="58" y="107"/>
                  </a:lnTo>
                  <a:lnTo>
                    <a:pt x="61" y="106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66" y="97"/>
                  </a:lnTo>
                  <a:lnTo>
                    <a:pt x="67" y="93"/>
                  </a:lnTo>
                  <a:lnTo>
                    <a:pt x="67" y="88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6" y="44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1" y="36"/>
                  </a:lnTo>
                  <a:lnTo>
                    <a:pt x="58" y="35"/>
                  </a:lnTo>
                  <a:lnTo>
                    <a:pt x="55" y="34"/>
                  </a:lnTo>
                  <a:lnTo>
                    <a:pt x="50" y="34"/>
                  </a:lnTo>
                  <a:lnTo>
                    <a:pt x="35" y="34"/>
                  </a:lnTo>
                  <a:close/>
                  <a:moveTo>
                    <a:pt x="102" y="57"/>
                  </a:moveTo>
                  <a:lnTo>
                    <a:pt x="102" y="86"/>
                  </a:lnTo>
                  <a:lnTo>
                    <a:pt x="101" y="92"/>
                  </a:lnTo>
                  <a:lnTo>
                    <a:pt x="101" y="97"/>
                  </a:lnTo>
                  <a:lnTo>
                    <a:pt x="100" y="104"/>
                  </a:lnTo>
                  <a:lnTo>
                    <a:pt x="99" y="109"/>
                  </a:lnTo>
                  <a:lnTo>
                    <a:pt x="97" y="113"/>
                  </a:lnTo>
                  <a:lnTo>
                    <a:pt x="95" y="118"/>
                  </a:lnTo>
                  <a:lnTo>
                    <a:pt x="92" y="122"/>
                  </a:lnTo>
                  <a:lnTo>
                    <a:pt x="89" y="126"/>
                  </a:lnTo>
                  <a:lnTo>
                    <a:pt x="85" y="129"/>
                  </a:lnTo>
                  <a:lnTo>
                    <a:pt x="82" y="132"/>
                  </a:lnTo>
                  <a:lnTo>
                    <a:pt x="78" y="134"/>
                  </a:lnTo>
                  <a:lnTo>
                    <a:pt x="73" y="136"/>
                  </a:lnTo>
                  <a:lnTo>
                    <a:pt x="68" y="138"/>
                  </a:lnTo>
                  <a:lnTo>
                    <a:pt x="62" y="139"/>
                  </a:lnTo>
                  <a:lnTo>
                    <a:pt x="57" y="140"/>
                  </a:lnTo>
                  <a:lnTo>
                    <a:pt x="50" y="140"/>
                  </a:lnTo>
                  <a:lnTo>
                    <a:pt x="35" y="140"/>
                  </a:lnTo>
                  <a:lnTo>
                    <a:pt x="35" y="222"/>
                  </a:lnTo>
                  <a:lnTo>
                    <a:pt x="0" y="222"/>
                  </a:lnTo>
                  <a:lnTo>
                    <a:pt x="0" y="3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2" y="3"/>
                  </a:lnTo>
                  <a:lnTo>
                    <a:pt x="68" y="4"/>
                  </a:lnTo>
                  <a:lnTo>
                    <a:pt x="73" y="6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9" y="17"/>
                  </a:lnTo>
                  <a:lnTo>
                    <a:pt x="92" y="20"/>
                  </a:lnTo>
                  <a:lnTo>
                    <a:pt x="95" y="24"/>
                  </a:lnTo>
                  <a:lnTo>
                    <a:pt x="97" y="29"/>
                  </a:lnTo>
                  <a:lnTo>
                    <a:pt x="99" y="34"/>
                  </a:lnTo>
                  <a:lnTo>
                    <a:pt x="100" y="39"/>
                  </a:lnTo>
                  <a:lnTo>
                    <a:pt x="101" y="44"/>
                  </a:lnTo>
                  <a:lnTo>
                    <a:pt x="101" y="51"/>
                  </a:lnTo>
                  <a:lnTo>
                    <a:pt x="10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80393242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9F0A79F-5B64-4532-A08E-F9EE080A19BA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32"/>
            <p:cNvSpPr>
              <a:spLocks noEditPoints="1"/>
            </p:cNvSpPr>
            <p:nvPr userDrawn="1"/>
          </p:nvSpPr>
          <p:spPr bwMode="auto">
            <a:xfrm>
              <a:off x="8841484" y="6473685"/>
              <a:ext cx="2006400" cy="211200"/>
            </a:xfrm>
            <a:custGeom>
              <a:avLst/>
              <a:gdLst>
                <a:gd name="T0" fmla="*/ 2042 w 2127"/>
                <a:gd name="T1" fmla="*/ 3 h 225"/>
                <a:gd name="T2" fmla="*/ 1959 w 2127"/>
                <a:gd name="T3" fmla="*/ 97 h 225"/>
                <a:gd name="T4" fmla="*/ 1943 w 2127"/>
                <a:gd name="T5" fmla="*/ 34 h 225"/>
                <a:gd name="T6" fmla="*/ 1982 w 2127"/>
                <a:gd name="T7" fmla="*/ 126 h 225"/>
                <a:gd name="T8" fmla="*/ 1893 w 2127"/>
                <a:gd name="T9" fmla="*/ 222 h 225"/>
                <a:gd name="T10" fmla="*/ 1985 w 2127"/>
                <a:gd name="T11" fmla="*/ 20 h 225"/>
                <a:gd name="T12" fmla="*/ 1820 w 2127"/>
                <a:gd name="T13" fmla="*/ 108 h 225"/>
                <a:gd name="T14" fmla="*/ 1830 w 2127"/>
                <a:gd name="T15" fmla="*/ 41 h 225"/>
                <a:gd name="T16" fmla="*/ 1865 w 2127"/>
                <a:gd name="T17" fmla="*/ 104 h 225"/>
                <a:gd name="T18" fmla="*/ 1828 w 2127"/>
                <a:gd name="T19" fmla="*/ 139 h 225"/>
                <a:gd name="T20" fmla="*/ 1839 w 2127"/>
                <a:gd name="T21" fmla="*/ 6 h 225"/>
                <a:gd name="T22" fmla="*/ 1867 w 2127"/>
                <a:gd name="T23" fmla="*/ 51 h 225"/>
                <a:gd name="T24" fmla="*/ 1680 w 2127"/>
                <a:gd name="T25" fmla="*/ 193 h 225"/>
                <a:gd name="T26" fmla="*/ 1734 w 2127"/>
                <a:gd name="T27" fmla="*/ 3 h 225"/>
                <a:gd name="T28" fmla="*/ 1714 w 2127"/>
                <a:gd name="T29" fmla="*/ 217 h 225"/>
                <a:gd name="T30" fmla="*/ 1660 w 2127"/>
                <a:gd name="T31" fmla="*/ 221 h 225"/>
                <a:gd name="T32" fmla="*/ 1631 w 2127"/>
                <a:gd name="T33" fmla="*/ 176 h 225"/>
                <a:gd name="T34" fmla="*/ 1526 w 2127"/>
                <a:gd name="T35" fmla="*/ 182 h 225"/>
                <a:gd name="T36" fmla="*/ 1394 w 2127"/>
                <a:gd name="T37" fmla="*/ 3 h 225"/>
                <a:gd name="T38" fmla="*/ 1271 w 2127"/>
                <a:gd name="T39" fmla="*/ 127 h 225"/>
                <a:gd name="T40" fmla="*/ 1214 w 2127"/>
                <a:gd name="T41" fmla="*/ 3 h 225"/>
                <a:gd name="T42" fmla="*/ 1056 w 2127"/>
                <a:gd name="T43" fmla="*/ 2 h 225"/>
                <a:gd name="T44" fmla="*/ 1089 w 2127"/>
                <a:gd name="T45" fmla="*/ 43 h 225"/>
                <a:gd name="T46" fmla="*/ 1048 w 2127"/>
                <a:gd name="T47" fmla="*/ 33 h 225"/>
                <a:gd name="T48" fmla="*/ 1022 w 2127"/>
                <a:gd name="T49" fmla="*/ 53 h 225"/>
                <a:gd name="T50" fmla="*/ 1074 w 2127"/>
                <a:gd name="T51" fmla="*/ 124 h 225"/>
                <a:gd name="T52" fmla="*/ 1085 w 2127"/>
                <a:gd name="T53" fmla="*/ 198 h 225"/>
                <a:gd name="T54" fmla="*/ 1044 w 2127"/>
                <a:gd name="T55" fmla="*/ 224 h 225"/>
                <a:gd name="T56" fmla="*/ 995 w 2127"/>
                <a:gd name="T57" fmla="*/ 202 h 225"/>
                <a:gd name="T58" fmla="*/ 1021 w 2127"/>
                <a:gd name="T59" fmla="*/ 182 h 225"/>
                <a:gd name="T60" fmla="*/ 1051 w 2127"/>
                <a:gd name="T61" fmla="*/ 188 h 225"/>
                <a:gd name="T62" fmla="*/ 1040 w 2127"/>
                <a:gd name="T63" fmla="*/ 138 h 225"/>
                <a:gd name="T64" fmla="*/ 988 w 2127"/>
                <a:gd name="T65" fmla="*/ 49 h 225"/>
                <a:gd name="T66" fmla="*/ 1013 w 2127"/>
                <a:gd name="T67" fmla="*/ 6 h 225"/>
                <a:gd name="T68" fmla="*/ 963 w 2127"/>
                <a:gd name="T69" fmla="*/ 190 h 225"/>
                <a:gd name="T70" fmla="*/ 727 w 2127"/>
                <a:gd name="T71" fmla="*/ 3 h 225"/>
                <a:gd name="T72" fmla="*/ 630 w 2127"/>
                <a:gd name="T73" fmla="*/ 184 h 225"/>
                <a:gd name="T74" fmla="*/ 661 w 2127"/>
                <a:gd name="T75" fmla="*/ 185 h 225"/>
                <a:gd name="T76" fmla="*/ 653 w 2127"/>
                <a:gd name="T77" fmla="*/ 33 h 225"/>
                <a:gd name="T78" fmla="*/ 628 w 2127"/>
                <a:gd name="T79" fmla="*/ 171 h 225"/>
                <a:gd name="T80" fmla="*/ 610 w 2127"/>
                <a:gd name="T81" fmla="*/ 12 h 225"/>
                <a:gd name="T82" fmla="*/ 668 w 2127"/>
                <a:gd name="T83" fmla="*/ 4 h 225"/>
                <a:gd name="T84" fmla="*/ 698 w 2127"/>
                <a:gd name="T85" fmla="*/ 49 h 225"/>
                <a:gd name="T86" fmla="*/ 684 w 2127"/>
                <a:gd name="T87" fmla="*/ 211 h 225"/>
                <a:gd name="T88" fmla="*/ 628 w 2127"/>
                <a:gd name="T89" fmla="*/ 222 h 225"/>
                <a:gd name="T90" fmla="*/ 594 w 2127"/>
                <a:gd name="T91" fmla="*/ 182 h 225"/>
                <a:gd name="T92" fmla="*/ 467 w 2127"/>
                <a:gd name="T93" fmla="*/ 34 h 225"/>
                <a:gd name="T94" fmla="*/ 259 w 2127"/>
                <a:gd name="T95" fmla="*/ 3 h 225"/>
                <a:gd name="T96" fmla="*/ 161 w 2127"/>
                <a:gd name="T97" fmla="*/ 185 h 225"/>
                <a:gd name="T98" fmla="*/ 193 w 2127"/>
                <a:gd name="T99" fmla="*/ 182 h 225"/>
                <a:gd name="T100" fmla="*/ 180 w 2127"/>
                <a:gd name="T101" fmla="*/ 32 h 225"/>
                <a:gd name="T102" fmla="*/ 124 w 2127"/>
                <a:gd name="T103" fmla="*/ 55 h 225"/>
                <a:gd name="T104" fmla="*/ 146 w 2127"/>
                <a:gd name="T105" fmla="*/ 9 h 225"/>
                <a:gd name="T106" fmla="*/ 204 w 2127"/>
                <a:gd name="T107" fmla="*/ 6 h 225"/>
                <a:gd name="T108" fmla="*/ 229 w 2127"/>
                <a:gd name="T109" fmla="*/ 55 h 225"/>
                <a:gd name="T110" fmla="*/ 212 w 2127"/>
                <a:gd name="T111" fmla="*/ 214 h 225"/>
                <a:gd name="T112" fmla="*/ 154 w 2127"/>
                <a:gd name="T113" fmla="*/ 221 h 225"/>
                <a:gd name="T114" fmla="*/ 124 w 2127"/>
                <a:gd name="T115" fmla="*/ 176 h 225"/>
                <a:gd name="T116" fmla="*/ 66 w 2127"/>
                <a:gd name="T117" fmla="*/ 97 h 225"/>
                <a:gd name="T118" fmla="*/ 50 w 2127"/>
                <a:gd name="T119" fmla="*/ 34 h 225"/>
                <a:gd name="T120" fmla="*/ 89 w 2127"/>
                <a:gd name="T121" fmla="*/ 126 h 225"/>
                <a:gd name="T122" fmla="*/ 0 w 2127"/>
                <a:gd name="T123" fmla="*/ 222 h 225"/>
                <a:gd name="T124" fmla="*/ 92 w 2127"/>
                <a:gd name="T125" fmla="*/ 2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7" h="225">
                  <a:moveTo>
                    <a:pt x="2049" y="152"/>
                  </a:moveTo>
                  <a:lnTo>
                    <a:pt x="2082" y="152"/>
                  </a:lnTo>
                  <a:lnTo>
                    <a:pt x="2066" y="41"/>
                  </a:lnTo>
                  <a:lnTo>
                    <a:pt x="2049" y="152"/>
                  </a:lnTo>
                  <a:close/>
                  <a:moveTo>
                    <a:pt x="2127" y="222"/>
                  </a:moveTo>
                  <a:lnTo>
                    <a:pt x="2092" y="222"/>
                  </a:lnTo>
                  <a:lnTo>
                    <a:pt x="2087" y="182"/>
                  </a:lnTo>
                  <a:lnTo>
                    <a:pt x="2045" y="182"/>
                  </a:lnTo>
                  <a:lnTo>
                    <a:pt x="2039" y="222"/>
                  </a:lnTo>
                  <a:lnTo>
                    <a:pt x="2007" y="222"/>
                  </a:lnTo>
                  <a:lnTo>
                    <a:pt x="2042" y="3"/>
                  </a:lnTo>
                  <a:lnTo>
                    <a:pt x="2092" y="3"/>
                  </a:lnTo>
                  <a:lnTo>
                    <a:pt x="2127" y="222"/>
                  </a:lnTo>
                  <a:close/>
                  <a:moveTo>
                    <a:pt x="1927" y="34"/>
                  </a:moveTo>
                  <a:lnTo>
                    <a:pt x="1927" y="108"/>
                  </a:lnTo>
                  <a:lnTo>
                    <a:pt x="1943" y="108"/>
                  </a:lnTo>
                  <a:lnTo>
                    <a:pt x="1948" y="108"/>
                  </a:lnTo>
                  <a:lnTo>
                    <a:pt x="1951" y="107"/>
                  </a:lnTo>
                  <a:lnTo>
                    <a:pt x="1954" y="106"/>
                  </a:lnTo>
                  <a:lnTo>
                    <a:pt x="1956" y="104"/>
                  </a:lnTo>
                  <a:lnTo>
                    <a:pt x="1958" y="102"/>
                  </a:lnTo>
                  <a:lnTo>
                    <a:pt x="1959" y="97"/>
                  </a:lnTo>
                  <a:lnTo>
                    <a:pt x="1960" y="93"/>
                  </a:lnTo>
                  <a:lnTo>
                    <a:pt x="1960" y="88"/>
                  </a:lnTo>
                  <a:lnTo>
                    <a:pt x="1960" y="55"/>
                  </a:lnTo>
                  <a:lnTo>
                    <a:pt x="1960" y="50"/>
                  </a:lnTo>
                  <a:lnTo>
                    <a:pt x="1959" y="44"/>
                  </a:lnTo>
                  <a:lnTo>
                    <a:pt x="1958" y="41"/>
                  </a:lnTo>
                  <a:lnTo>
                    <a:pt x="1956" y="38"/>
                  </a:lnTo>
                  <a:lnTo>
                    <a:pt x="1954" y="36"/>
                  </a:lnTo>
                  <a:lnTo>
                    <a:pt x="1951" y="35"/>
                  </a:lnTo>
                  <a:lnTo>
                    <a:pt x="1948" y="34"/>
                  </a:lnTo>
                  <a:lnTo>
                    <a:pt x="1943" y="34"/>
                  </a:lnTo>
                  <a:lnTo>
                    <a:pt x="1927" y="34"/>
                  </a:lnTo>
                  <a:close/>
                  <a:moveTo>
                    <a:pt x="1995" y="57"/>
                  </a:moveTo>
                  <a:lnTo>
                    <a:pt x="1995" y="86"/>
                  </a:lnTo>
                  <a:lnTo>
                    <a:pt x="1994" y="92"/>
                  </a:lnTo>
                  <a:lnTo>
                    <a:pt x="1994" y="97"/>
                  </a:lnTo>
                  <a:lnTo>
                    <a:pt x="1993" y="104"/>
                  </a:lnTo>
                  <a:lnTo>
                    <a:pt x="1992" y="109"/>
                  </a:lnTo>
                  <a:lnTo>
                    <a:pt x="1990" y="113"/>
                  </a:lnTo>
                  <a:lnTo>
                    <a:pt x="1988" y="118"/>
                  </a:lnTo>
                  <a:lnTo>
                    <a:pt x="1985" y="122"/>
                  </a:lnTo>
                  <a:lnTo>
                    <a:pt x="1982" y="126"/>
                  </a:lnTo>
                  <a:lnTo>
                    <a:pt x="1978" y="129"/>
                  </a:lnTo>
                  <a:lnTo>
                    <a:pt x="1975" y="132"/>
                  </a:lnTo>
                  <a:lnTo>
                    <a:pt x="1971" y="134"/>
                  </a:lnTo>
                  <a:lnTo>
                    <a:pt x="1966" y="136"/>
                  </a:lnTo>
                  <a:lnTo>
                    <a:pt x="1961" y="138"/>
                  </a:lnTo>
                  <a:lnTo>
                    <a:pt x="1955" y="139"/>
                  </a:lnTo>
                  <a:lnTo>
                    <a:pt x="1950" y="140"/>
                  </a:lnTo>
                  <a:lnTo>
                    <a:pt x="1943" y="140"/>
                  </a:lnTo>
                  <a:lnTo>
                    <a:pt x="1927" y="140"/>
                  </a:lnTo>
                  <a:lnTo>
                    <a:pt x="1927" y="222"/>
                  </a:lnTo>
                  <a:lnTo>
                    <a:pt x="1893" y="222"/>
                  </a:lnTo>
                  <a:lnTo>
                    <a:pt x="1893" y="3"/>
                  </a:lnTo>
                  <a:lnTo>
                    <a:pt x="1943" y="3"/>
                  </a:lnTo>
                  <a:lnTo>
                    <a:pt x="1950" y="3"/>
                  </a:lnTo>
                  <a:lnTo>
                    <a:pt x="1955" y="3"/>
                  </a:lnTo>
                  <a:lnTo>
                    <a:pt x="1961" y="4"/>
                  </a:lnTo>
                  <a:lnTo>
                    <a:pt x="1966" y="6"/>
                  </a:lnTo>
                  <a:lnTo>
                    <a:pt x="1971" y="9"/>
                  </a:lnTo>
                  <a:lnTo>
                    <a:pt x="1975" y="11"/>
                  </a:lnTo>
                  <a:lnTo>
                    <a:pt x="1978" y="14"/>
                  </a:lnTo>
                  <a:lnTo>
                    <a:pt x="1982" y="17"/>
                  </a:lnTo>
                  <a:lnTo>
                    <a:pt x="1985" y="20"/>
                  </a:lnTo>
                  <a:lnTo>
                    <a:pt x="1988" y="24"/>
                  </a:lnTo>
                  <a:lnTo>
                    <a:pt x="1990" y="29"/>
                  </a:lnTo>
                  <a:lnTo>
                    <a:pt x="1992" y="34"/>
                  </a:lnTo>
                  <a:lnTo>
                    <a:pt x="1993" y="39"/>
                  </a:lnTo>
                  <a:lnTo>
                    <a:pt x="1994" y="44"/>
                  </a:lnTo>
                  <a:lnTo>
                    <a:pt x="1994" y="51"/>
                  </a:lnTo>
                  <a:lnTo>
                    <a:pt x="1995" y="57"/>
                  </a:lnTo>
                  <a:close/>
                  <a:moveTo>
                    <a:pt x="1800" y="34"/>
                  </a:moveTo>
                  <a:lnTo>
                    <a:pt x="1800" y="108"/>
                  </a:lnTo>
                  <a:lnTo>
                    <a:pt x="1815" y="108"/>
                  </a:lnTo>
                  <a:lnTo>
                    <a:pt x="1820" y="108"/>
                  </a:lnTo>
                  <a:lnTo>
                    <a:pt x="1823" y="107"/>
                  </a:lnTo>
                  <a:lnTo>
                    <a:pt x="1826" y="106"/>
                  </a:lnTo>
                  <a:lnTo>
                    <a:pt x="1828" y="104"/>
                  </a:lnTo>
                  <a:lnTo>
                    <a:pt x="1830" y="102"/>
                  </a:lnTo>
                  <a:lnTo>
                    <a:pt x="1831" y="97"/>
                  </a:lnTo>
                  <a:lnTo>
                    <a:pt x="1832" y="93"/>
                  </a:lnTo>
                  <a:lnTo>
                    <a:pt x="1833" y="88"/>
                  </a:lnTo>
                  <a:lnTo>
                    <a:pt x="1833" y="55"/>
                  </a:lnTo>
                  <a:lnTo>
                    <a:pt x="1832" y="50"/>
                  </a:lnTo>
                  <a:lnTo>
                    <a:pt x="1831" y="44"/>
                  </a:lnTo>
                  <a:lnTo>
                    <a:pt x="1830" y="41"/>
                  </a:lnTo>
                  <a:lnTo>
                    <a:pt x="1828" y="38"/>
                  </a:lnTo>
                  <a:lnTo>
                    <a:pt x="1826" y="36"/>
                  </a:lnTo>
                  <a:lnTo>
                    <a:pt x="1823" y="35"/>
                  </a:lnTo>
                  <a:lnTo>
                    <a:pt x="1820" y="34"/>
                  </a:lnTo>
                  <a:lnTo>
                    <a:pt x="1815" y="34"/>
                  </a:lnTo>
                  <a:lnTo>
                    <a:pt x="1800" y="34"/>
                  </a:lnTo>
                  <a:close/>
                  <a:moveTo>
                    <a:pt x="1867" y="57"/>
                  </a:moveTo>
                  <a:lnTo>
                    <a:pt x="1867" y="86"/>
                  </a:lnTo>
                  <a:lnTo>
                    <a:pt x="1867" y="92"/>
                  </a:lnTo>
                  <a:lnTo>
                    <a:pt x="1866" y="97"/>
                  </a:lnTo>
                  <a:lnTo>
                    <a:pt x="1865" y="104"/>
                  </a:lnTo>
                  <a:lnTo>
                    <a:pt x="1864" y="109"/>
                  </a:lnTo>
                  <a:lnTo>
                    <a:pt x="1862" y="113"/>
                  </a:lnTo>
                  <a:lnTo>
                    <a:pt x="1860" y="118"/>
                  </a:lnTo>
                  <a:lnTo>
                    <a:pt x="1858" y="122"/>
                  </a:lnTo>
                  <a:lnTo>
                    <a:pt x="1855" y="126"/>
                  </a:lnTo>
                  <a:lnTo>
                    <a:pt x="1851" y="129"/>
                  </a:lnTo>
                  <a:lnTo>
                    <a:pt x="1847" y="132"/>
                  </a:lnTo>
                  <a:lnTo>
                    <a:pt x="1843" y="134"/>
                  </a:lnTo>
                  <a:lnTo>
                    <a:pt x="1839" y="136"/>
                  </a:lnTo>
                  <a:lnTo>
                    <a:pt x="1833" y="138"/>
                  </a:lnTo>
                  <a:lnTo>
                    <a:pt x="1828" y="139"/>
                  </a:lnTo>
                  <a:lnTo>
                    <a:pt x="1822" y="140"/>
                  </a:lnTo>
                  <a:lnTo>
                    <a:pt x="1815" y="140"/>
                  </a:lnTo>
                  <a:lnTo>
                    <a:pt x="1800" y="140"/>
                  </a:lnTo>
                  <a:lnTo>
                    <a:pt x="1800" y="222"/>
                  </a:lnTo>
                  <a:lnTo>
                    <a:pt x="1766" y="222"/>
                  </a:lnTo>
                  <a:lnTo>
                    <a:pt x="1766" y="3"/>
                  </a:lnTo>
                  <a:lnTo>
                    <a:pt x="1815" y="3"/>
                  </a:lnTo>
                  <a:lnTo>
                    <a:pt x="1822" y="3"/>
                  </a:lnTo>
                  <a:lnTo>
                    <a:pt x="1828" y="3"/>
                  </a:lnTo>
                  <a:lnTo>
                    <a:pt x="1833" y="4"/>
                  </a:lnTo>
                  <a:lnTo>
                    <a:pt x="1839" y="6"/>
                  </a:lnTo>
                  <a:lnTo>
                    <a:pt x="1843" y="9"/>
                  </a:lnTo>
                  <a:lnTo>
                    <a:pt x="1847" y="11"/>
                  </a:lnTo>
                  <a:lnTo>
                    <a:pt x="1851" y="14"/>
                  </a:lnTo>
                  <a:lnTo>
                    <a:pt x="1855" y="17"/>
                  </a:lnTo>
                  <a:lnTo>
                    <a:pt x="1858" y="20"/>
                  </a:lnTo>
                  <a:lnTo>
                    <a:pt x="1860" y="24"/>
                  </a:lnTo>
                  <a:lnTo>
                    <a:pt x="1862" y="29"/>
                  </a:lnTo>
                  <a:lnTo>
                    <a:pt x="1864" y="34"/>
                  </a:lnTo>
                  <a:lnTo>
                    <a:pt x="1865" y="39"/>
                  </a:lnTo>
                  <a:lnTo>
                    <a:pt x="1866" y="44"/>
                  </a:lnTo>
                  <a:lnTo>
                    <a:pt x="1867" y="51"/>
                  </a:lnTo>
                  <a:lnTo>
                    <a:pt x="1867" y="57"/>
                  </a:lnTo>
                  <a:close/>
                  <a:moveTo>
                    <a:pt x="1665" y="3"/>
                  </a:moveTo>
                  <a:lnTo>
                    <a:pt x="1665" y="172"/>
                  </a:lnTo>
                  <a:lnTo>
                    <a:pt x="1666" y="178"/>
                  </a:lnTo>
                  <a:lnTo>
                    <a:pt x="1667" y="182"/>
                  </a:lnTo>
                  <a:lnTo>
                    <a:pt x="1667" y="184"/>
                  </a:lnTo>
                  <a:lnTo>
                    <a:pt x="1668" y="185"/>
                  </a:lnTo>
                  <a:lnTo>
                    <a:pt x="1671" y="188"/>
                  </a:lnTo>
                  <a:lnTo>
                    <a:pt x="1673" y="190"/>
                  </a:lnTo>
                  <a:lnTo>
                    <a:pt x="1676" y="193"/>
                  </a:lnTo>
                  <a:lnTo>
                    <a:pt x="1680" y="193"/>
                  </a:lnTo>
                  <a:lnTo>
                    <a:pt x="1683" y="194"/>
                  </a:lnTo>
                  <a:lnTo>
                    <a:pt x="1687" y="193"/>
                  </a:lnTo>
                  <a:lnTo>
                    <a:pt x="1691" y="193"/>
                  </a:lnTo>
                  <a:lnTo>
                    <a:pt x="1694" y="190"/>
                  </a:lnTo>
                  <a:lnTo>
                    <a:pt x="1697" y="188"/>
                  </a:lnTo>
                  <a:lnTo>
                    <a:pt x="1698" y="185"/>
                  </a:lnTo>
                  <a:lnTo>
                    <a:pt x="1700" y="182"/>
                  </a:lnTo>
                  <a:lnTo>
                    <a:pt x="1701" y="178"/>
                  </a:lnTo>
                  <a:lnTo>
                    <a:pt x="1701" y="172"/>
                  </a:lnTo>
                  <a:lnTo>
                    <a:pt x="1701" y="3"/>
                  </a:lnTo>
                  <a:lnTo>
                    <a:pt x="1734" y="3"/>
                  </a:lnTo>
                  <a:lnTo>
                    <a:pt x="1734" y="169"/>
                  </a:lnTo>
                  <a:lnTo>
                    <a:pt x="1734" y="176"/>
                  </a:lnTo>
                  <a:lnTo>
                    <a:pt x="1733" y="182"/>
                  </a:lnTo>
                  <a:lnTo>
                    <a:pt x="1732" y="188"/>
                  </a:lnTo>
                  <a:lnTo>
                    <a:pt x="1731" y="194"/>
                  </a:lnTo>
                  <a:lnTo>
                    <a:pt x="1729" y="198"/>
                  </a:lnTo>
                  <a:lnTo>
                    <a:pt x="1727" y="203"/>
                  </a:lnTo>
                  <a:lnTo>
                    <a:pt x="1723" y="206"/>
                  </a:lnTo>
                  <a:lnTo>
                    <a:pt x="1721" y="211"/>
                  </a:lnTo>
                  <a:lnTo>
                    <a:pt x="1717" y="214"/>
                  </a:lnTo>
                  <a:lnTo>
                    <a:pt x="1714" y="217"/>
                  </a:lnTo>
                  <a:lnTo>
                    <a:pt x="1712" y="218"/>
                  </a:lnTo>
                  <a:lnTo>
                    <a:pt x="1710" y="219"/>
                  </a:lnTo>
                  <a:lnTo>
                    <a:pt x="1704" y="221"/>
                  </a:lnTo>
                  <a:lnTo>
                    <a:pt x="1700" y="223"/>
                  </a:lnTo>
                  <a:lnTo>
                    <a:pt x="1695" y="224"/>
                  </a:lnTo>
                  <a:lnTo>
                    <a:pt x="1688" y="224"/>
                  </a:lnTo>
                  <a:lnTo>
                    <a:pt x="1682" y="225"/>
                  </a:lnTo>
                  <a:lnTo>
                    <a:pt x="1677" y="224"/>
                  </a:lnTo>
                  <a:lnTo>
                    <a:pt x="1671" y="224"/>
                  </a:lnTo>
                  <a:lnTo>
                    <a:pt x="1665" y="223"/>
                  </a:lnTo>
                  <a:lnTo>
                    <a:pt x="1660" y="221"/>
                  </a:lnTo>
                  <a:lnTo>
                    <a:pt x="1656" y="219"/>
                  </a:lnTo>
                  <a:lnTo>
                    <a:pt x="1651" y="217"/>
                  </a:lnTo>
                  <a:lnTo>
                    <a:pt x="1647" y="214"/>
                  </a:lnTo>
                  <a:lnTo>
                    <a:pt x="1644" y="211"/>
                  </a:lnTo>
                  <a:lnTo>
                    <a:pt x="1641" y="206"/>
                  </a:lnTo>
                  <a:lnTo>
                    <a:pt x="1639" y="203"/>
                  </a:lnTo>
                  <a:lnTo>
                    <a:pt x="1637" y="198"/>
                  </a:lnTo>
                  <a:lnTo>
                    <a:pt x="1635" y="194"/>
                  </a:lnTo>
                  <a:lnTo>
                    <a:pt x="1632" y="188"/>
                  </a:lnTo>
                  <a:lnTo>
                    <a:pt x="1632" y="182"/>
                  </a:lnTo>
                  <a:lnTo>
                    <a:pt x="1631" y="176"/>
                  </a:lnTo>
                  <a:lnTo>
                    <a:pt x="1631" y="169"/>
                  </a:lnTo>
                  <a:lnTo>
                    <a:pt x="1631" y="3"/>
                  </a:lnTo>
                  <a:lnTo>
                    <a:pt x="1665" y="3"/>
                  </a:lnTo>
                  <a:close/>
                  <a:moveTo>
                    <a:pt x="1530" y="152"/>
                  </a:moveTo>
                  <a:lnTo>
                    <a:pt x="1564" y="152"/>
                  </a:lnTo>
                  <a:lnTo>
                    <a:pt x="1547" y="41"/>
                  </a:lnTo>
                  <a:lnTo>
                    <a:pt x="1530" y="152"/>
                  </a:lnTo>
                  <a:close/>
                  <a:moveTo>
                    <a:pt x="1609" y="222"/>
                  </a:moveTo>
                  <a:lnTo>
                    <a:pt x="1574" y="222"/>
                  </a:lnTo>
                  <a:lnTo>
                    <a:pt x="1568" y="182"/>
                  </a:lnTo>
                  <a:lnTo>
                    <a:pt x="1526" y="182"/>
                  </a:lnTo>
                  <a:lnTo>
                    <a:pt x="1520" y="222"/>
                  </a:lnTo>
                  <a:lnTo>
                    <a:pt x="1489" y="222"/>
                  </a:lnTo>
                  <a:lnTo>
                    <a:pt x="1524" y="3"/>
                  </a:lnTo>
                  <a:lnTo>
                    <a:pt x="1574" y="3"/>
                  </a:lnTo>
                  <a:lnTo>
                    <a:pt x="1609" y="222"/>
                  </a:lnTo>
                  <a:close/>
                  <a:moveTo>
                    <a:pt x="1405" y="134"/>
                  </a:moveTo>
                  <a:lnTo>
                    <a:pt x="1394" y="154"/>
                  </a:lnTo>
                  <a:lnTo>
                    <a:pt x="1394" y="222"/>
                  </a:lnTo>
                  <a:lnTo>
                    <a:pt x="1360" y="222"/>
                  </a:lnTo>
                  <a:lnTo>
                    <a:pt x="1360" y="3"/>
                  </a:lnTo>
                  <a:lnTo>
                    <a:pt x="1394" y="3"/>
                  </a:lnTo>
                  <a:lnTo>
                    <a:pt x="1394" y="98"/>
                  </a:lnTo>
                  <a:lnTo>
                    <a:pt x="1440" y="3"/>
                  </a:lnTo>
                  <a:lnTo>
                    <a:pt x="1474" y="3"/>
                  </a:lnTo>
                  <a:lnTo>
                    <a:pt x="1426" y="101"/>
                  </a:lnTo>
                  <a:lnTo>
                    <a:pt x="1474" y="222"/>
                  </a:lnTo>
                  <a:lnTo>
                    <a:pt x="1439" y="222"/>
                  </a:lnTo>
                  <a:lnTo>
                    <a:pt x="1405" y="134"/>
                  </a:lnTo>
                  <a:close/>
                  <a:moveTo>
                    <a:pt x="1271" y="95"/>
                  </a:moveTo>
                  <a:lnTo>
                    <a:pt x="1318" y="95"/>
                  </a:lnTo>
                  <a:lnTo>
                    <a:pt x="1318" y="127"/>
                  </a:lnTo>
                  <a:lnTo>
                    <a:pt x="1271" y="127"/>
                  </a:lnTo>
                  <a:lnTo>
                    <a:pt x="1271" y="190"/>
                  </a:lnTo>
                  <a:lnTo>
                    <a:pt x="1331" y="190"/>
                  </a:lnTo>
                  <a:lnTo>
                    <a:pt x="1331" y="222"/>
                  </a:lnTo>
                  <a:lnTo>
                    <a:pt x="1237" y="222"/>
                  </a:lnTo>
                  <a:lnTo>
                    <a:pt x="1237" y="3"/>
                  </a:lnTo>
                  <a:lnTo>
                    <a:pt x="1331" y="3"/>
                  </a:lnTo>
                  <a:lnTo>
                    <a:pt x="1331" y="34"/>
                  </a:lnTo>
                  <a:lnTo>
                    <a:pt x="1271" y="34"/>
                  </a:lnTo>
                  <a:lnTo>
                    <a:pt x="1271" y="95"/>
                  </a:lnTo>
                  <a:close/>
                  <a:moveTo>
                    <a:pt x="1108" y="3"/>
                  </a:moveTo>
                  <a:lnTo>
                    <a:pt x="1214" y="3"/>
                  </a:lnTo>
                  <a:lnTo>
                    <a:pt x="1214" y="34"/>
                  </a:lnTo>
                  <a:lnTo>
                    <a:pt x="1178" y="34"/>
                  </a:lnTo>
                  <a:lnTo>
                    <a:pt x="1178" y="222"/>
                  </a:lnTo>
                  <a:lnTo>
                    <a:pt x="1144" y="222"/>
                  </a:lnTo>
                  <a:lnTo>
                    <a:pt x="1144" y="34"/>
                  </a:lnTo>
                  <a:lnTo>
                    <a:pt x="1108" y="34"/>
                  </a:lnTo>
                  <a:lnTo>
                    <a:pt x="1108" y="3"/>
                  </a:lnTo>
                  <a:close/>
                  <a:moveTo>
                    <a:pt x="1039" y="0"/>
                  </a:moveTo>
                  <a:lnTo>
                    <a:pt x="1044" y="0"/>
                  </a:lnTo>
                  <a:lnTo>
                    <a:pt x="1051" y="1"/>
                  </a:lnTo>
                  <a:lnTo>
                    <a:pt x="1056" y="2"/>
                  </a:lnTo>
                  <a:lnTo>
                    <a:pt x="1061" y="4"/>
                  </a:lnTo>
                  <a:lnTo>
                    <a:pt x="1066" y="6"/>
                  </a:lnTo>
                  <a:lnTo>
                    <a:pt x="1070" y="9"/>
                  </a:lnTo>
                  <a:lnTo>
                    <a:pt x="1073" y="12"/>
                  </a:lnTo>
                  <a:lnTo>
                    <a:pt x="1077" y="15"/>
                  </a:lnTo>
                  <a:lnTo>
                    <a:pt x="1079" y="18"/>
                  </a:lnTo>
                  <a:lnTo>
                    <a:pt x="1083" y="22"/>
                  </a:lnTo>
                  <a:lnTo>
                    <a:pt x="1085" y="28"/>
                  </a:lnTo>
                  <a:lnTo>
                    <a:pt x="1087" y="32"/>
                  </a:lnTo>
                  <a:lnTo>
                    <a:pt x="1088" y="37"/>
                  </a:lnTo>
                  <a:lnTo>
                    <a:pt x="1089" y="43"/>
                  </a:lnTo>
                  <a:lnTo>
                    <a:pt x="1090" y="49"/>
                  </a:lnTo>
                  <a:lnTo>
                    <a:pt x="1090" y="55"/>
                  </a:lnTo>
                  <a:lnTo>
                    <a:pt x="1090" y="62"/>
                  </a:lnTo>
                  <a:lnTo>
                    <a:pt x="1057" y="62"/>
                  </a:lnTo>
                  <a:lnTo>
                    <a:pt x="1057" y="53"/>
                  </a:lnTo>
                  <a:lnTo>
                    <a:pt x="1057" y="48"/>
                  </a:lnTo>
                  <a:lnTo>
                    <a:pt x="1056" y="43"/>
                  </a:lnTo>
                  <a:lnTo>
                    <a:pt x="1054" y="39"/>
                  </a:lnTo>
                  <a:lnTo>
                    <a:pt x="1053" y="36"/>
                  </a:lnTo>
                  <a:lnTo>
                    <a:pt x="1050" y="34"/>
                  </a:lnTo>
                  <a:lnTo>
                    <a:pt x="1048" y="33"/>
                  </a:lnTo>
                  <a:lnTo>
                    <a:pt x="1043" y="32"/>
                  </a:lnTo>
                  <a:lnTo>
                    <a:pt x="1040" y="32"/>
                  </a:lnTo>
                  <a:lnTo>
                    <a:pt x="1036" y="32"/>
                  </a:lnTo>
                  <a:lnTo>
                    <a:pt x="1033" y="33"/>
                  </a:lnTo>
                  <a:lnTo>
                    <a:pt x="1031" y="34"/>
                  </a:lnTo>
                  <a:lnTo>
                    <a:pt x="1030" y="34"/>
                  </a:lnTo>
                  <a:lnTo>
                    <a:pt x="1028" y="36"/>
                  </a:lnTo>
                  <a:lnTo>
                    <a:pt x="1025" y="39"/>
                  </a:lnTo>
                  <a:lnTo>
                    <a:pt x="1023" y="43"/>
                  </a:lnTo>
                  <a:lnTo>
                    <a:pt x="1023" y="48"/>
                  </a:lnTo>
                  <a:lnTo>
                    <a:pt x="1022" y="53"/>
                  </a:lnTo>
                  <a:lnTo>
                    <a:pt x="1022" y="57"/>
                  </a:lnTo>
                  <a:lnTo>
                    <a:pt x="1023" y="61"/>
                  </a:lnTo>
                  <a:lnTo>
                    <a:pt x="1025" y="69"/>
                  </a:lnTo>
                  <a:lnTo>
                    <a:pt x="1026" y="72"/>
                  </a:lnTo>
                  <a:lnTo>
                    <a:pt x="1029" y="75"/>
                  </a:lnTo>
                  <a:lnTo>
                    <a:pt x="1033" y="81"/>
                  </a:lnTo>
                  <a:lnTo>
                    <a:pt x="1038" y="88"/>
                  </a:lnTo>
                  <a:lnTo>
                    <a:pt x="1043" y="93"/>
                  </a:lnTo>
                  <a:lnTo>
                    <a:pt x="1056" y="105"/>
                  </a:lnTo>
                  <a:lnTo>
                    <a:pt x="1069" y="117"/>
                  </a:lnTo>
                  <a:lnTo>
                    <a:pt x="1074" y="124"/>
                  </a:lnTo>
                  <a:lnTo>
                    <a:pt x="1079" y="131"/>
                  </a:lnTo>
                  <a:lnTo>
                    <a:pt x="1084" y="140"/>
                  </a:lnTo>
                  <a:lnTo>
                    <a:pt x="1087" y="148"/>
                  </a:lnTo>
                  <a:lnTo>
                    <a:pt x="1089" y="159"/>
                  </a:lnTo>
                  <a:lnTo>
                    <a:pt x="1090" y="164"/>
                  </a:lnTo>
                  <a:lnTo>
                    <a:pt x="1090" y="169"/>
                  </a:lnTo>
                  <a:lnTo>
                    <a:pt x="1090" y="176"/>
                  </a:lnTo>
                  <a:lnTo>
                    <a:pt x="1089" y="182"/>
                  </a:lnTo>
                  <a:lnTo>
                    <a:pt x="1088" y="187"/>
                  </a:lnTo>
                  <a:lnTo>
                    <a:pt x="1087" y="193"/>
                  </a:lnTo>
                  <a:lnTo>
                    <a:pt x="1085" y="198"/>
                  </a:lnTo>
                  <a:lnTo>
                    <a:pt x="1083" y="202"/>
                  </a:lnTo>
                  <a:lnTo>
                    <a:pt x="1080" y="206"/>
                  </a:lnTo>
                  <a:lnTo>
                    <a:pt x="1077" y="211"/>
                  </a:lnTo>
                  <a:lnTo>
                    <a:pt x="1073" y="214"/>
                  </a:lnTo>
                  <a:lnTo>
                    <a:pt x="1070" y="217"/>
                  </a:lnTo>
                  <a:lnTo>
                    <a:pt x="1068" y="218"/>
                  </a:lnTo>
                  <a:lnTo>
                    <a:pt x="1066" y="219"/>
                  </a:lnTo>
                  <a:lnTo>
                    <a:pt x="1061" y="221"/>
                  </a:lnTo>
                  <a:lnTo>
                    <a:pt x="1056" y="222"/>
                  </a:lnTo>
                  <a:lnTo>
                    <a:pt x="1051" y="223"/>
                  </a:lnTo>
                  <a:lnTo>
                    <a:pt x="1044" y="224"/>
                  </a:lnTo>
                  <a:lnTo>
                    <a:pt x="1038" y="224"/>
                  </a:lnTo>
                  <a:lnTo>
                    <a:pt x="1033" y="224"/>
                  </a:lnTo>
                  <a:lnTo>
                    <a:pt x="1026" y="223"/>
                  </a:lnTo>
                  <a:lnTo>
                    <a:pt x="1021" y="222"/>
                  </a:lnTo>
                  <a:lnTo>
                    <a:pt x="1016" y="221"/>
                  </a:lnTo>
                  <a:lnTo>
                    <a:pt x="1012" y="219"/>
                  </a:lnTo>
                  <a:lnTo>
                    <a:pt x="1007" y="217"/>
                  </a:lnTo>
                  <a:lnTo>
                    <a:pt x="1003" y="214"/>
                  </a:lnTo>
                  <a:lnTo>
                    <a:pt x="1000" y="211"/>
                  </a:lnTo>
                  <a:lnTo>
                    <a:pt x="997" y="206"/>
                  </a:lnTo>
                  <a:lnTo>
                    <a:pt x="995" y="202"/>
                  </a:lnTo>
                  <a:lnTo>
                    <a:pt x="993" y="198"/>
                  </a:lnTo>
                  <a:lnTo>
                    <a:pt x="991" y="193"/>
                  </a:lnTo>
                  <a:lnTo>
                    <a:pt x="989" y="187"/>
                  </a:lnTo>
                  <a:lnTo>
                    <a:pt x="988" y="182"/>
                  </a:lnTo>
                  <a:lnTo>
                    <a:pt x="987" y="176"/>
                  </a:lnTo>
                  <a:lnTo>
                    <a:pt x="987" y="169"/>
                  </a:lnTo>
                  <a:lnTo>
                    <a:pt x="987" y="156"/>
                  </a:lnTo>
                  <a:lnTo>
                    <a:pt x="1020" y="156"/>
                  </a:lnTo>
                  <a:lnTo>
                    <a:pt x="1020" y="171"/>
                  </a:lnTo>
                  <a:lnTo>
                    <a:pt x="1020" y="177"/>
                  </a:lnTo>
                  <a:lnTo>
                    <a:pt x="1021" y="182"/>
                  </a:lnTo>
                  <a:lnTo>
                    <a:pt x="1021" y="183"/>
                  </a:lnTo>
                  <a:lnTo>
                    <a:pt x="1022" y="185"/>
                  </a:lnTo>
                  <a:lnTo>
                    <a:pt x="1024" y="188"/>
                  </a:lnTo>
                  <a:lnTo>
                    <a:pt x="1028" y="190"/>
                  </a:lnTo>
                  <a:lnTo>
                    <a:pt x="1031" y="191"/>
                  </a:lnTo>
                  <a:lnTo>
                    <a:pt x="1034" y="193"/>
                  </a:lnTo>
                  <a:lnTo>
                    <a:pt x="1038" y="193"/>
                  </a:lnTo>
                  <a:lnTo>
                    <a:pt x="1041" y="193"/>
                  </a:lnTo>
                  <a:lnTo>
                    <a:pt x="1046" y="191"/>
                  </a:lnTo>
                  <a:lnTo>
                    <a:pt x="1048" y="190"/>
                  </a:lnTo>
                  <a:lnTo>
                    <a:pt x="1051" y="188"/>
                  </a:lnTo>
                  <a:lnTo>
                    <a:pt x="1053" y="185"/>
                  </a:lnTo>
                  <a:lnTo>
                    <a:pt x="1054" y="182"/>
                  </a:lnTo>
                  <a:lnTo>
                    <a:pt x="1055" y="177"/>
                  </a:lnTo>
                  <a:lnTo>
                    <a:pt x="1055" y="171"/>
                  </a:lnTo>
                  <a:lnTo>
                    <a:pt x="1055" y="167"/>
                  </a:lnTo>
                  <a:lnTo>
                    <a:pt x="1055" y="164"/>
                  </a:lnTo>
                  <a:lnTo>
                    <a:pt x="1053" y="157"/>
                  </a:lnTo>
                  <a:lnTo>
                    <a:pt x="1051" y="152"/>
                  </a:lnTo>
                  <a:lnTo>
                    <a:pt x="1050" y="149"/>
                  </a:lnTo>
                  <a:lnTo>
                    <a:pt x="1044" y="143"/>
                  </a:lnTo>
                  <a:lnTo>
                    <a:pt x="1040" y="138"/>
                  </a:lnTo>
                  <a:lnTo>
                    <a:pt x="1034" y="131"/>
                  </a:lnTo>
                  <a:lnTo>
                    <a:pt x="1022" y="120"/>
                  </a:lnTo>
                  <a:lnTo>
                    <a:pt x="1010" y="108"/>
                  </a:lnTo>
                  <a:lnTo>
                    <a:pt x="1003" y="101"/>
                  </a:lnTo>
                  <a:lnTo>
                    <a:pt x="999" y="93"/>
                  </a:lnTo>
                  <a:lnTo>
                    <a:pt x="995" y="86"/>
                  </a:lnTo>
                  <a:lnTo>
                    <a:pt x="991" y="76"/>
                  </a:lnTo>
                  <a:lnTo>
                    <a:pt x="988" y="67"/>
                  </a:lnTo>
                  <a:lnTo>
                    <a:pt x="988" y="61"/>
                  </a:lnTo>
                  <a:lnTo>
                    <a:pt x="988" y="55"/>
                  </a:lnTo>
                  <a:lnTo>
                    <a:pt x="988" y="49"/>
                  </a:lnTo>
                  <a:lnTo>
                    <a:pt x="988" y="43"/>
                  </a:lnTo>
                  <a:lnTo>
                    <a:pt x="989" y="37"/>
                  </a:lnTo>
                  <a:lnTo>
                    <a:pt x="992" y="32"/>
                  </a:lnTo>
                  <a:lnTo>
                    <a:pt x="993" y="28"/>
                  </a:lnTo>
                  <a:lnTo>
                    <a:pt x="996" y="22"/>
                  </a:lnTo>
                  <a:lnTo>
                    <a:pt x="998" y="18"/>
                  </a:lnTo>
                  <a:lnTo>
                    <a:pt x="1001" y="15"/>
                  </a:lnTo>
                  <a:lnTo>
                    <a:pt x="1004" y="12"/>
                  </a:lnTo>
                  <a:lnTo>
                    <a:pt x="1008" y="9"/>
                  </a:lnTo>
                  <a:lnTo>
                    <a:pt x="1011" y="7"/>
                  </a:lnTo>
                  <a:lnTo>
                    <a:pt x="1013" y="6"/>
                  </a:lnTo>
                  <a:lnTo>
                    <a:pt x="1017" y="4"/>
                  </a:lnTo>
                  <a:lnTo>
                    <a:pt x="1022" y="2"/>
                  </a:lnTo>
                  <a:lnTo>
                    <a:pt x="1028" y="1"/>
                  </a:lnTo>
                  <a:lnTo>
                    <a:pt x="1033" y="0"/>
                  </a:lnTo>
                  <a:lnTo>
                    <a:pt x="1039" y="0"/>
                  </a:lnTo>
                  <a:close/>
                  <a:moveTo>
                    <a:pt x="904" y="95"/>
                  </a:moveTo>
                  <a:lnTo>
                    <a:pt x="951" y="95"/>
                  </a:lnTo>
                  <a:lnTo>
                    <a:pt x="951" y="127"/>
                  </a:lnTo>
                  <a:lnTo>
                    <a:pt x="904" y="127"/>
                  </a:lnTo>
                  <a:lnTo>
                    <a:pt x="904" y="190"/>
                  </a:lnTo>
                  <a:lnTo>
                    <a:pt x="963" y="190"/>
                  </a:lnTo>
                  <a:lnTo>
                    <a:pt x="963" y="222"/>
                  </a:lnTo>
                  <a:lnTo>
                    <a:pt x="870" y="222"/>
                  </a:lnTo>
                  <a:lnTo>
                    <a:pt x="870" y="3"/>
                  </a:lnTo>
                  <a:lnTo>
                    <a:pt x="963" y="3"/>
                  </a:lnTo>
                  <a:lnTo>
                    <a:pt x="963" y="34"/>
                  </a:lnTo>
                  <a:lnTo>
                    <a:pt x="904" y="34"/>
                  </a:lnTo>
                  <a:lnTo>
                    <a:pt x="904" y="95"/>
                  </a:lnTo>
                  <a:close/>
                  <a:moveTo>
                    <a:pt x="759" y="64"/>
                  </a:moveTo>
                  <a:lnTo>
                    <a:pt x="759" y="222"/>
                  </a:lnTo>
                  <a:lnTo>
                    <a:pt x="727" y="222"/>
                  </a:lnTo>
                  <a:lnTo>
                    <a:pt x="727" y="3"/>
                  </a:lnTo>
                  <a:lnTo>
                    <a:pt x="771" y="3"/>
                  </a:lnTo>
                  <a:lnTo>
                    <a:pt x="807" y="134"/>
                  </a:lnTo>
                  <a:lnTo>
                    <a:pt x="807" y="3"/>
                  </a:lnTo>
                  <a:lnTo>
                    <a:pt x="837" y="3"/>
                  </a:lnTo>
                  <a:lnTo>
                    <a:pt x="837" y="222"/>
                  </a:lnTo>
                  <a:lnTo>
                    <a:pt x="801" y="222"/>
                  </a:lnTo>
                  <a:lnTo>
                    <a:pt x="759" y="64"/>
                  </a:lnTo>
                  <a:close/>
                  <a:moveTo>
                    <a:pt x="628" y="171"/>
                  </a:moveTo>
                  <a:lnTo>
                    <a:pt x="628" y="177"/>
                  </a:lnTo>
                  <a:lnTo>
                    <a:pt x="629" y="182"/>
                  </a:lnTo>
                  <a:lnTo>
                    <a:pt x="630" y="184"/>
                  </a:lnTo>
                  <a:lnTo>
                    <a:pt x="630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8" y="193"/>
                  </a:lnTo>
                  <a:lnTo>
                    <a:pt x="642" y="193"/>
                  </a:lnTo>
                  <a:lnTo>
                    <a:pt x="646" y="194"/>
                  </a:lnTo>
                  <a:lnTo>
                    <a:pt x="649" y="193"/>
                  </a:lnTo>
                  <a:lnTo>
                    <a:pt x="653" y="193"/>
                  </a:lnTo>
                  <a:lnTo>
                    <a:pt x="656" y="190"/>
                  </a:lnTo>
                  <a:lnTo>
                    <a:pt x="658" y="188"/>
                  </a:lnTo>
                  <a:lnTo>
                    <a:pt x="661" y="185"/>
                  </a:lnTo>
                  <a:lnTo>
                    <a:pt x="662" y="182"/>
                  </a:lnTo>
                  <a:lnTo>
                    <a:pt x="663" y="177"/>
                  </a:lnTo>
                  <a:lnTo>
                    <a:pt x="664" y="171"/>
                  </a:lnTo>
                  <a:lnTo>
                    <a:pt x="664" y="53"/>
                  </a:lnTo>
                  <a:lnTo>
                    <a:pt x="663" y="48"/>
                  </a:lnTo>
                  <a:lnTo>
                    <a:pt x="662" y="43"/>
                  </a:lnTo>
                  <a:lnTo>
                    <a:pt x="662" y="41"/>
                  </a:lnTo>
                  <a:lnTo>
                    <a:pt x="661" y="39"/>
                  </a:lnTo>
                  <a:lnTo>
                    <a:pt x="658" y="36"/>
                  </a:lnTo>
                  <a:lnTo>
                    <a:pt x="656" y="34"/>
                  </a:lnTo>
                  <a:lnTo>
                    <a:pt x="653" y="33"/>
                  </a:lnTo>
                  <a:lnTo>
                    <a:pt x="649" y="32"/>
                  </a:lnTo>
                  <a:lnTo>
                    <a:pt x="646" y="32"/>
                  </a:lnTo>
                  <a:lnTo>
                    <a:pt x="642" y="32"/>
                  </a:lnTo>
                  <a:lnTo>
                    <a:pt x="638" y="33"/>
                  </a:lnTo>
                  <a:lnTo>
                    <a:pt x="635" y="34"/>
                  </a:lnTo>
                  <a:lnTo>
                    <a:pt x="632" y="36"/>
                  </a:lnTo>
                  <a:lnTo>
                    <a:pt x="630" y="39"/>
                  </a:lnTo>
                  <a:lnTo>
                    <a:pt x="629" y="43"/>
                  </a:lnTo>
                  <a:lnTo>
                    <a:pt x="628" y="48"/>
                  </a:lnTo>
                  <a:lnTo>
                    <a:pt x="628" y="53"/>
                  </a:lnTo>
                  <a:lnTo>
                    <a:pt x="628" y="171"/>
                  </a:lnTo>
                  <a:close/>
                  <a:moveTo>
                    <a:pt x="593" y="55"/>
                  </a:moveTo>
                  <a:lnTo>
                    <a:pt x="593" y="49"/>
                  </a:lnTo>
                  <a:lnTo>
                    <a:pt x="594" y="43"/>
                  </a:lnTo>
                  <a:lnTo>
                    <a:pt x="595" y="37"/>
                  </a:lnTo>
                  <a:lnTo>
                    <a:pt x="596" y="35"/>
                  </a:lnTo>
                  <a:lnTo>
                    <a:pt x="597" y="32"/>
                  </a:lnTo>
                  <a:lnTo>
                    <a:pt x="598" y="28"/>
                  </a:lnTo>
                  <a:lnTo>
                    <a:pt x="601" y="22"/>
                  </a:lnTo>
                  <a:lnTo>
                    <a:pt x="603" y="18"/>
                  </a:lnTo>
                  <a:lnTo>
                    <a:pt x="607" y="15"/>
                  </a:lnTo>
                  <a:lnTo>
                    <a:pt x="610" y="12"/>
                  </a:lnTo>
                  <a:lnTo>
                    <a:pt x="614" y="9"/>
                  </a:lnTo>
                  <a:lnTo>
                    <a:pt x="618" y="6"/>
                  </a:lnTo>
                  <a:lnTo>
                    <a:pt x="624" y="4"/>
                  </a:lnTo>
                  <a:lnTo>
                    <a:pt x="628" y="2"/>
                  </a:lnTo>
                  <a:lnTo>
                    <a:pt x="633" y="1"/>
                  </a:lnTo>
                  <a:lnTo>
                    <a:pt x="639" y="0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7" y="1"/>
                  </a:lnTo>
                  <a:lnTo>
                    <a:pt x="663" y="2"/>
                  </a:lnTo>
                  <a:lnTo>
                    <a:pt x="668" y="4"/>
                  </a:lnTo>
                  <a:lnTo>
                    <a:pt x="672" y="6"/>
                  </a:lnTo>
                  <a:lnTo>
                    <a:pt x="676" y="9"/>
                  </a:lnTo>
                  <a:lnTo>
                    <a:pt x="681" y="12"/>
                  </a:lnTo>
                  <a:lnTo>
                    <a:pt x="684" y="15"/>
                  </a:lnTo>
                  <a:lnTo>
                    <a:pt x="687" y="18"/>
                  </a:lnTo>
                  <a:lnTo>
                    <a:pt x="690" y="22"/>
                  </a:lnTo>
                  <a:lnTo>
                    <a:pt x="692" y="28"/>
                  </a:lnTo>
                  <a:lnTo>
                    <a:pt x="694" y="32"/>
                  </a:lnTo>
                  <a:lnTo>
                    <a:pt x="695" y="37"/>
                  </a:lnTo>
                  <a:lnTo>
                    <a:pt x="697" y="43"/>
                  </a:lnTo>
                  <a:lnTo>
                    <a:pt x="698" y="49"/>
                  </a:lnTo>
                  <a:lnTo>
                    <a:pt x="698" y="55"/>
                  </a:lnTo>
                  <a:lnTo>
                    <a:pt x="698" y="169"/>
                  </a:lnTo>
                  <a:lnTo>
                    <a:pt x="698" y="176"/>
                  </a:lnTo>
                  <a:lnTo>
                    <a:pt x="697" y="182"/>
                  </a:lnTo>
                  <a:lnTo>
                    <a:pt x="695" y="187"/>
                  </a:lnTo>
                  <a:lnTo>
                    <a:pt x="695" y="190"/>
                  </a:lnTo>
                  <a:lnTo>
                    <a:pt x="694" y="193"/>
                  </a:lnTo>
                  <a:lnTo>
                    <a:pt x="692" y="198"/>
                  </a:lnTo>
                  <a:lnTo>
                    <a:pt x="690" y="202"/>
                  </a:lnTo>
                  <a:lnTo>
                    <a:pt x="687" y="206"/>
                  </a:lnTo>
                  <a:lnTo>
                    <a:pt x="684" y="211"/>
                  </a:lnTo>
                  <a:lnTo>
                    <a:pt x="681" y="214"/>
                  </a:lnTo>
                  <a:lnTo>
                    <a:pt x="676" y="217"/>
                  </a:lnTo>
                  <a:lnTo>
                    <a:pt x="672" y="219"/>
                  </a:lnTo>
                  <a:lnTo>
                    <a:pt x="668" y="221"/>
                  </a:lnTo>
                  <a:lnTo>
                    <a:pt x="663" y="222"/>
                  </a:lnTo>
                  <a:lnTo>
                    <a:pt x="657" y="223"/>
                  </a:lnTo>
                  <a:lnTo>
                    <a:pt x="652" y="224"/>
                  </a:lnTo>
                  <a:lnTo>
                    <a:pt x="646" y="224"/>
                  </a:lnTo>
                  <a:lnTo>
                    <a:pt x="639" y="224"/>
                  </a:lnTo>
                  <a:lnTo>
                    <a:pt x="633" y="223"/>
                  </a:lnTo>
                  <a:lnTo>
                    <a:pt x="628" y="222"/>
                  </a:lnTo>
                  <a:lnTo>
                    <a:pt x="624" y="221"/>
                  </a:lnTo>
                  <a:lnTo>
                    <a:pt x="618" y="219"/>
                  </a:lnTo>
                  <a:lnTo>
                    <a:pt x="614" y="217"/>
                  </a:lnTo>
                  <a:lnTo>
                    <a:pt x="610" y="214"/>
                  </a:lnTo>
                  <a:lnTo>
                    <a:pt x="607" y="211"/>
                  </a:lnTo>
                  <a:lnTo>
                    <a:pt x="603" y="206"/>
                  </a:lnTo>
                  <a:lnTo>
                    <a:pt x="601" y="202"/>
                  </a:lnTo>
                  <a:lnTo>
                    <a:pt x="598" y="198"/>
                  </a:lnTo>
                  <a:lnTo>
                    <a:pt x="597" y="193"/>
                  </a:lnTo>
                  <a:lnTo>
                    <a:pt x="595" y="187"/>
                  </a:lnTo>
                  <a:lnTo>
                    <a:pt x="594" y="182"/>
                  </a:lnTo>
                  <a:lnTo>
                    <a:pt x="593" y="176"/>
                  </a:lnTo>
                  <a:lnTo>
                    <a:pt x="593" y="169"/>
                  </a:lnTo>
                  <a:lnTo>
                    <a:pt x="593" y="55"/>
                  </a:lnTo>
                  <a:close/>
                  <a:moveTo>
                    <a:pt x="467" y="3"/>
                  </a:moveTo>
                  <a:lnTo>
                    <a:pt x="573" y="3"/>
                  </a:lnTo>
                  <a:lnTo>
                    <a:pt x="573" y="34"/>
                  </a:lnTo>
                  <a:lnTo>
                    <a:pt x="537" y="34"/>
                  </a:lnTo>
                  <a:lnTo>
                    <a:pt x="537" y="222"/>
                  </a:lnTo>
                  <a:lnTo>
                    <a:pt x="503" y="222"/>
                  </a:lnTo>
                  <a:lnTo>
                    <a:pt x="503" y="34"/>
                  </a:lnTo>
                  <a:lnTo>
                    <a:pt x="467" y="34"/>
                  </a:lnTo>
                  <a:lnTo>
                    <a:pt x="467" y="3"/>
                  </a:lnTo>
                  <a:close/>
                  <a:moveTo>
                    <a:pt x="348" y="3"/>
                  </a:moveTo>
                  <a:lnTo>
                    <a:pt x="454" y="3"/>
                  </a:lnTo>
                  <a:lnTo>
                    <a:pt x="454" y="34"/>
                  </a:lnTo>
                  <a:lnTo>
                    <a:pt x="417" y="34"/>
                  </a:lnTo>
                  <a:lnTo>
                    <a:pt x="417" y="222"/>
                  </a:lnTo>
                  <a:lnTo>
                    <a:pt x="383" y="222"/>
                  </a:lnTo>
                  <a:lnTo>
                    <a:pt x="383" y="34"/>
                  </a:lnTo>
                  <a:lnTo>
                    <a:pt x="348" y="34"/>
                  </a:lnTo>
                  <a:lnTo>
                    <a:pt x="348" y="3"/>
                  </a:lnTo>
                  <a:close/>
                  <a:moveTo>
                    <a:pt x="259" y="3"/>
                  </a:moveTo>
                  <a:lnTo>
                    <a:pt x="294" y="3"/>
                  </a:lnTo>
                  <a:lnTo>
                    <a:pt x="294" y="190"/>
                  </a:lnTo>
                  <a:lnTo>
                    <a:pt x="350" y="190"/>
                  </a:lnTo>
                  <a:lnTo>
                    <a:pt x="350" y="222"/>
                  </a:lnTo>
                  <a:lnTo>
                    <a:pt x="259" y="222"/>
                  </a:lnTo>
                  <a:lnTo>
                    <a:pt x="259" y="3"/>
                  </a:lnTo>
                  <a:close/>
                  <a:moveTo>
                    <a:pt x="159" y="171"/>
                  </a:moveTo>
                  <a:lnTo>
                    <a:pt x="159" y="177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1" y="185"/>
                  </a:lnTo>
                  <a:lnTo>
                    <a:pt x="164" y="188"/>
                  </a:lnTo>
                  <a:lnTo>
                    <a:pt x="167" y="190"/>
                  </a:lnTo>
                  <a:lnTo>
                    <a:pt x="169" y="193"/>
                  </a:lnTo>
                  <a:lnTo>
                    <a:pt x="173" y="193"/>
                  </a:lnTo>
                  <a:lnTo>
                    <a:pt x="176" y="194"/>
                  </a:lnTo>
                  <a:lnTo>
                    <a:pt x="180" y="193"/>
                  </a:lnTo>
                  <a:lnTo>
                    <a:pt x="184" y="193"/>
                  </a:lnTo>
                  <a:lnTo>
                    <a:pt x="187" y="190"/>
                  </a:lnTo>
                  <a:lnTo>
                    <a:pt x="190" y="188"/>
                  </a:lnTo>
                  <a:lnTo>
                    <a:pt x="192" y="185"/>
                  </a:lnTo>
                  <a:lnTo>
                    <a:pt x="193" y="182"/>
                  </a:lnTo>
                  <a:lnTo>
                    <a:pt x="194" y="177"/>
                  </a:lnTo>
                  <a:lnTo>
                    <a:pt x="194" y="171"/>
                  </a:lnTo>
                  <a:lnTo>
                    <a:pt x="194" y="53"/>
                  </a:lnTo>
                  <a:lnTo>
                    <a:pt x="194" y="48"/>
                  </a:lnTo>
                  <a:lnTo>
                    <a:pt x="193" y="43"/>
                  </a:lnTo>
                  <a:lnTo>
                    <a:pt x="192" y="41"/>
                  </a:lnTo>
                  <a:lnTo>
                    <a:pt x="192" y="39"/>
                  </a:lnTo>
                  <a:lnTo>
                    <a:pt x="190" y="36"/>
                  </a:lnTo>
                  <a:lnTo>
                    <a:pt x="187" y="34"/>
                  </a:lnTo>
                  <a:lnTo>
                    <a:pt x="184" y="33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3" y="32"/>
                  </a:lnTo>
                  <a:lnTo>
                    <a:pt x="169" y="33"/>
                  </a:lnTo>
                  <a:lnTo>
                    <a:pt x="167" y="34"/>
                  </a:lnTo>
                  <a:lnTo>
                    <a:pt x="164" y="36"/>
                  </a:lnTo>
                  <a:lnTo>
                    <a:pt x="161" y="39"/>
                  </a:lnTo>
                  <a:lnTo>
                    <a:pt x="160" y="43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9" y="171"/>
                  </a:lnTo>
                  <a:close/>
                  <a:moveTo>
                    <a:pt x="124" y="55"/>
                  </a:moveTo>
                  <a:lnTo>
                    <a:pt x="124" y="49"/>
                  </a:lnTo>
                  <a:lnTo>
                    <a:pt x="125" y="43"/>
                  </a:lnTo>
                  <a:lnTo>
                    <a:pt x="127" y="37"/>
                  </a:lnTo>
                  <a:lnTo>
                    <a:pt x="127" y="35"/>
                  </a:lnTo>
                  <a:lnTo>
                    <a:pt x="128" y="32"/>
                  </a:lnTo>
                  <a:lnTo>
                    <a:pt x="130" y="28"/>
                  </a:lnTo>
                  <a:lnTo>
                    <a:pt x="132" y="22"/>
                  </a:lnTo>
                  <a:lnTo>
                    <a:pt x="135" y="18"/>
                  </a:lnTo>
                  <a:lnTo>
                    <a:pt x="138" y="15"/>
                  </a:lnTo>
                  <a:lnTo>
                    <a:pt x="141" y="12"/>
                  </a:lnTo>
                  <a:lnTo>
                    <a:pt x="146" y="9"/>
                  </a:lnTo>
                  <a:lnTo>
                    <a:pt x="150" y="6"/>
                  </a:lnTo>
                  <a:lnTo>
                    <a:pt x="154" y="4"/>
                  </a:lnTo>
                  <a:lnTo>
                    <a:pt x="159" y="2"/>
                  </a:lnTo>
                  <a:lnTo>
                    <a:pt x="165" y="1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3" y="0"/>
                  </a:lnTo>
                  <a:lnTo>
                    <a:pt x="189" y="1"/>
                  </a:lnTo>
                  <a:lnTo>
                    <a:pt x="194" y="2"/>
                  </a:lnTo>
                  <a:lnTo>
                    <a:pt x="199" y="4"/>
                  </a:lnTo>
                  <a:lnTo>
                    <a:pt x="204" y="6"/>
                  </a:lnTo>
                  <a:lnTo>
                    <a:pt x="208" y="9"/>
                  </a:lnTo>
                  <a:lnTo>
                    <a:pt x="212" y="12"/>
                  </a:lnTo>
                  <a:lnTo>
                    <a:pt x="215" y="15"/>
                  </a:lnTo>
                  <a:lnTo>
                    <a:pt x="219" y="18"/>
                  </a:lnTo>
                  <a:lnTo>
                    <a:pt x="222" y="22"/>
                  </a:lnTo>
                  <a:lnTo>
                    <a:pt x="224" y="28"/>
                  </a:lnTo>
                  <a:lnTo>
                    <a:pt x="226" y="32"/>
                  </a:lnTo>
                  <a:lnTo>
                    <a:pt x="227" y="37"/>
                  </a:lnTo>
                  <a:lnTo>
                    <a:pt x="228" y="43"/>
                  </a:lnTo>
                  <a:lnTo>
                    <a:pt x="229" y="49"/>
                  </a:lnTo>
                  <a:lnTo>
                    <a:pt x="229" y="55"/>
                  </a:lnTo>
                  <a:lnTo>
                    <a:pt x="229" y="169"/>
                  </a:lnTo>
                  <a:lnTo>
                    <a:pt x="229" y="176"/>
                  </a:lnTo>
                  <a:lnTo>
                    <a:pt x="228" y="182"/>
                  </a:lnTo>
                  <a:lnTo>
                    <a:pt x="227" y="187"/>
                  </a:lnTo>
                  <a:lnTo>
                    <a:pt x="226" y="190"/>
                  </a:lnTo>
                  <a:lnTo>
                    <a:pt x="226" y="193"/>
                  </a:lnTo>
                  <a:lnTo>
                    <a:pt x="224" y="198"/>
                  </a:lnTo>
                  <a:lnTo>
                    <a:pt x="222" y="202"/>
                  </a:lnTo>
                  <a:lnTo>
                    <a:pt x="219" y="206"/>
                  </a:lnTo>
                  <a:lnTo>
                    <a:pt x="215" y="211"/>
                  </a:lnTo>
                  <a:lnTo>
                    <a:pt x="212" y="214"/>
                  </a:lnTo>
                  <a:lnTo>
                    <a:pt x="208" y="217"/>
                  </a:lnTo>
                  <a:lnTo>
                    <a:pt x="204" y="219"/>
                  </a:lnTo>
                  <a:lnTo>
                    <a:pt x="199" y="221"/>
                  </a:lnTo>
                  <a:lnTo>
                    <a:pt x="194" y="222"/>
                  </a:lnTo>
                  <a:lnTo>
                    <a:pt x="189" y="223"/>
                  </a:lnTo>
                  <a:lnTo>
                    <a:pt x="183" y="224"/>
                  </a:lnTo>
                  <a:lnTo>
                    <a:pt x="176" y="224"/>
                  </a:lnTo>
                  <a:lnTo>
                    <a:pt x="171" y="224"/>
                  </a:lnTo>
                  <a:lnTo>
                    <a:pt x="165" y="223"/>
                  </a:lnTo>
                  <a:lnTo>
                    <a:pt x="159" y="222"/>
                  </a:lnTo>
                  <a:lnTo>
                    <a:pt x="154" y="221"/>
                  </a:lnTo>
                  <a:lnTo>
                    <a:pt x="150" y="219"/>
                  </a:lnTo>
                  <a:lnTo>
                    <a:pt x="146" y="217"/>
                  </a:lnTo>
                  <a:lnTo>
                    <a:pt x="141" y="214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32" y="202"/>
                  </a:lnTo>
                  <a:lnTo>
                    <a:pt x="130" y="198"/>
                  </a:lnTo>
                  <a:lnTo>
                    <a:pt x="128" y="193"/>
                  </a:lnTo>
                  <a:lnTo>
                    <a:pt x="127" y="187"/>
                  </a:lnTo>
                  <a:lnTo>
                    <a:pt x="125" y="182"/>
                  </a:lnTo>
                  <a:lnTo>
                    <a:pt x="124" y="176"/>
                  </a:lnTo>
                  <a:lnTo>
                    <a:pt x="124" y="169"/>
                  </a:lnTo>
                  <a:lnTo>
                    <a:pt x="124" y="55"/>
                  </a:lnTo>
                  <a:close/>
                  <a:moveTo>
                    <a:pt x="35" y="34"/>
                  </a:moveTo>
                  <a:lnTo>
                    <a:pt x="35" y="108"/>
                  </a:lnTo>
                  <a:lnTo>
                    <a:pt x="50" y="108"/>
                  </a:lnTo>
                  <a:lnTo>
                    <a:pt x="55" y="108"/>
                  </a:lnTo>
                  <a:lnTo>
                    <a:pt x="58" y="107"/>
                  </a:lnTo>
                  <a:lnTo>
                    <a:pt x="61" y="106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66" y="97"/>
                  </a:lnTo>
                  <a:lnTo>
                    <a:pt x="67" y="93"/>
                  </a:lnTo>
                  <a:lnTo>
                    <a:pt x="67" y="88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6" y="44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1" y="36"/>
                  </a:lnTo>
                  <a:lnTo>
                    <a:pt x="58" y="35"/>
                  </a:lnTo>
                  <a:lnTo>
                    <a:pt x="55" y="34"/>
                  </a:lnTo>
                  <a:lnTo>
                    <a:pt x="50" y="34"/>
                  </a:lnTo>
                  <a:lnTo>
                    <a:pt x="35" y="34"/>
                  </a:lnTo>
                  <a:close/>
                  <a:moveTo>
                    <a:pt x="102" y="57"/>
                  </a:moveTo>
                  <a:lnTo>
                    <a:pt x="102" y="86"/>
                  </a:lnTo>
                  <a:lnTo>
                    <a:pt x="101" y="92"/>
                  </a:lnTo>
                  <a:lnTo>
                    <a:pt x="101" y="97"/>
                  </a:lnTo>
                  <a:lnTo>
                    <a:pt x="100" y="104"/>
                  </a:lnTo>
                  <a:lnTo>
                    <a:pt x="99" y="109"/>
                  </a:lnTo>
                  <a:lnTo>
                    <a:pt x="97" y="113"/>
                  </a:lnTo>
                  <a:lnTo>
                    <a:pt x="95" y="118"/>
                  </a:lnTo>
                  <a:lnTo>
                    <a:pt x="92" y="122"/>
                  </a:lnTo>
                  <a:lnTo>
                    <a:pt x="89" y="126"/>
                  </a:lnTo>
                  <a:lnTo>
                    <a:pt x="85" y="129"/>
                  </a:lnTo>
                  <a:lnTo>
                    <a:pt x="82" y="132"/>
                  </a:lnTo>
                  <a:lnTo>
                    <a:pt x="78" y="134"/>
                  </a:lnTo>
                  <a:lnTo>
                    <a:pt x="73" y="136"/>
                  </a:lnTo>
                  <a:lnTo>
                    <a:pt x="68" y="138"/>
                  </a:lnTo>
                  <a:lnTo>
                    <a:pt x="62" y="139"/>
                  </a:lnTo>
                  <a:lnTo>
                    <a:pt x="57" y="140"/>
                  </a:lnTo>
                  <a:lnTo>
                    <a:pt x="50" y="140"/>
                  </a:lnTo>
                  <a:lnTo>
                    <a:pt x="35" y="140"/>
                  </a:lnTo>
                  <a:lnTo>
                    <a:pt x="35" y="222"/>
                  </a:lnTo>
                  <a:lnTo>
                    <a:pt x="0" y="222"/>
                  </a:lnTo>
                  <a:lnTo>
                    <a:pt x="0" y="3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2" y="3"/>
                  </a:lnTo>
                  <a:lnTo>
                    <a:pt x="68" y="4"/>
                  </a:lnTo>
                  <a:lnTo>
                    <a:pt x="73" y="6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9" y="17"/>
                  </a:lnTo>
                  <a:lnTo>
                    <a:pt x="92" y="20"/>
                  </a:lnTo>
                  <a:lnTo>
                    <a:pt x="95" y="24"/>
                  </a:lnTo>
                  <a:lnTo>
                    <a:pt x="97" y="29"/>
                  </a:lnTo>
                  <a:lnTo>
                    <a:pt x="99" y="34"/>
                  </a:lnTo>
                  <a:lnTo>
                    <a:pt x="100" y="39"/>
                  </a:lnTo>
                  <a:lnTo>
                    <a:pt x="101" y="44"/>
                  </a:lnTo>
                  <a:lnTo>
                    <a:pt x="101" y="51"/>
                  </a:lnTo>
                  <a:lnTo>
                    <a:pt x="10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91522942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CB10D0D8-9795-4C21-93B3-665971F973CF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72921158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A47D8D-EDFF-4ABC-AAC5-E75656BA3405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8845582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E3EC45-762F-4C40-AF31-BEF909D6859E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628371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189C3D-ADB4-4A91-9026-81214995A4CA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8401411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1B6D7-2949-432D-ADEE-31D4E5C50E87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92473685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606A1-EAE5-4E0D-96B6-9AAB4BC8C074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4418964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92D89D8-8AA5-470E-8422-6A34CCEF1152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32"/>
            <p:cNvSpPr>
              <a:spLocks noEditPoints="1"/>
            </p:cNvSpPr>
            <p:nvPr userDrawn="1"/>
          </p:nvSpPr>
          <p:spPr bwMode="auto">
            <a:xfrm>
              <a:off x="8841484" y="6473685"/>
              <a:ext cx="2006400" cy="211200"/>
            </a:xfrm>
            <a:custGeom>
              <a:avLst/>
              <a:gdLst>
                <a:gd name="T0" fmla="*/ 2042 w 2127"/>
                <a:gd name="T1" fmla="*/ 3 h 225"/>
                <a:gd name="T2" fmla="*/ 1959 w 2127"/>
                <a:gd name="T3" fmla="*/ 97 h 225"/>
                <a:gd name="T4" fmla="*/ 1943 w 2127"/>
                <a:gd name="T5" fmla="*/ 34 h 225"/>
                <a:gd name="T6" fmla="*/ 1982 w 2127"/>
                <a:gd name="T7" fmla="*/ 126 h 225"/>
                <a:gd name="T8" fmla="*/ 1893 w 2127"/>
                <a:gd name="T9" fmla="*/ 222 h 225"/>
                <a:gd name="T10" fmla="*/ 1985 w 2127"/>
                <a:gd name="T11" fmla="*/ 20 h 225"/>
                <a:gd name="T12" fmla="*/ 1820 w 2127"/>
                <a:gd name="T13" fmla="*/ 108 h 225"/>
                <a:gd name="T14" fmla="*/ 1830 w 2127"/>
                <a:gd name="T15" fmla="*/ 41 h 225"/>
                <a:gd name="T16" fmla="*/ 1865 w 2127"/>
                <a:gd name="T17" fmla="*/ 104 h 225"/>
                <a:gd name="T18" fmla="*/ 1828 w 2127"/>
                <a:gd name="T19" fmla="*/ 139 h 225"/>
                <a:gd name="T20" fmla="*/ 1839 w 2127"/>
                <a:gd name="T21" fmla="*/ 6 h 225"/>
                <a:gd name="T22" fmla="*/ 1867 w 2127"/>
                <a:gd name="T23" fmla="*/ 51 h 225"/>
                <a:gd name="T24" fmla="*/ 1680 w 2127"/>
                <a:gd name="T25" fmla="*/ 193 h 225"/>
                <a:gd name="T26" fmla="*/ 1734 w 2127"/>
                <a:gd name="T27" fmla="*/ 3 h 225"/>
                <a:gd name="T28" fmla="*/ 1714 w 2127"/>
                <a:gd name="T29" fmla="*/ 217 h 225"/>
                <a:gd name="T30" fmla="*/ 1660 w 2127"/>
                <a:gd name="T31" fmla="*/ 221 h 225"/>
                <a:gd name="T32" fmla="*/ 1631 w 2127"/>
                <a:gd name="T33" fmla="*/ 176 h 225"/>
                <a:gd name="T34" fmla="*/ 1526 w 2127"/>
                <a:gd name="T35" fmla="*/ 182 h 225"/>
                <a:gd name="T36" fmla="*/ 1394 w 2127"/>
                <a:gd name="T37" fmla="*/ 3 h 225"/>
                <a:gd name="T38" fmla="*/ 1271 w 2127"/>
                <a:gd name="T39" fmla="*/ 127 h 225"/>
                <a:gd name="T40" fmla="*/ 1214 w 2127"/>
                <a:gd name="T41" fmla="*/ 3 h 225"/>
                <a:gd name="T42" fmla="*/ 1056 w 2127"/>
                <a:gd name="T43" fmla="*/ 2 h 225"/>
                <a:gd name="T44" fmla="*/ 1089 w 2127"/>
                <a:gd name="T45" fmla="*/ 43 h 225"/>
                <a:gd name="T46" fmla="*/ 1048 w 2127"/>
                <a:gd name="T47" fmla="*/ 33 h 225"/>
                <a:gd name="T48" fmla="*/ 1022 w 2127"/>
                <a:gd name="T49" fmla="*/ 53 h 225"/>
                <a:gd name="T50" fmla="*/ 1074 w 2127"/>
                <a:gd name="T51" fmla="*/ 124 h 225"/>
                <a:gd name="T52" fmla="*/ 1085 w 2127"/>
                <a:gd name="T53" fmla="*/ 198 h 225"/>
                <a:gd name="T54" fmla="*/ 1044 w 2127"/>
                <a:gd name="T55" fmla="*/ 224 h 225"/>
                <a:gd name="T56" fmla="*/ 995 w 2127"/>
                <a:gd name="T57" fmla="*/ 202 h 225"/>
                <a:gd name="T58" fmla="*/ 1021 w 2127"/>
                <a:gd name="T59" fmla="*/ 182 h 225"/>
                <a:gd name="T60" fmla="*/ 1051 w 2127"/>
                <a:gd name="T61" fmla="*/ 188 h 225"/>
                <a:gd name="T62" fmla="*/ 1040 w 2127"/>
                <a:gd name="T63" fmla="*/ 138 h 225"/>
                <a:gd name="T64" fmla="*/ 988 w 2127"/>
                <a:gd name="T65" fmla="*/ 49 h 225"/>
                <a:gd name="T66" fmla="*/ 1013 w 2127"/>
                <a:gd name="T67" fmla="*/ 6 h 225"/>
                <a:gd name="T68" fmla="*/ 963 w 2127"/>
                <a:gd name="T69" fmla="*/ 190 h 225"/>
                <a:gd name="T70" fmla="*/ 727 w 2127"/>
                <a:gd name="T71" fmla="*/ 3 h 225"/>
                <a:gd name="T72" fmla="*/ 630 w 2127"/>
                <a:gd name="T73" fmla="*/ 184 h 225"/>
                <a:gd name="T74" fmla="*/ 661 w 2127"/>
                <a:gd name="T75" fmla="*/ 185 h 225"/>
                <a:gd name="T76" fmla="*/ 653 w 2127"/>
                <a:gd name="T77" fmla="*/ 33 h 225"/>
                <a:gd name="T78" fmla="*/ 628 w 2127"/>
                <a:gd name="T79" fmla="*/ 171 h 225"/>
                <a:gd name="T80" fmla="*/ 610 w 2127"/>
                <a:gd name="T81" fmla="*/ 12 h 225"/>
                <a:gd name="T82" fmla="*/ 668 w 2127"/>
                <a:gd name="T83" fmla="*/ 4 h 225"/>
                <a:gd name="T84" fmla="*/ 698 w 2127"/>
                <a:gd name="T85" fmla="*/ 49 h 225"/>
                <a:gd name="T86" fmla="*/ 684 w 2127"/>
                <a:gd name="T87" fmla="*/ 211 h 225"/>
                <a:gd name="T88" fmla="*/ 628 w 2127"/>
                <a:gd name="T89" fmla="*/ 222 h 225"/>
                <a:gd name="T90" fmla="*/ 594 w 2127"/>
                <a:gd name="T91" fmla="*/ 182 h 225"/>
                <a:gd name="T92" fmla="*/ 467 w 2127"/>
                <a:gd name="T93" fmla="*/ 34 h 225"/>
                <a:gd name="T94" fmla="*/ 259 w 2127"/>
                <a:gd name="T95" fmla="*/ 3 h 225"/>
                <a:gd name="T96" fmla="*/ 161 w 2127"/>
                <a:gd name="T97" fmla="*/ 185 h 225"/>
                <a:gd name="T98" fmla="*/ 193 w 2127"/>
                <a:gd name="T99" fmla="*/ 182 h 225"/>
                <a:gd name="T100" fmla="*/ 180 w 2127"/>
                <a:gd name="T101" fmla="*/ 32 h 225"/>
                <a:gd name="T102" fmla="*/ 124 w 2127"/>
                <a:gd name="T103" fmla="*/ 55 h 225"/>
                <a:gd name="T104" fmla="*/ 146 w 2127"/>
                <a:gd name="T105" fmla="*/ 9 h 225"/>
                <a:gd name="T106" fmla="*/ 204 w 2127"/>
                <a:gd name="T107" fmla="*/ 6 h 225"/>
                <a:gd name="T108" fmla="*/ 229 w 2127"/>
                <a:gd name="T109" fmla="*/ 55 h 225"/>
                <a:gd name="T110" fmla="*/ 212 w 2127"/>
                <a:gd name="T111" fmla="*/ 214 h 225"/>
                <a:gd name="T112" fmla="*/ 154 w 2127"/>
                <a:gd name="T113" fmla="*/ 221 h 225"/>
                <a:gd name="T114" fmla="*/ 124 w 2127"/>
                <a:gd name="T115" fmla="*/ 176 h 225"/>
                <a:gd name="T116" fmla="*/ 66 w 2127"/>
                <a:gd name="T117" fmla="*/ 97 h 225"/>
                <a:gd name="T118" fmla="*/ 50 w 2127"/>
                <a:gd name="T119" fmla="*/ 34 h 225"/>
                <a:gd name="T120" fmla="*/ 89 w 2127"/>
                <a:gd name="T121" fmla="*/ 126 h 225"/>
                <a:gd name="T122" fmla="*/ 0 w 2127"/>
                <a:gd name="T123" fmla="*/ 222 h 225"/>
                <a:gd name="T124" fmla="*/ 92 w 2127"/>
                <a:gd name="T125" fmla="*/ 2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7" h="225">
                  <a:moveTo>
                    <a:pt x="2049" y="152"/>
                  </a:moveTo>
                  <a:lnTo>
                    <a:pt x="2082" y="152"/>
                  </a:lnTo>
                  <a:lnTo>
                    <a:pt x="2066" y="41"/>
                  </a:lnTo>
                  <a:lnTo>
                    <a:pt x="2049" y="152"/>
                  </a:lnTo>
                  <a:close/>
                  <a:moveTo>
                    <a:pt x="2127" y="222"/>
                  </a:moveTo>
                  <a:lnTo>
                    <a:pt x="2092" y="222"/>
                  </a:lnTo>
                  <a:lnTo>
                    <a:pt x="2087" y="182"/>
                  </a:lnTo>
                  <a:lnTo>
                    <a:pt x="2045" y="182"/>
                  </a:lnTo>
                  <a:lnTo>
                    <a:pt x="2039" y="222"/>
                  </a:lnTo>
                  <a:lnTo>
                    <a:pt x="2007" y="222"/>
                  </a:lnTo>
                  <a:lnTo>
                    <a:pt x="2042" y="3"/>
                  </a:lnTo>
                  <a:lnTo>
                    <a:pt x="2092" y="3"/>
                  </a:lnTo>
                  <a:lnTo>
                    <a:pt x="2127" y="222"/>
                  </a:lnTo>
                  <a:close/>
                  <a:moveTo>
                    <a:pt x="1927" y="34"/>
                  </a:moveTo>
                  <a:lnTo>
                    <a:pt x="1927" y="108"/>
                  </a:lnTo>
                  <a:lnTo>
                    <a:pt x="1943" y="108"/>
                  </a:lnTo>
                  <a:lnTo>
                    <a:pt x="1948" y="108"/>
                  </a:lnTo>
                  <a:lnTo>
                    <a:pt x="1951" y="107"/>
                  </a:lnTo>
                  <a:lnTo>
                    <a:pt x="1954" y="106"/>
                  </a:lnTo>
                  <a:lnTo>
                    <a:pt x="1956" y="104"/>
                  </a:lnTo>
                  <a:lnTo>
                    <a:pt x="1958" y="102"/>
                  </a:lnTo>
                  <a:lnTo>
                    <a:pt x="1959" y="97"/>
                  </a:lnTo>
                  <a:lnTo>
                    <a:pt x="1960" y="93"/>
                  </a:lnTo>
                  <a:lnTo>
                    <a:pt x="1960" y="88"/>
                  </a:lnTo>
                  <a:lnTo>
                    <a:pt x="1960" y="55"/>
                  </a:lnTo>
                  <a:lnTo>
                    <a:pt x="1960" y="50"/>
                  </a:lnTo>
                  <a:lnTo>
                    <a:pt x="1959" y="44"/>
                  </a:lnTo>
                  <a:lnTo>
                    <a:pt x="1958" y="41"/>
                  </a:lnTo>
                  <a:lnTo>
                    <a:pt x="1956" y="38"/>
                  </a:lnTo>
                  <a:lnTo>
                    <a:pt x="1954" y="36"/>
                  </a:lnTo>
                  <a:lnTo>
                    <a:pt x="1951" y="35"/>
                  </a:lnTo>
                  <a:lnTo>
                    <a:pt x="1948" y="34"/>
                  </a:lnTo>
                  <a:lnTo>
                    <a:pt x="1943" y="34"/>
                  </a:lnTo>
                  <a:lnTo>
                    <a:pt x="1927" y="34"/>
                  </a:lnTo>
                  <a:close/>
                  <a:moveTo>
                    <a:pt x="1995" y="57"/>
                  </a:moveTo>
                  <a:lnTo>
                    <a:pt x="1995" y="86"/>
                  </a:lnTo>
                  <a:lnTo>
                    <a:pt x="1994" y="92"/>
                  </a:lnTo>
                  <a:lnTo>
                    <a:pt x="1994" y="97"/>
                  </a:lnTo>
                  <a:lnTo>
                    <a:pt x="1993" y="104"/>
                  </a:lnTo>
                  <a:lnTo>
                    <a:pt x="1992" y="109"/>
                  </a:lnTo>
                  <a:lnTo>
                    <a:pt x="1990" y="113"/>
                  </a:lnTo>
                  <a:lnTo>
                    <a:pt x="1988" y="118"/>
                  </a:lnTo>
                  <a:lnTo>
                    <a:pt x="1985" y="122"/>
                  </a:lnTo>
                  <a:lnTo>
                    <a:pt x="1982" y="126"/>
                  </a:lnTo>
                  <a:lnTo>
                    <a:pt x="1978" y="129"/>
                  </a:lnTo>
                  <a:lnTo>
                    <a:pt x="1975" y="132"/>
                  </a:lnTo>
                  <a:lnTo>
                    <a:pt x="1971" y="134"/>
                  </a:lnTo>
                  <a:lnTo>
                    <a:pt x="1966" y="136"/>
                  </a:lnTo>
                  <a:lnTo>
                    <a:pt x="1961" y="138"/>
                  </a:lnTo>
                  <a:lnTo>
                    <a:pt x="1955" y="139"/>
                  </a:lnTo>
                  <a:lnTo>
                    <a:pt x="1950" y="140"/>
                  </a:lnTo>
                  <a:lnTo>
                    <a:pt x="1943" y="140"/>
                  </a:lnTo>
                  <a:lnTo>
                    <a:pt x="1927" y="140"/>
                  </a:lnTo>
                  <a:lnTo>
                    <a:pt x="1927" y="222"/>
                  </a:lnTo>
                  <a:lnTo>
                    <a:pt x="1893" y="222"/>
                  </a:lnTo>
                  <a:lnTo>
                    <a:pt x="1893" y="3"/>
                  </a:lnTo>
                  <a:lnTo>
                    <a:pt x="1943" y="3"/>
                  </a:lnTo>
                  <a:lnTo>
                    <a:pt x="1950" y="3"/>
                  </a:lnTo>
                  <a:lnTo>
                    <a:pt x="1955" y="3"/>
                  </a:lnTo>
                  <a:lnTo>
                    <a:pt x="1961" y="4"/>
                  </a:lnTo>
                  <a:lnTo>
                    <a:pt x="1966" y="6"/>
                  </a:lnTo>
                  <a:lnTo>
                    <a:pt x="1971" y="9"/>
                  </a:lnTo>
                  <a:lnTo>
                    <a:pt x="1975" y="11"/>
                  </a:lnTo>
                  <a:lnTo>
                    <a:pt x="1978" y="14"/>
                  </a:lnTo>
                  <a:lnTo>
                    <a:pt x="1982" y="17"/>
                  </a:lnTo>
                  <a:lnTo>
                    <a:pt x="1985" y="20"/>
                  </a:lnTo>
                  <a:lnTo>
                    <a:pt x="1988" y="24"/>
                  </a:lnTo>
                  <a:lnTo>
                    <a:pt x="1990" y="29"/>
                  </a:lnTo>
                  <a:lnTo>
                    <a:pt x="1992" y="34"/>
                  </a:lnTo>
                  <a:lnTo>
                    <a:pt x="1993" y="39"/>
                  </a:lnTo>
                  <a:lnTo>
                    <a:pt x="1994" y="44"/>
                  </a:lnTo>
                  <a:lnTo>
                    <a:pt x="1994" y="51"/>
                  </a:lnTo>
                  <a:lnTo>
                    <a:pt x="1995" y="57"/>
                  </a:lnTo>
                  <a:close/>
                  <a:moveTo>
                    <a:pt x="1800" y="34"/>
                  </a:moveTo>
                  <a:lnTo>
                    <a:pt x="1800" y="108"/>
                  </a:lnTo>
                  <a:lnTo>
                    <a:pt x="1815" y="108"/>
                  </a:lnTo>
                  <a:lnTo>
                    <a:pt x="1820" y="108"/>
                  </a:lnTo>
                  <a:lnTo>
                    <a:pt x="1823" y="107"/>
                  </a:lnTo>
                  <a:lnTo>
                    <a:pt x="1826" y="106"/>
                  </a:lnTo>
                  <a:lnTo>
                    <a:pt x="1828" y="104"/>
                  </a:lnTo>
                  <a:lnTo>
                    <a:pt x="1830" y="102"/>
                  </a:lnTo>
                  <a:lnTo>
                    <a:pt x="1831" y="97"/>
                  </a:lnTo>
                  <a:lnTo>
                    <a:pt x="1832" y="93"/>
                  </a:lnTo>
                  <a:lnTo>
                    <a:pt x="1833" y="88"/>
                  </a:lnTo>
                  <a:lnTo>
                    <a:pt x="1833" y="55"/>
                  </a:lnTo>
                  <a:lnTo>
                    <a:pt x="1832" y="50"/>
                  </a:lnTo>
                  <a:lnTo>
                    <a:pt x="1831" y="44"/>
                  </a:lnTo>
                  <a:lnTo>
                    <a:pt x="1830" y="41"/>
                  </a:lnTo>
                  <a:lnTo>
                    <a:pt x="1828" y="38"/>
                  </a:lnTo>
                  <a:lnTo>
                    <a:pt x="1826" y="36"/>
                  </a:lnTo>
                  <a:lnTo>
                    <a:pt x="1823" y="35"/>
                  </a:lnTo>
                  <a:lnTo>
                    <a:pt x="1820" y="34"/>
                  </a:lnTo>
                  <a:lnTo>
                    <a:pt x="1815" y="34"/>
                  </a:lnTo>
                  <a:lnTo>
                    <a:pt x="1800" y="34"/>
                  </a:lnTo>
                  <a:close/>
                  <a:moveTo>
                    <a:pt x="1867" y="57"/>
                  </a:moveTo>
                  <a:lnTo>
                    <a:pt x="1867" y="86"/>
                  </a:lnTo>
                  <a:lnTo>
                    <a:pt x="1867" y="92"/>
                  </a:lnTo>
                  <a:lnTo>
                    <a:pt x="1866" y="97"/>
                  </a:lnTo>
                  <a:lnTo>
                    <a:pt x="1865" y="104"/>
                  </a:lnTo>
                  <a:lnTo>
                    <a:pt x="1864" y="109"/>
                  </a:lnTo>
                  <a:lnTo>
                    <a:pt x="1862" y="113"/>
                  </a:lnTo>
                  <a:lnTo>
                    <a:pt x="1860" y="118"/>
                  </a:lnTo>
                  <a:lnTo>
                    <a:pt x="1858" y="122"/>
                  </a:lnTo>
                  <a:lnTo>
                    <a:pt x="1855" y="126"/>
                  </a:lnTo>
                  <a:lnTo>
                    <a:pt x="1851" y="129"/>
                  </a:lnTo>
                  <a:lnTo>
                    <a:pt x="1847" y="132"/>
                  </a:lnTo>
                  <a:lnTo>
                    <a:pt x="1843" y="134"/>
                  </a:lnTo>
                  <a:lnTo>
                    <a:pt x="1839" y="136"/>
                  </a:lnTo>
                  <a:lnTo>
                    <a:pt x="1833" y="138"/>
                  </a:lnTo>
                  <a:lnTo>
                    <a:pt x="1828" y="139"/>
                  </a:lnTo>
                  <a:lnTo>
                    <a:pt x="1822" y="140"/>
                  </a:lnTo>
                  <a:lnTo>
                    <a:pt x="1815" y="140"/>
                  </a:lnTo>
                  <a:lnTo>
                    <a:pt x="1800" y="140"/>
                  </a:lnTo>
                  <a:lnTo>
                    <a:pt x="1800" y="222"/>
                  </a:lnTo>
                  <a:lnTo>
                    <a:pt x="1766" y="222"/>
                  </a:lnTo>
                  <a:lnTo>
                    <a:pt x="1766" y="3"/>
                  </a:lnTo>
                  <a:lnTo>
                    <a:pt x="1815" y="3"/>
                  </a:lnTo>
                  <a:lnTo>
                    <a:pt x="1822" y="3"/>
                  </a:lnTo>
                  <a:lnTo>
                    <a:pt x="1828" y="3"/>
                  </a:lnTo>
                  <a:lnTo>
                    <a:pt x="1833" y="4"/>
                  </a:lnTo>
                  <a:lnTo>
                    <a:pt x="1839" y="6"/>
                  </a:lnTo>
                  <a:lnTo>
                    <a:pt x="1843" y="9"/>
                  </a:lnTo>
                  <a:lnTo>
                    <a:pt x="1847" y="11"/>
                  </a:lnTo>
                  <a:lnTo>
                    <a:pt x="1851" y="14"/>
                  </a:lnTo>
                  <a:lnTo>
                    <a:pt x="1855" y="17"/>
                  </a:lnTo>
                  <a:lnTo>
                    <a:pt x="1858" y="20"/>
                  </a:lnTo>
                  <a:lnTo>
                    <a:pt x="1860" y="24"/>
                  </a:lnTo>
                  <a:lnTo>
                    <a:pt x="1862" y="29"/>
                  </a:lnTo>
                  <a:lnTo>
                    <a:pt x="1864" y="34"/>
                  </a:lnTo>
                  <a:lnTo>
                    <a:pt x="1865" y="39"/>
                  </a:lnTo>
                  <a:lnTo>
                    <a:pt x="1866" y="44"/>
                  </a:lnTo>
                  <a:lnTo>
                    <a:pt x="1867" y="51"/>
                  </a:lnTo>
                  <a:lnTo>
                    <a:pt x="1867" y="57"/>
                  </a:lnTo>
                  <a:close/>
                  <a:moveTo>
                    <a:pt x="1665" y="3"/>
                  </a:moveTo>
                  <a:lnTo>
                    <a:pt x="1665" y="172"/>
                  </a:lnTo>
                  <a:lnTo>
                    <a:pt x="1666" y="178"/>
                  </a:lnTo>
                  <a:lnTo>
                    <a:pt x="1667" y="182"/>
                  </a:lnTo>
                  <a:lnTo>
                    <a:pt x="1667" y="184"/>
                  </a:lnTo>
                  <a:lnTo>
                    <a:pt x="1668" y="185"/>
                  </a:lnTo>
                  <a:lnTo>
                    <a:pt x="1671" y="188"/>
                  </a:lnTo>
                  <a:lnTo>
                    <a:pt x="1673" y="190"/>
                  </a:lnTo>
                  <a:lnTo>
                    <a:pt x="1676" y="193"/>
                  </a:lnTo>
                  <a:lnTo>
                    <a:pt x="1680" y="193"/>
                  </a:lnTo>
                  <a:lnTo>
                    <a:pt x="1683" y="194"/>
                  </a:lnTo>
                  <a:lnTo>
                    <a:pt x="1687" y="193"/>
                  </a:lnTo>
                  <a:lnTo>
                    <a:pt x="1691" y="193"/>
                  </a:lnTo>
                  <a:lnTo>
                    <a:pt x="1694" y="190"/>
                  </a:lnTo>
                  <a:lnTo>
                    <a:pt x="1697" y="188"/>
                  </a:lnTo>
                  <a:lnTo>
                    <a:pt x="1698" y="185"/>
                  </a:lnTo>
                  <a:lnTo>
                    <a:pt x="1700" y="182"/>
                  </a:lnTo>
                  <a:lnTo>
                    <a:pt x="1701" y="178"/>
                  </a:lnTo>
                  <a:lnTo>
                    <a:pt x="1701" y="172"/>
                  </a:lnTo>
                  <a:lnTo>
                    <a:pt x="1701" y="3"/>
                  </a:lnTo>
                  <a:lnTo>
                    <a:pt x="1734" y="3"/>
                  </a:lnTo>
                  <a:lnTo>
                    <a:pt x="1734" y="169"/>
                  </a:lnTo>
                  <a:lnTo>
                    <a:pt x="1734" y="176"/>
                  </a:lnTo>
                  <a:lnTo>
                    <a:pt x="1733" y="182"/>
                  </a:lnTo>
                  <a:lnTo>
                    <a:pt x="1732" y="188"/>
                  </a:lnTo>
                  <a:lnTo>
                    <a:pt x="1731" y="194"/>
                  </a:lnTo>
                  <a:lnTo>
                    <a:pt x="1729" y="198"/>
                  </a:lnTo>
                  <a:lnTo>
                    <a:pt x="1727" y="203"/>
                  </a:lnTo>
                  <a:lnTo>
                    <a:pt x="1723" y="206"/>
                  </a:lnTo>
                  <a:lnTo>
                    <a:pt x="1721" y="211"/>
                  </a:lnTo>
                  <a:lnTo>
                    <a:pt x="1717" y="214"/>
                  </a:lnTo>
                  <a:lnTo>
                    <a:pt x="1714" y="217"/>
                  </a:lnTo>
                  <a:lnTo>
                    <a:pt x="1712" y="218"/>
                  </a:lnTo>
                  <a:lnTo>
                    <a:pt x="1710" y="219"/>
                  </a:lnTo>
                  <a:lnTo>
                    <a:pt x="1704" y="221"/>
                  </a:lnTo>
                  <a:lnTo>
                    <a:pt x="1700" y="223"/>
                  </a:lnTo>
                  <a:lnTo>
                    <a:pt x="1695" y="224"/>
                  </a:lnTo>
                  <a:lnTo>
                    <a:pt x="1688" y="224"/>
                  </a:lnTo>
                  <a:lnTo>
                    <a:pt x="1682" y="225"/>
                  </a:lnTo>
                  <a:lnTo>
                    <a:pt x="1677" y="224"/>
                  </a:lnTo>
                  <a:lnTo>
                    <a:pt x="1671" y="224"/>
                  </a:lnTo>
                  <a:lnTo>
                    <a:pt x="1665" y="223"/>
                  </a:lnTo>
                  <a:lnTo>
                    <a:pt x="1660" y="221"/>
                  </a:lnTo>
                  <a:lnTo>
                    <a:pt x="1656" y="219"/>
                  </a:lnTo>
                  <a:lnTo>
                    <a:pt x="1651" y="217"/>
                  </a:lnTo>
                  <a:lnTo>
                    <a:pt x="1647" y="214"/>
                  </a:lnTo>
                  <a:lnTo>
                    <a:pt x="1644" y="211"/>
                  </a:lnTo>
                  <a:lnTo>
                    <a:pt x="1641" y="206"/>
                  </a:lnTo>
                  <a:lnTo>
                    <a:pt x="1639" y="203"/>
                  </a:lnTo>
                  <a:lnTo>
                    <a:pt x="1637" y="198"/>
                  </a:lnTo>
                  <a:lnTo>
                    <a:pt x="1635" y="194"/>
                  </a:lnTo>
                  <a:lnTo>
                    <a:pt x="1632" y="188"/>
                  </a:lnTo>
                  <a:lnTo>
                    <a:pt x="1632" y="182"/>
                  </a:lnTo>
                  <a:lnTo>
                    <a:pt x="1631" y="176"/>
                  </a:lnTo>
                  <a:lnTo>
                    <a:pt x="1631" y="169"/>
                  </a:lnTo>
                  <a:lnTo>
                    <a:pt x="1631" y="3"/>
                  </a:lnTo>
                  <a:lnTo>
                    <a:pt x="1665" y="3"/>
                  </a:lnTo>
                  <a:close/>
                  <a:moveTo>
                    <a:pt x="1530" y="152"/>
                  </a:moveTo>
                  <a:lnTo>
                    <a:pt x="1564" y="152"/>
                  </a:lnTo>
                  <a:lnTo>
                    <a:pt x="1547" y="41"/>
                  </a:lnTo>
                  <a:lnTo>
                    <a:pt x="1530" y="152"/>
                  </a:lnTo>
                  <a:close/>
                  <a:moveTo>
                    <a:pt x="1609" y="222"/>
                  </a:moveTo>
                  <a:lnTo>
                    <a:pt x="1574" y="222"/>
                  </a:lnTo>
                  <a:lnTo>
                    <a:pt x="1568" y="182"/>
                  </a:lnTo>
                  <a:lnTo>
                    <a:pt x="1526" y="182"/>
                  </a:lnTo>
                  <a:lnTo>
                    <a:pt x="1520" y="222"/>
                  </a:lnTo>
                  <a:lnTo>
                    <a:pt x="1489" y="222"/>
                  </a:lnTo>
                  <a:lnTo>
                    <a:pt x="1524" y="3"/>
                  </a:lnTo>
                  <a:lnTo>
                    <a:pt x="1574" y="3"/>
                  </a:lnTo>
                  <a:lnTo>
                    <a:pt x="1609" y="222"/>
                  </a:lnTo>
                  <a:close/>
                  <a:moveTo>
                    <a:pt x="1405" y="134"/>
                  </a:moveTo>
                  <a:lnTo>
                    <a:pt x="1394" y="154"/>
                  </a:lnTo>
                  <a:lnTo>
                    <a:pt x="1394" y="222"/>
                  </a:lnTo>
                  <a:lnTo>
                    <a:pt x="1360" y="222"/>
                  </a:lnTo>
                  <a:lnTo>
                    <a:pt x="1360" y="3"/>
                  </a:lnTo>
                  <a:lnTo>
                    <a:pt x="1394" y="3"/>
                  </a:lnTo>
                  <a:lnTo>
                    <a:pt x="1394" y="98"/>
                  </a:lnTo>
                  <a:lnTo>
                    <a:pt x="1440" y="3"/>
                  </a:lnTo>
                  <a:lnTo>
                    <a:pt x="1474" y="3"/>
                  </a:lnTo>
                  <a:lnTo>
                    <a:pt x="1426" y="101"/>
                  </a:lnTo>
                  <a:lnTo>
                    <a:pt x="1474" y="222"/>
                  </a:lnTo>
                  <a:lnTo>
                    <a:pt x="1439" y="222"/>
                  </a:lnTo>
                  <a:lnTo>
                    <a:pt x="1405" y="134"/>
                  </a:lnTo>
                  <a:close/>
                  <a:moveTo>
                    <a:pt x="1271" y="95"/>
                  </a:moveTo>
                  <a:lnTo>
                    <a:pt x="1318" y="95"/>
                  </a:lnTo>
                  <a:lnTo>
                    <a:pt x="1318" y="127"/>
                  </a:lnTo>
                  <a:lnTo>
                    <a:pt x="1271" y="127"/>
                  </a:lnTo>
                  <a:lnTo>
                    <a:pt x="1271" y="190"/>
                  </a:lnTo>
                  <a:lnTo>
                    <a:pt x="1331" y="190"/>
                  </a:lnTo>
                  <a:lnTo>
                    <a:pt x="1331" y="222"/>
                  </a:lnTo>
                  <a:lnTo>
                    <a:pt x="1237" y="222"/>
                  </a:lnTo>
                  <a:lnTo>
                    <a:pt x="1237" y="3"/>
                  </a:lnTo>
                  <a:lnTo>
                    <a:pt x="1331" y="3"/>
                  </a:lnTo>
                  <a:lnTo>
                    <a:pt x="1331" y="34"/>
                  </a:lnTo>
                  <a:lnTo>
                    <a:pt x="1271" y="34"/>
                  </a:lnTo>
                  <a:lnTo>
                    <a:pt x="1271" y="95"/>
                  </a:lnTo>
                  <a:close/>
                  <a:moveTo>
                    <a:pt x="1108" y="3"/>
                  </a:moveTo>
                  <a:lnTo>
                    <a:pt x="1214" y="3"/>
                  </a:lnTo>
                  <a:lnTo>
                    <a:pt x="1214" y="34"/>
                  </a:lnTo>
                  <a:lnTo>
                    <a:pt x="1178" y="34"/>
                  </a:lnTo>
                  <a:lnTo>
                    <a:pt x="1178" y="222"/>
                  </a:lnTo>
                  <a:lnTo>
                    <a:pt x="1144" y="222"/>
                  </a:lnTo>
                  <a:lnTo>
                    <a:pt x="1144" y="34"/>
                  </a:lnTo>
                  <a:lnTo>
                    <a:pt x="1108" y="34"/>
                  </a:lnTo>
                  <a:lnTo>
                    <a:pt x="1108" y="3"/>
                  </a:lnTo>
                  <a:close/>
                  <a:moveTo>
                    <a:pt x="1039" y="0"/>
                  </a:moveTo>
                  <a:lnTo>
                    <a:pt x="1044" y="0"/>
                  </a:lnTo>
                  <a:lnTo>
                    <a:pt x="1051" y="1"/>
                  </a:lnTo>
                  <a:lnTo>
                    <a:pt x="1056" y="2"/>
                  </a:lnTo>
                  <a:lnTo>
                    <a:pt x="1061" y="4"/>
                  </a:lnTo>
                  <a:lnTo>
                    <a:pt x="1066" y="6"/>
                  </a:lnTo>
                  <a:lnTo>
                    <a:pt x="1070" y="9"/>
                  </a:lnTo>
                  <a:lnTo>
                    <a:pt x="1073" y="12"/>
                  </a:lnTo>
                  <a:lnTo>
                    <a:pt x="1077" y="15"/>
                  </a:lnTo>
                  <a:lnTo>
                    <a:pt x="1079" y="18"/>
                  </a:lnTo>
                  <a:lnTo>
                    <a:pt x="1083" y="22"/>
                  </a:lnTo>
                  <a:lnTo>
                    <a:pt x="1085" y="28"/>
                  </a:lnTo>
                  <a:lnTo>
                    <a:pt x="1087" y="32"/>
                  </a:lnTo>
                  <a:lnTo>
                    <a:pt x="1088" y="37"/>
                  </a:lnTo>
                  <a:lnTo>
                    <a:pt x="1089" y="43"/>
                  </a:lnTo>
                  <a:lnTo>
                    <a:pt x="1090" y="49"/>
                  </a:lnTo>
                  <a:lnTo>
                    <a:pt x="1090" y="55"/>
                  </a:lnTo>
                  <a:lnTo>
                    <a:pt x="1090" y="62"/>
                  </a:lnTo>
                  <a:lnTo>
                    <a:pt x="1057" y="62"/>
                  </a:lnTo>
                  <a:lnTo>
                    <a:pt x="1057" y="53"/>
                  </a:lnTo>
                  <a:lnTo>
                    <a:pt x="1057" y="48"/>
                  </a:lnTo>
                  <a:lnTo>
                    <a:pt x="1056" y="43"/>
                  </a:lnTo>
                  <a:lnTo>
                    <a:pt x="1054" y="39"/>
                  </a:lnTo>
                  <a:lnTo>
                    <a:pt x="1053" y="36"/>
                  </a:lnTo>
                  <a:lnTo>
                    <a:pt x="1050" y="34"/>
                  </a:lnTo>
                  <a:lnTo>
                    <a:pt x="1048" y="33"/>
                  </a:lnTo>
                  <a:lnTo>
                    <a:pt x="1043" y="32"/>
                  </a:lnTo>
                  <a:lnTo>
                    <a:pt x="1040" y="32"/>
                  </a:lnTo>
                  <a:lnTo>
                    <a:pt x="1036" y="32"/>
                  </a:lnTo>
                  <a:lnTo>
                    <a:pt x="1033" y="33"/>
                  </a:lnTo>
                  <a:lnTo>
                    <a:pt x="1031" y="34"/>
                  </a:lnTo>
                  <a:lnTo>
                    <a:pt x="1030" y="34"/>
                  </a:lnTo>
                  <a:lnTo>
                    <a:pt x="1028" y="36"/>
                  </a:lnTo>
                  <a:lnTo>
                    <a:pt x="1025" y="39"/>
                  </a:lnTo>
                  <a:lnTo>
                    <a:pt x="1023" y="43"/>
                  </a:lnTo>
                  <a:lnTo>
                    <a:pt x="1023" y="48"/>
                  </a:lnTo>
                  <a:lnTo>
                    <a:pt x="1022" y="53"/>
                  </a:lnTo>
                  <a:lnTo>
                    <a:pt x="1022" y="57"/>
                  </a:lnTo>
                  <a:lnTo>
                    <a:pt x="1023" y="61"/>
                  </a:lnTo>
                  <a:lnTo>
                    <a:pt x="1025" y="69"/>
                  </a:lnTo>
                  <a:lnTo>
                    <a:pt x="1026" y="72"/>
                  </a:lnTo>
                  <a:lnTo>
                    <a:pt x="1029" y="75"/>
                  </a:lnTo>
                  <a:lnTo>
                    <a:pt x="1033" y="81"/>
                  </a:lnTo>
                  <a:lnTo>
                    <a:pt x="1038" y="88"/>
                  </a:lnTo>
                  <a:lnTo>
                    <a:pt x="1043" y="93"/>
                  </a:lnTo>
                  <a:lnTo>
                    <a:pt x="1056" y="105"/>
                  </a:lnTo>
                  <a:lnTo>
                    <a:pt x="1069" y="117"/>
                  </a:lnTo>
                  <a:lnTo>
                    <a:pt x="1074" y="124"/>
                  </a:lnTo>
                  <a:lnTo>
                    <a:pt x="1079" y="131"/>
                  </a:lnTo>
                  <a:lnTo>
                    <a:pt x="1084" y="140"/>
                  </a:lnTo>
                  <a:lnTo>
                    <a:pt x="1087" y="148"/>
                  </a:lnTo>
                  <a:lnTo>
                    <a:pt x="1089" y="159"/>
                  </a:lnTo>
                  <a:lnTo>
                    <a:pt x="1090" y="164"/>
                  </a:lnTo>
                  <a:lnTo>
                    <a:pt x="1090" y="169"/>
                  </a:lnTo>
                  <a:lnTo>
                    <a:pt x="1090" y="176"/>
                  </a:lnTo>
                  <a:lnTo>
                    <a:pt x="1089" y="182"/>
                  </a:lnTo>
                  <a:lnTo>
                    <a:pt x="1088" y="187"/>
                  </a:lnTo>
                  <a:lnTo>
                    <a:pt x="1087" y="193"/>
                  </a:lnTo>
                  <a:lnTo>
                    <a:pt x="1085" y="198"/>
                  </a:lnTo>
                  <a:lnTo>
                    <a:pt x="1083" y="202"/>
                  </a:lnTo>
                  <a:lnTo>
                    <a:pt x="1080" y="206"/>
                  </a:lnTo>
                  <a:lnTo>
                    <a:pt x="1077" y="211"/>
                  </a:lnTo>
                  <a:lnTo>
                    <a:pt x="1073" y="214"/>
                  </a:lnTo>
                  <a:lnTo>
                    <a:pt x="1070" y="217"/>
                  </a:lnTo>
                  <a:lnTo>
                    <a:pt x="1068" y="218"/>
                  </a:lnTo>
                  <a:lnTo>
                    <a:pt x="1066" y="219"/>
                  </a:lnTo>
                  <a:lnTo>
                    <a:pt x="1061" y="221"/>
                  </a:lnTo>
                  <a:lnTo>
                    <a:pt x="1056" y="222"/>
                  </a:lnTo>
                  <a:lnTo>
                    <a:pt x="1051" y="223"/>
                  </a:lnTo>
                  <a:lnTo>
                    <a:pt x="1044" y="224"/>
                  </a:lnTo>
                  <a:lnTo>
                    <a:pt x="1038" y="224"/>
                  </a:lnTo>
                  <a:lnTo>
                    <a:pt x="1033" y="224"/>
                  </a:lnTo>
                  <a:lnTo>
                    <a:pt x="1026" y="223"/>
                  </a:lnTo>
                  <a:lnTo>
                    <a:pt x="1021" y="222"/>
                  </a:lnTo>
                  <a:lnTo>
                    <a:pt x="1016" y="221"/>
                  </a:lnTo>
                  <a:lnTo>
                    <a:pt x="1012" y="219"/>
                  </a:lnTo>
                  <a:lnTo>
                    <a:pt x="1007" y="217"/>
                  </a:lnTo>
                  <a:lnTo>
                    <a:pt x="1003" y="214"/>
                  </a:lnTo>
                  <a:lnTo>
                    <a:pt x="1000" y="211"/>
                  </a:lnTo>
                  <a:lnTo>
                    <a:pt x="997" y="206"/>
                  </a:lnTo>
                  <a:lnTo>
                    <a:pt x="995" y="202"/>
                  </a:lnTo>
                  <a:lnTo>
                    <a:pt x="993" y="198"/>
                  </a:lnTo>
                  <a:lnTo>
                    <a:pt x="991" y="193"/>
                  </a:lnTo>
                  <a:lnTo>
                    <a:pt x="989" y="187"/>
                  </a:lnTo>
                  <a:lnTo>
                    <a:pt x="988" y="182"/>
                  </a:lnTo>
                  <a:lnTo>
                    <a:pt x="987" y="176"/>
                  </a:lnTo>
                  <a:lnTo>
                    <a:pt x="987" y="169"/>
                  </a:lnTo>
                  <a:lnTo>
                    <a:pt x="987" y="156"/>
                  </a:lnTo>
                  <a:lnTo>
                    <a:pt x="1020" y="156"/>
                  </a:lnTo>
                  <a:lnTo>
                    <a:pt x="1020" y="171"/>
                  </a:lnTo>
                  <a:lnTo>
                    <a:pt x="1020" y="177"/>
                  </a:lnTo>
                  <a:lnTo>
                    <a:pt x="1021" y="182"/>
                  </a:lnTo>
                  <a:lnTo>
                    <a:pt x="1021" y="183"/>
                  </a:lnTo>
                  <a:lnTo>
                    <a:pt x="1022" y="185"/>
                  </a:lnTo>
                  <a:lnTo>
                    <a:pt x="1024" y="188"/>
                  </a:lnTo>
                  <a:lnTo>
                    <a:pt x="1028" y="190"/>
                  </a:lnTo>
                  <a:lnTo>
                    <a:pt x="1031" y="191"/>
                  </a:lnTo>
                  <a:lnTo>
                    <a:pt x="1034" y="193"/>
                  </a:lnTo>
                  <a:lnTo>
                    <a:pt x="1038" y="193"/>
                  </a:lnTo>
                  <a:lnTo>
                    <a:pt x="1041" y="193"/>
                  </a:lnTo>
                  <a:lnTo>
                    <a:pt x="1046" y="191"/>
                  </a:lnTo>
                  <a:lnTo>
                    <a:pt x="1048" y="190"/>
                  </a:lnTo>
                  <a:lnTo>
                    <a:pt x="1051" y="188"/>
                  </a:lnTo>
                  <a:lnTo>
                    <a:pt x="1053" y="185"/>
                  </a:lnTo>
                  <a:lnTo>
                    <a:pt x="1054" y="182"/>
                  </a:lnTo>
                  <a:lnTo>
                    <a:pt x="1055" y="177"/>
                  </a:lnTo>
                  <a:lnTo>
                    <a:pt x="1055" y="171"/>
                  </a:lnTo>
                  <a:lnTo>
                    <a:pt x="1055" y="167"/>
                  </a:lnTo>
                  <a:lnTo>
                    <a:pt x="1055" y="164"/>
                  </a:lnTo>
                  <a:lnTo>
                    <a:pt x="1053" y="157"/>
                  </a:lnTo>
                  <a:lnTo>
                    <a:pt x="1051" y="152"/>
                  </a:lnTo>
                  <a:lnTo>
                    <a:pt x="1050" y="149"/>
                  </a:lnTo>
                  <a:lnTo>
                    <a:pt x="1044" y="143"/>
                  </a:lnTo>
                  <a:lnTo>
                    <a:pt x="1040" y="138"/>
                  </a:lnTo>
                  <a:lnTo>
                    <a:pt x="1034" y="131"/>
                  </a:lnTo>
                  <a:lnTo>
                    <a:pt x="1022" y="120"/>
                  </a:lnTo>
                  <a:lnTo>
                    <a:pt x="1010" y="108"/>
                  </a:lnTo>
                  <a:lnTo>
                    <a:pt x="1003" y="101"/>
                  </a:lnTo>
                  <a:lnTo>
                    <a:pt x="999" y="93"/>
                  </a:lnTo>
                  <a:lnTo>
                    <a:pt x="995" y="86"/>
                  </a:lnTo>
                  <a:lnTo>
                    <a:pt x="991" y="76"/>
                  </a:lnTo>
                  <a:lnTo>
                    <a:pt x="988" y="67"/>
                  </a:lnTo>
                  <a:lnTo>
                    <a:pt x="988" y="61"/>
                  </a:lnTo>
                  <a:lnTo>
                    <a:pt x="988" y="55"/>
                  </a:lnTo>
                  <a:lnTo>
                    <a:pt x="988" y="49"/>
                  </a:lnTo>
                  <a:lnTo>
                    <a:pt x="988" y="43"/>
                  </a:lnTo>
                  <a:lnTo>
                    <a:pt x="989" y="37"/>
                  </a:lnTo>
                  <a:lnTo>
                    <a:pt x="992" y="32"/>
                  </a:lnTo>
                  <a:lnTo>
                    <a:pt x="993" y="28"/>
                  </a:lnTo>
                  <a:lnTo>
                    <a:pt x="996" y="22"/>
                  </a:lnTo>
                  <a:lnTo>
                    <a:pt x="998" y="18"/>
                  </a:lnTo>
                  <a:lnTo>
                    <a:pt x="1001" y="15"/>
                  </a:lnTo>
                  <a:lnTo>
                    <a:pt x="1004" y="12"/>
                  </a:lnTo>
                  <a:lnTo>
                    <a:pt x="1008" y="9"/>
                  </a:lnTo>
                  <a:lnTo>
                    <a:pt x="1011" y="7"/>
                  </a:lnTo>
                  <a:lnTo>
                    <a:pt x="1013" y="6"/>
                  </a:lnTo>
                  <a:lnTo>
                    <a:pt x="1017" y="4"/>
                  </a:lnTo>
                  <a:lnTo>
                    <a:pt x="1022" y="2"/>
                  </a:lnTo>
                  <a:lnTo>
                    <a:pt x="1028" y="1"/>
                  </a:lnTo>
                  <a:lnTo>
                    <a:pt x="1033" y="0"/>
                  </a:lnTo>
                  <a:lnTo>
                    <a:pt x="1039" y="0"/>
                  </a:lnTo>
                  <a:close/>
                  <a:moveTo>
                    <a:pt x="904" y="95"/>
                  </a:moveTo>
                  <a:lnTo>
                    <a:pt x="951" y="95"/>
                  </a:lnTo>
                  <a:lnTo>
                    <a:pt x="951" y="127"/>
                  </a:lnTo>
                  <a:lnTo>
                    <a:pt x="904" y="127"/>
                  </a:lnTo>
                  <a:lnTo>
                    <a:pt x="904" y="190"/>
                  </a:lnTo>
                  <a:lnTo>
                    <a:pt x="963" y="190"/>
                  </a:lnTo>
                  <a:lnTo>
                    <a:pt x="963" y="222"/>
                  </a:lnTo>
                  <a:lnTo>
                    <a:pt x="870" y="222"/>
                  </a:lnTo>
                  <a:lnTo>
                    <a:pt x="870" y="3"/>
                  </a:lnTo>
                  <a:lnTo>
                    <a:pt x="963" y="3"/>
                  </a:lnTo>
                  <a:lnTo>
                    <a:pt x="963" y="34"/>
                  </a:lnTo>
                  <a:lnTo>
                    <a:pt x="904" y="34"/>
                  </a:lnTo>
                  <a:lnTo>
                    <a:pt x="904" y="95"/>
                  </a:lnTo>
                  <a:close/>
                  <a:moveTo>
                    <a:pt x="759" y="64"/>
                  </a:moveTo>
                  <a:lnTo>
                    <a:pt x="759" y="222"/>
                  </a:lnTo>
                  <a:lnTo>
                    <a:pt x="727" y="222"/>
                  </a:lnTo>
                  <a:lnTo>
                    <a:pt x="727" y="3"/>
                  </a:lnTo>
                  <a:lnTo>
                    <a:pt x="771" y="3"/>
                  </a:lnTo>
                  <a:lnTo>
                    <a:pt x="807" y="134"/>
                  </a:lnTo>
                  <a:lnTo>
                    <a:pt x="807" y="3"/>
                  </a:lnTo>
                  <a:lnTo>
                    <a:pt x="837" y="3"/>
                  </a:lnTo>
                  <a:lnTo>
                    <a:pt x="837" y="222"/>
                  </a:lnTo>
                  <a:lnTo>
                    <a:pt x="801" y="222"/>
                  </a:lnTo>
                  <a:lnTo>
                    <a:pt x="759" y="64"/>
                  </a:lnTo>
                  <a:close/>
                  <a:moveTo>
                    <a:pt x="628" y="171"/>
                  </a:moveTo>
                  <a:lnTo>
                    <a:pt x="628" y="177"/>
                  </a:lnTo>
                  <a:lnTo>
                    <a:pt x="629" y="182"/>
                  </a:lnTo>
                  <a:lnTo>
                    <a:pt x="630" y="184"/>
                  </a:lnTo>
                  <a:lnTo>
                    <a:pt x="630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8" y="193"/>
                  </a:lnTo>
                  <a:lnTo>
                    <a:pt x="642" y="193"/>
                  </a:lnTo>
                  <a:lnTo>
                    <a:pt x="646" y="194"/>
                  </a:lnTo>
                  <a:lnTo>
                    <a:pt x="649" y="193"/>
                  </a:lnTo>
                  <a:lnTo>
                    <a:pt x="653" y="193"/>
                  </a:lnTo>
                  <a:lnTo>
                    <a:pt x="656" y="190"/>
                  </a:lnTo>
                  <a:lnTo>
                    <a:pt x="658" y="188"/>
                  </a:lnTo>
                  <a:lnTo>
                    <a:pt x="661" y="185"/>
                  </a:lnTo>
                  <a:lnTo>
                    <a:pt x="662" y="182"/>
                  </a:lnTo>
                  <a:lnTo>
                    <a:pt x="663" y="177"/>
                  </a:lnTo>
                  <a:lnTo>
                    <a:pt x="664" y="171"/>
                  </a:lnTo>
                  <a:lnTo>
                    <a:pt x="664" y="53"/>
                  </a:lnTo>
                  <a:lnTo>
                    <a:pt x="663" y="48"/>
                  </a:lnTo>
                  <a:lnTo>
                    <a:pt x="662" y="43"/>
                  </a:lnTo>
                  <a:lnTo>
                    <a:pt x="662" y="41"/>
                  </a:lnTo>
                  <a:lnTo>
                    <a:pt x="661" y="39"/>
                  </a:lnTo>
                  <a:lnTo>
                    <a:pt x="658" y="36"/>
                  </a:lnTo>
                  <a:lnTo>
                    <a:pt x="656" y="34"/>
                  </a:lnTo>
                  <a:lnTo>
                    <a:pt x="653" y="33"/>
                  </a:lnTo>
                  <a:lnTo>
                    <a:pt x="649" y="32"/>
                  </a:lnTo>
                  <a:lnTo>
                    <a:pt x="646" y="32"/>
                  </a:lnTo>
                  <a:lnTo>
                    <a:pt x="642" y="32"/>
                  </a:lnTo>
                  <a:lnTo>
                    <a:pt x="638" y="33"/>
                  </a:lnTo>
                  <a:lnTo>
                    <a:pt x="635" y="34"/>
                  </a:lnTo>
                  <a:lnTo>
                    <a:pt x="632" y="36"/>
                  </a:lnTo>
                  <a:lnTo>
                    <a:pt x="630" y="39"/>
                  </a:lnTo>
                  <a:lnTo>
                    <a:pt x="629" y="43"/>
                  </a:lnTo>
                  <a:lnTo>
                    <a:pt x="628" y="48"/>
                  </a:lnTo>
                  <a:lnTo>
                    <a:pt x="628" y="53"/>
                  </a:lnTo>
                  <a:lnTo>
                    <a:pt x="628" y="171"/>
                  </a:lnTo>
                  <a:close/>
                  <a:moveTo>
                    <a:pt x="593" y="55"/>
                  </a:moveTo>
                  <a:lnTo>
                    <a:pt x="593" y="49"/>
                  </a:lnTo>
                  <a:lnTo>
                    <a:pt x="594" y="43"/>
                  </a:lnTo>
                  <a:lnTo>
                    <a:pt x="595" y="37"/>
                  </a:lnTo>
                  <a:lnTo>
                    <a:pt x="596" y="35"/>
                  </a:lnTo>
                  <a:lnTo>
                    <a:pt x="597" y="32"/>
                  </a:lnTo>
                  <a:lnTo>
                    <a:pt x="598" y="28"/>
                  </a:lnTo>
                  <a:lnTo>
                    <a:pt x="601" y="22"/>
                  </a:lnTo>
                  <a:lnTo>
                    <a:pt x="603" y="18"/>
                  </a:lnTo>
                  <a:lnTo>
                    <a:pt x="607" y="15"/>
                  </a:lnTo>
                  <a:lnTo>
                    <a:pt x="610" y="12"/>
                  </a:lnTo>
                  <a:lnTo>
                    <a:pt x="614" y="9"/>
                  </a:lnTo>
                  <a:lnTo>
                    <a:pt x="618" y="6"/>
                  </a:lnTo>
                  <a:lnTo>
                    <a:pt x="624" y="4"/>
                  </a:lnTo>
                  <a:lnTo>
                    <a:pt x="628" y="2"/>
                  </a:lnTo>
                  <a:lnTo>
                    <a:pt x="633" y="1"/>
                  </a:lnTo>
                  <a:lnTo>
                    <a:pt x="639" y="0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7" y="1"/>
                  </a:lnTo>
                  <a:lnTo>
                    <a:pt x="663" y="2"/>
                  </a:lnTo>
                  <a:lnTo>
                    <a:pt x="668" y="4"/>
                  </a:lnTo>
                  <a:lnTo>
                    <a:pt x="672" y="6"/>
                  </a:lnTo>
                  <a:lnTo>
                    <a:pt x="676" y="9"/>
                  </a:lnTo>
                  <a:lnTo>
                    <a:pt x="681" y="12"/>
                  </a:lnTo>
                  <a:lnTo>
                    <a:pt x="684" y="15"/>
                  </a:lnTo>
                  <a:lnTo>
                    <a:pt x="687" y="18"/>
                  </a:lnTo>
                  <a:lnTo>
                    <a:pt x="690" y="22"/>
                  </a:lnTo>
                  <a:lnTo>
                    <a:pt x="692" y="28"/>
                  </a:lnTo>
                  <a:lnTo>
                    <a:pt x="694" y="32"/>
                  </a:lnTo>
                  <a:lnTo>
                    <a:pt x="695" y="37"/>
                  </a:lnTo>
                  <a:lnTo>
                    <a:pt x="697" y="43"/>
                  </a:lnTo>
                  <a:lnTo>
                    <a:pt x="698" y="49"/>
                  </a:lnTo>
                  <a:lnTo>
                    <a:pt x="698" y="55"/>
                  </a:lnTo>
                  <a:lnTo>
                    <a:pt x="698" y="169"/>
                  </a:lnTo>
                  <a:lnTo>
                    <a:pt x="698" y="176"/>
                  </a:lnTo>
                  <a:lnTo>
                    <a:pt x="697" y="182"/>
                  </a:lnTo>
                  <a:lnTo>
                    <a:pt x="695" y="187"/>
                  </a:lnTo>
                  <a:lnTo>
                    <a:pt x="695" y="190"/>
                  </a:lnTo>
                  <a:lnTo>
                    <a:pt x="694" y="193"/>
                  </a:lnTo>
                  <a:lnTo>
                    <a:pt x="692" y="198"/>
                  </a:lnTo>
                  <a:lnTo>
                    <a:pt x="690" y="202"/>
                  </a:lnTo>
                  <a:lnTo>
                    <a:pt x="687" y="206"/>
                  </a:lnTo>
                  <a:lnTo>
                    <a:pt x="684" y="211"/>
                  </a:lnTo>
                  <a:lnTo>
                    <a:pt x="681" y="214"/>
                  </a:lnTo>
                  <a:lnTo>
                    <a:pt x="676" y="217"/>
                  </a:lnTo>
                  <a:lnTo>
                    <a:pt x="672" y="219"/>
                  </a:lnTo>
                  <a:lnTo>
                    <a:pt x="668" y="221"/>
                  </a:lnTo>
                  <a:lnTo>
                    <a:pt x="663" y="222"/>
                  </a:lnTo>
                  <a:lnTo>
                    <a:pt x="657" y="223"/>
                  </a:lnTo>
                  <a:lnTo>
                    <a:pt x="652" y="224"/>
                  </a:lnTo>
                  <a:lnTo>
                    <a:pt x="646" y="224"/>
                  </a:lnTo>
                  <a:lnTo>
                    <a:pt x="639" y="224"/>
                  </a:lnTo>
                  <a:lnTo>
                    <a:pt x="633" y="223"/>
                  </a:lnTo>
                  <a:lnTo>
                    <a:pt x="628" y="222"/>
                  </a:lnTo>
                  <a:lnTo>
                    <a:pt x="624" y="221"/>
                  </a:lnTo>
                  <a:lnTo>
                    <a:pt x="618" y="219"/>
                  </a:lnTo>
                  <a:lnTo>
                    <a:pt x="614" y="217"/>
                  </a:lnTo>
                  <a:lnTo>
                    <a:pt x="610" y="214"/>
                  </a:lnTo>
                  <a:lnTo>
                    <a:pt x="607" y="211"/>
                  </a:lnTo>
                  <a:lnTo>
                    <a:pt x="603" y="206"/>
                  </a:lnTo>
                  <a:lnTo>
                    <a:pt x="601" y="202"/>
                  </a:lnTo>
                  <a:lnTo>
                    <a:pt x="598" y="198"/>
                  </a:lnTo>
                  <a:lnTo>
                    <a:pt x="597" y="193"/>
                  </a:lnTo>
                  <a:lnTo>
                    <a:pt x="595" y="187"/>
                  </a:lnTo>
                  <a:lnTo>
                    <a:pt x="594" y="182"/>
                  </a:lnTo>
                  <a:lnTo>
                    <a:pt x="593" y="176"/>
                  </a:lnTo>
                  <a:lnTo>
                    <a:pt x="593" y="169"/>
                  </a:lnTo>
                  <a:lnTo>
                    <a:pt x="593" y="55"/>
                  </a:lnTo>
                  <a:close/>
                  <a:moveTo>
                    <a:pt x="467" y="3"/>
                  </a:moveTo>
                  <a:lnTo>
                    <a:pt x="573" y="3"/>
                  </a:lnTo>
                  <a:lnTo>
                    <a:pt x="573" y="34"/>
                  </a:lnTo>
                  <a:lnTo>
                    <a:pt x="537" y="34"/>
                  </a:lnTo>
                  <a:lnTo>
                    <a:pt x="537" y="222"/>
                  </a:lnTo>
                  <a:lnTo>
                    <a:pt x="503" y="222"/>
                  </a:lnTo>
                  <a:lnTo>
                    <a:pt x="503" y="34"/>
                  </a:lnTo>
                  <a:lnTo>
                    <a:pt x="467" y="34"/>
                  </a:lnTo>
                  <a:lnTo>
                    <a:pt x="467" y="3"/>
                  </a:lnTo>
                  <a:close/>
                  <a:moveTo>
                    <a:pt x="348" y="3"/>
                  </a:moveTo>
                  <a:lnTo>
                    <a:pt x="454" y="3"/>
                  </a:lnTo>
                  <a:lnTo>
                    <a:pt x="454" y="34"/>
                  </a:lnTo>
                  <a:lnTo>
                    <a:pt x="417" y="34"/>
                  </a:lnTo>
                  <a:lnTo>
                    <a:pt x="417" y="222"/>
                  </a:lnTo>
                  <a:lnTo>
                    <a:pt x="383" y="222"/>
                  </a:lnTo>
                  <a:lnTo>
                    <a:pt x="383" y="34"/>
                  </a:lnTo>
                  <a:lnTo>
                    <a:pt x="348" y="34"/>
                  </a:lnTo>
                  <a:lnTo>
                    <a:pt x="348" y="3"/>
                  </a:lnTo>
                  <a:close/>
                  <a:moveTo>
                    <a:pt x="259" y="3"/>
                  </a:moveTo>
                  <a:lnTo>
                    <a:pt x="294" y="3"/>
                  </a:lnTo>
                  <a:lnTo>
                    <a:pt x="294" y="190"/>
                  </a:lnTo>
                  <a:lnTo>
                    <a:pt x="350" y="190"/>
                  </a:lnTo>
                  <a:lnTo>
                    <a:pt x="350" y="222"/>
                  </a:lnTo>
                  <a:lnTo>
                    <a:pt x="259" y="222"/>
                  </a:lnTo>
                  <a:lnTo>
                    <a:pt x="259" y="3"/>
                  </a:lnTo>
                  <a:close/>
                  <a:moveTo>
                    <a:pt x="159" y="171"/>
                  </a:moveTo>
                  <a:lnTo>
                    <a:pt x="159" y="177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1" y="185"/>
                  </a:lnTo>
                  <a:lnTo>
                    <a:pt x="164" y="188"/>
                  </a:lnTo>
                  <a:lnTo>
                    <a:pt x="167" y="190"/>
                  </a:lnTo>
                  <a:lnTo>
                    <a:pt x="169" y="193"/>
                  </a:lnTo>
                  <a:lnTo>
                    <a:pt x="173" y="193"/>
                  </a:lnTo>
                  <a:lnTo>
                    <a:pt x="176" y="194"/>
                  </a:lnTo>
                  <a:lnTo>
                    <a:pt x="180" y="193"/>
                  </a:lnTo>
                  <a:lnTo>
                    <a:pt x="184" y="193"/>
                  </a:lnTo>
                  <a:lnTo>
                    <a:pt x="187" y="190"/>
                  </a:lnTo>
                  <a:lnTo>
                    <a:pt x="190" y="188"/>
                  </a:lnTo>
                  <a:lnTo>
                    <a:pt x="192" y="185"/>
                  </a:lnTo>
                  <a:lnTo>
                    <a:pt x="193" y="182"/>
                  </a:lnTo>
                  <a:lnTo>
                    <a:pt x="194" y="177"/>
                  </a:lnTo>
                  <a:lnTo>
                    <a:pt x="194" y="171"/>
                  </a:lnTo>
                  <a:lnTo>
                    <a:pt x="194" y="53"/>
                  </a:lnTo>
                  <a:lnTo>
                    <a:pt x="194" y="48"/>
                  </a:lnTo>
                  <a:lnTo>
                    <a:pt x="193" y="43"/>
                  </a:lnTo>
                  <a:lnTo>
                    <a:pt x="192" y="41"/>
                  </a:lnTo>
                  <a:lnTo>
                    <a:pt x="192" y="39"/>
                  </a:lnTo>
                  <a:lnTo>
                    <a:pt x="190" y="36"/>
                  </a:lnTo>
                  <a:lnTo>
                    <a:pt x="187" y="34"/>
                  </a:lnTo>
                  <a:lnTo>
                    <a:pt x="184" y="33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3" y="32"/>
                  </a:lnTo>
                  <a:lnTo>
                    <a:pt x="169" y="33"/>
                  </a:lnTo>
                  <a:lnTo>
                    <a:pt x="167" y="34"/>
                  </a:lnTo>
                  <a:lnTo>
                    <a:pt x="164" y="36"/>
                  </a:lnTo>
                  <a:lnTo>
                    <a:pt x="161" y="39"/>
                  </a:lnTo>
                  <a:lnTo>
                    <a:pt x="160" y="43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9" y="171"/>
                  </a:lnTo>
                  <a:close/>
                  <a:moveTo>
                    <a:pt x="124" y="55"/>
                  </a:moveTo>
                  <a:lnTo>
                    <a:pt x="124" y="49"/>
                  </a:lnTo>
                  <a:lnTo>
                    <a:pt x="125" y="43"/>
                  </a:lnTo>
                  <a:lnTo>
                    <a:pt x="127" y="37"/>
                  </a:lnTo>
                  <a:lnTo>
                    <a:pt x="127" y="35"/>
                  </a:lnTo>
                  <a:lnTo>
                    <a:pt x="128" y="32"/>
                  </a:lnTo>
                  <a:lnTo>
                    <a:pt x="130" y="28"/>
                  </a:lnTo>
                  <a:lnTo>
                    <a:pt x="132" y="22"/>
                  </a:lnTo>
                  <a:lnTo>
                    <a:pt x="135" y="18"/>
                  </a:lnTo>
                  <a:lnTo>
                    <a:pt x="138" y="15"/>
                  </a:lnTo>
                  <a:lnTo>
                    <a:pt x="141" y="12"/>
                  </a:lnTo>
                  <a:lnTo>
                    <a:pt x="146" y="9"/>
                  </a:lnTo>
                  <a:lnTo>
                    <a:pt x="150" y="6"/>
                  </a:lnTo>
                  <a:lnTo>
                    <a:pt x="154" y="4"/>
                  </a:lnTo>
                  <a:lnTo>
                    <a:pt x="159" y="2"/>
                  </a:lnTo>
                  <a:lnTo>
                    <a:pt x="165" y="1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3" y="0"/>
                  </a:lnTo>
                  <a:lnTo>
                    <a:pt x="189" y="1"/>
                  </a:lnTo>
                  <a:lnTo>
                    <a:pt x="194" y="2"/>
                  </a:lnTo>
                  <a:lnTo>
                    <a:pt x="199" y="4"/>
                  </a:lnTo>
                  <a:lnTo>
                    <a:pt x="204" y="6"/>
                  </a:lnTo>
                  <a:lnTo>
                    <a:pt x="208" y="9"/>
                  </a:lnTo>
                  <a:lnTo>
                    <a:pt x="212" y="12"/>
                  </a:lnTo>
                  <a:lnTo>
                    <a:pt x="215" y="15"/>
                  </a:lnTo>
                  <a:lnTo>
                    <a:pt x="219" y="18"/>
                  </a:lnTo>
                  <a:lnTo>
                    <a:pt x="222" y="22"/>
                  </a:lnTo>
                  <a:lnTo>
                    <a:pt x="224" y="28"/>
                  </a:lnTo>
                  <a:lnTo>
                    <a:pt x="226" y="32"/>
                  </a:lnTo>
                  <a:lnTo>
                    <a:pt x="227" y="37"/>
                  </a:lnTo>
                  <a:lnTo>
                    <a:pt x="228" y="43"/>
                  </a:lnTo>
                  <a:lnTo>
                    <a:pt x="229" y="49"/>
                  </a:lnTo>
                  <a:lnTo>
                    <a:pt x="229" y="55"/>
                  </a:lnTo>
                  <a:lnTo>
                    <a:pt x="229" y="169"/>
                  </a:lnTo>
                  <a:lnTo>
                    <a:pt x="229" y="176"/>
                  </a:lnTo>
                  <a:lnTo>
                    <a:pt x="228" y="182"/>
                  </a:lnTo>
                  <a:lnTo>
                    <a:pt x="227" y="187"/>
                  </a:lnTo>
                  <a:lnTo>
                    <a:pt x="226" y="190"/>
                  </a:lnTo>
                  <a:lnTo>
                    <a:pt x="226" y="193"/>
                  </a:lnTo>
                  <a:lnTo>
                    <a:pt x="224" y="198"/>
                  </a:lnTo>
                  <a:lnTo>
                    <a:pt x="222" y="202"/>
                  </a:lnTo>
                  <a:lnTo>
                    <a:pt x="219" y="206"/>
                  </a:lnTo>
                  <a:lnTo>
                    <a:pt x="215" y="211"/>
                  </a:lnTo>
                  <a:lnTo>
                    <a:pt x="212" y="214"/>
                  </a:lnTo>
                  <a:lnTo>
                    <a:pt x="208" y="217"/>
                  </a:lnTo>
                  <a:lnTo>
                    <a:pt x="204" y="219"/>
                  </a:lnTo>
                  <a:lnTo>
                    <a:pt x="199" y="221"/>
                  </a:lnTo>
                  <a:lnTo>
                    <a:pt x="194" y="222"/>
                  </a:lnTo>
                  <a:lnTo>
                    <a:pt x="189" y="223"/>
                  </a:lnTo>
                  <a:lnTo>
                    <a:pt x="183" y="224"/>
                  </a:lnTo>
                  <a:lnTo>
                    <a:pt x="176" y="224"/>
                  </a:lnTo>
                  <a:lnTo>
                    <a:pt x="171" y="224"/>
                  </a:lnTo>
                  <a:lnTo>
                    <a:pt x="165" y="223"/>
                  </a:lnTo>
                  <a:lnTo>
                    <a:pt x="159" y="222"/>
                  </a:lnTo>
                  <a:lnTo>
                    <a:pt x="154" y="221"/>
                  </a:lnTo>
                  <a:lnTo>
                    <a:pt x="150" y="219"/>
                  </a:lnTo>
                  <a:lnTo>
                    <a:pt x="146" y="217"/>
                  </a:lnTo>
                  <a:lnTo>
                    <a:pt x="141" y="214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32" y="202"/>
                  </a:lnTo>
                  <a:lnTo>
                    <a:pt x="130" y="198"/>
                  </a:lnTo>
                  <a:lnTo>
                    <a:pt x="128" y="193"/>
                  </a:lnTo>
                  <a:lnTo>
                    <a:pt x="127" y="187"/>
                  </a:lnTo>
                  <a:lnTo>
                    <a:pt x="125" y="182"/>
                  </a:lnTo>
                  <a:lnTo>
                    <a:pt x="124" y="176"/>
                  </a:lnTo>
                  <a:lnTo>
                    <a:pt x="124" y="169"/>
                  </a:lnTo>
                  <a:lnTo>
                    <a:pt x="124" y="55"/>
                  </a:lnTo>
                  <a:close/>
                  <a:moveTo>
                    <a:pt x="35" y="34"/>
                  </a:moveTo>
                  <a:lnTo>
                    <a:pt x="35" y="108"/>
                  </a:lnTo>
                  <a:lnTo>
                    <a:pt x="50" y="108"/>
                  </a:lnTo>
                  <a:lnTo>
                    <a:pt x="55" y="108"/>
                  </a:lnTo>
                  <a:lnTo>
                    <a:pt x="58" y="107"/>
                  </a:lnTo>
                  <a:lnTo>
                    <a:pt x="61" y="106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66" y="97"/>
                  </a:lnTo>
                  <a:lnTo>
                    <a:pt x="67" y="93"/>
                  </a:lnTo>
                  <a:lnTo>
                    <a:pt x="67" y="88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6" y="44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1" y="36"/>
                  </a:lnTo>
                  <a:lnTo>
                    <a:pt x="58" y="35"/>
                  </a:lnTo>
                  <a:lnTo>
                    <a:pt x="55" y="34"/>
                  </a:lnTo>
                  <a:lnTo>
                    <a:pt x="50" y="34"/>
                  </a:lnTo>
                  <a:lnTo>
                    <a:pt x="35" y="34"/>
                  </a:lnTo>
                  <a:close/>
                  <a:moveTo>
                    <a:pt x="102" y="57"/>
                  </a:moveTo>
                  <a:lnTo>
                    <a:pt x="102" y="86"/>
                  </a:lnTo>
                  <a:lnTo>
                    <a:pt x="101" y="92"/>
                  </a:lnTo>
                  <a:lnTo>
                    <a:pt x="101" y="97"/>
                  </a:lnTo>
                  <a:lnTo>
                    <a:pt x="100" y="104"/>
                  </a:lnTo>
                  <a:lnTo>
                    <a:pt x="99" y="109"/>
                  </a:lnTo>
                  <a:lnTo>
                    <a:pt x="97" y="113"/>
                  </a:lnTo>
                  <a:lnTo>
                    <a:pt x="95" y="118"/>
                  </a:lnTo>
                  <a:lnTo>
                    <a:pt x="92" y="122"/>
                  </a:lnTo>
                  <a:lnTo>
                    <a:pt x="89" y="126"/>
                  </a:lnTo>
                  <a:lnTo>
                    <a:pt x="85" y="129"/>
                  </a:lnTo>
                  <a:lnTo>
                    <a:pt x="82" y="132"/>
                  </a:lnTo>
                  <a:lnTo>
                    <a:pt x="78" y="134"/>
                  </a:lnTo>
                  <a:lnTo>
                    <a:pt x="73" y="136"/>
                  </a:lnTo>
                  <a:lnTo>
                    <a:pt x="68" y="138"/>
                  </a:lnTo>
                  <a:lnTo>
                    <a:pt x="62" y="139"/>
                  </a:lnTo>
                  <a:lnTo>
                    <a:pt x="57" y="140"/>
                  </a:lnTo>
                  <a:lnTo>
                    <a:pt x="50" y="140"/>
                  </a:lnTo>
                  <a:lnTo>
                    <a:pt x="35" y="140"/>
                  </a:lnTo>
                  <a:lnTo>
                    <a:pt x="35" y="222"/>
                  </a:lnTo>
                  <a:lnTo>
                    <a:pt x="0" y="222"/>
                  </a:lnTo>
                  <a:lnTo>
                    <a:pt x="0" y="3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2" y="3"/>
                  </a:lnTo>
                  <a:lnTo>
                    <a:pt x="68" y="4"/>
                  </a:lnTo>
                  <a:lnTo>
                    <a:pt x="73" y="6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9" y="17"/>
                  </a:lnTo>
                  <a:lnTo>
                    <a:pt x="92" y="20"/>
                  </a:lnTo>
                  <a:lnTo>
                    <a:pt x="95" y="24"/>
                  </a:lnTo>
                  <a:lnTo>
                    <a:pt x="97" y="29"/>
                  </a:lnTo>
                  <a:lnTo>
                    <a:pt x="99" y="34"/>
                  </a:lnTo>
                  <a:lnTo>
                    <a:pt x="100" y="39"/>
                  </a:lnTo>
                  <a:lnTo>
                    <a:pt x="101" y="44"/>
                  </a:lnTo>
                  <a:lnTo>
                    <a:pt x="101" y="51"/>
                  </a:lnTo>
                  <a:lnTo>
                    <a:pt x="10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7181846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C1F130-02F4-4D35-AB9C-5EB983B02BD9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7069489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35F327-FEBC-4C23-A5A1-400306E8D416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32"/>
            <p:cNvSpPr>
              <a:spLocks noEditPoints="1"/>
            </p:cNvSpPr>
            <p:nvPr userDrawn="1"/>
          </p:nvSpPr>
          <p:spPr bwMode="auto">
            <a:xfrm>
              <a:off x="8841484" y="6473685"/>
              <a:ext cx="2006400" cy="211200"/>
            </a:xfrm>
            <a:custGeom>
              <a:avLst/>
              <a:gdLst>
                <a:gd name="T0" fmla="*/ 2042 w 2127"/>
                <a:gd name="T1" fmla="*/ 3 h 225"/>
                <a:gd name="T2" fmla="*/ 1959 w 2127"/>
                <a:gd name="T3" fmla="*/ 97 h 225"/>
                <a:gd name="T4" fmla="*/ 1943 w 2127"/>
                <a:gd name="T5" fmla="*/ 34 h 225"/>
                <a:gd name="T6" fmla="*/ 1982 w 2127"/>
                <a:gd name="T7" fmla="*/ 126 h 225"/>
                <a:gd name="T8" fmla="*/ 1893 w 2127"/>
                <a:gd name="T9" fmla="*/ 222 h 225"/>
                <a:gd name="T10" fmla="*/ 1985 w 2127"/>
                <a:gd name="T11" fmla="*/ 20 h 225"/>
                <a:gd name="T12" fmla="*/ 1820 w 2127"/>
                <a:gd name="T13" fmla="*/ 108 h 225"/>
                <a:gd name="T14" fmla="*/ 1830 w 2127"/>
                <a:gd name="T15" fmla="*/ 41 h 225"/>
                <a:gd name="T16" fmla="*/ 1865 w 2127"/>
                <a:gd name="T17" fmla="*/ 104 h 225"/>
                <a:gd name="T18" fmla="*/ 1828 w 2127"/>
                <a:gd name="T19" fmla="*/ 139 h 225"/>
                <a:gd name="T20" fmla="*/ 1839 w 2127"/>
                <a:gd name="T21" fmla="*/ 6 h 225"/>
                <a:gd name="T22" fmla="*/ 1867 w 2127"/>
                <a:gd name="T23" fmla="*/ 51 h 225"/>
                <a:gd name="T24" fmla="*/ 1680 w 2127"/>
                <a:gd name="T25" fmla="*/ 193 h 225"/>
                <a:gd name="T26" fmla="*/ 1734 w 2127"/>
                <a:gd name="T27" fmla="*/ 3 h 225"/>
                <a:gd name="T28" fmla="*/ 1714 w 2127"/>
                <a:gd name="T29" fmla="*/ 217 h 225"/>
                <a:gd name="T30" fmla="*/ 1660 w 2127"/>
                <a:gd name="T31" fmla="*/ 221 h 225"/>
                <a:gd name="T32" fmla="*/ 1631 w 2127"/>
                <a:gd name="T33" fmla="*/ 176 h 225"/>
                <a:gd name="T34" fmla="*/ 1526 w 2127"/>
                <a:gd name="T35" fmla="*/ 182 h 225"/>
                <a:gd name="T36" fmla="*/ 1394 w 2127"/>
                <a:gd name="T37" fmla="*/ 3 h 225"/>
                <a:gd name="T38" fmla="*/ 1271 w 2127"/>
                <a:gd name="T39" fmla="*/ 127 h 225"/>
                <a:gd name="T40" fmla="*/ 1214 w 2127"/>
                <a:gd name="T41" fmla="*/ 3 h 225"/>
                <a:gd name="T42" fmla="*/ 1056 w 2127"/>
                <a:gd name="T43" fmla="*/ 2 h 225"/>
                <a:gd name="T44" fmla="*/ 1089 w 2127"/>
                <a:gd name="T45" fmla="*/ 43 h 225"/>
                <a:gd name="T46" fmla="*/ 1048 w 2127"/>
                <a:gd name="T47" fmla="*/ 33 h 225"/>
                <a:gd name="T48" fmla="*/ 1022 w 2127"/>
                <a:gd name="T49" fmla="*/ 53 h 225"/>
                <a:gd name="T50" fmla="*/ 1074 w 2127"/>
                <a:gd name="T51" fmla="*/ 124 h 225"/>
                <a:gd name="T52" fmla="*/ 1085 w 2127"/>
                <a:gd name="T53" fmla="*/ 198 h 225"/>
                <a:gd name="T54" fmla="*/ 1044 w 2127"/>
                <a:gd name="T55" fmla="*/ 224 h 225"/>
                <a:gd name="T56" fmla="*/ 995 w 2127"/>
                <a:gd name="T57" fmla="*/ 202 h 225"/>
                <a:gd name="T58" fmla="*/ 1021 w 2127"/>
                <a:gd name="T59" fmla="*/ 182 h 225"/>
                <a:gd name="T60" fmla="*/ 1051 w 2127"/>
                <a:gd name="T61" fmla="*/ 188 h 225"/>
                <a:gd name="T62" fmla="*/ 1040 w 2127"/>
                <a:gd name="T63" fmla="*/ 138 h 225"/>
                <a:gd name="T64" fmla="*/ 988 w 2127"/>
                <a:gd name="T65" fmla="*/ 49 h 225"/>
                <a:gd name="T66" fmla="*/ 1013 w 2127"/>
                <a:gd name="T67" fmla="*/ 6 h 225"/>
                <a:gd name="T68" fmla="*/ 963 w 2127"/>
                <a:gd name="T69" fmla="*/ 190 h 225"/>
                <a:gd name="T70" fmla="*/ 727 w 2127"/>
                <a:gd name="T71" fmla="*/ 3 h 225"/>
                <a:gd name="T72" fmla="*/ 630 w 2127"/>
                <a:gd name="T73" fmla="*/ 184 h 225"/>
                <a:gd name="T74" fmla="*/ 661 w 2127"/>
                <a:gd name="T75" fmla="*/ 185 h 225"/>
                <a:gd name="T76" fmla="*/ 653 w 2127"/>
                <a:gd name="T77" fmla="*/ 33 h 225"/>
                <a:gd name="T78" fmla="*/ 628 w 2127"/>
                <a:gd name="T79" fmla="*/ 171 h 225"/>
                <a:gd name="T80" fmla="*/ 610 w 2127"/>
                <a:gd name="T81" fmla="*/ 12 h 225"/>
                <a:gd name="T82" fmla="*/ 668 w 2127"/>
                <a:gd name="T83" fmla="*/ 4 h 225"/>
                <a:gd name="T84" fmla="*/ 698 w 2127"/>
                <a:gd name="T85" fmla="*/ 49 h 225"/>
                <a:gd name="T86" fmla="*/ 684 w 2127"/>
                <a:gd name="T87" fmla="*/ 211 h 225"/>
                <a:gd name="T88" fmla="*/ 628 w 2127"/>
                <a:gd name="T89" fmla="*/ 222 h 225"/>
                <a:gd name="T90" fmla="*/ 594 w 2127"/>
                <a:gd name="T91" fmla="*/ 182 h 225"/>
                <a:gd name="T92" fmla="*/ 467 w 2127"/>
                <a:gd name="T93" fmla="*/ 34 h 225"/>
                <a:gd name="T94" fmla="*/ 259 w 2127"/>
                <a:gd name="T95" fmla="*/ 3 h 225"/>
                <a:gd name="T96" fmla="*/ 161 w 2127"/>
                <a:gd name="T97" fmla="*/ 185 h 225"/>
                <a:gd name="T98" fmla="*/ 193 w 2127"/>
                <a:gd name="T99" fmla="*/ 182 h 225"/>
                <a:gd name="T100" fmla="*/ 180 w 2127"/>
                <a:gd name="T101" fmla="*/ 32 h 225"/>
                <a:gd name="T102" fmla="*/ 124 w 2127"/>
                <a:gd name="T103" fmla="*/ 55 h 225"/>
                <a:gd name="T104" fmla="*/ 146 w 2127"/>
                <a:gd name="T105" fmla="*/ 9 h 225"/>
                <a:gd name="T106" fmla="*/ 204 w 2127"/>
                <a:gd name="T107" fmla="*/ 6 h 225"/>
                <a:gd name="T108" fmla="*/ 229 w 2127"/>
                <a:gd name="T109" fmla="*/ 55 h 225"/>
                <a:gd name="T110" fmla="*/ 212 w 2127"/>
                <a:gd name="T111" fmla="*/ 214 h 225"/>
                <a:gd name="T112" fmla="*/ 154 w 2127"/>
                <a:gd name="T113" fmla="*/ 221 h 225"/>
                <a:gd name="T114" fmla="*/ 124 w 2127"/>
                <a:gd name="T115" fmla="*/ 176 h 225"/>
                <a:gd name="T116" fmla="*/ 66 w 2127"/>
                <a:gd name="T117" fmla="*/ 97 h 225"/>
                <a:gd name="T118" fmla="*/ 50 w 2127"/>
                <a:gd name="T119" fmla="*/ 34 h 225"/>
                <a:gd name="T120" fmla="*/ 89 w 2127"/>
                <a:gd name="T121" fmla="*/ 126 h 225"/>
                <a:gd name="T122" fmla="*/ 0 w 2127"/>
                <a:gd name="T123" fmla="*/ 222 h 225"/>
                <a:gd name="T124" fmla="*/ 92 w 2127"/>
                <a:gd name="T125" fmla="*/ 2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7" h="225">
                  <a:moveTo>
                    <a:pt x="2049" y="152"/>
                  </a:moveTo>
                  <a:lnTo>
                    <a:pt x="2082" y="152"/>
                  </a:lnTo>
                  <a:lnTo>
                    <a:pt x="2066" y="41"/>
                  </a:lnTo>
                  <a:lnTo>
                    <a:pt x="2049" y="152"/>
                  </a:lnTo>
                  <a:close/>
                  <a:moveTo>
                    <a:pt x="2127" y="222"/>
                  </a:moveTo>
                  <a:lnTo>
                    <a:pt x="2092" y="222"/>
                  </a:lnTo>
                  <a:lnTo>
                    <a:pt x="2087" y="182"/>
                  </a:lnTo>
                  <a:lnTo>
                    <a:pt x="2045" y="182"/>
                  </a:lnTo>
                  <a:lnTo>
                    <a:pt x="2039" y="222"/>
                  </a:lnTo>
                  <a:lnTo>
                    <a:pt x="2007" y="222"/>
                  </a:lnTo>
                  <a:lnTo>
                    <a:pt x="2042" y="3"/>
                  </a:lnTo>
                  <a:lnTo>
                    <a:pt x="2092" y="3"/>
                  </a:lnTo>
                  <a:lnTo>
                    <a:pt x="2127" y="222"/>
                  </a:lnTo>
                  <a:close/>
                  <a:moveTo>
                    <a:pt x="1927" y="34"/>
                  </a:moveTo>
                  <a:lnTo>
                    <a:pt x="1927" y="108"/>
                  </a:lnTo>
                  <a:lnTo>
                    <a:pt x="1943" y="108"/>
                  </a:lnTo>
                  <a:lnTo>
                    <a:pt x="1948" y="108"/>
                  </a:lnTo>
                  <a:lnTo>
                    <a:pt x="1951" y="107"/>
                  </a:lnTo>
                  <a:lnTo>
                    <a:pt x="1954" y="106"/>
                  </a:lnTo>
                  <a:lnTo>
                    <a:pt x="1956" y="104"/>
                  </a:lnTo>
                  <a:lnTo>
                    <a:pt x="1958" y="102"/>
                  </a:lnTo>
                  <a:lnTo>
                    <a:pt x="1959" y="97"/>
                  </a:lnTo>
                  <a:lnTo>
                    <a:pt x="1960" y="93"/>
                  </a:lnTo>
                  <a:lnTo>
                    <a:pt x="1960" y="88"/>
                  </a:lnTo>
                  <a:lnTo>
                    <a:pt x="1960" y="55"/>
                  </a:lnTo>
                  <a:lnTo>
                    <a:pt x="1960" y="50"/>
                  </a:lnTo>
                  <a:lnTo>
                    <a:pt x="1959" y="44"/>
                  </a:lnTo>
                  <a:lnTo>
                    <a:pt x="1958" y="41"/>
                  </a:lnTo>
                  <a:lnTo>
                    <a:pt x="1956" y="38"/>
                  </a:lnTo>
                  <a:lnTo>
                    <a:pt x="1954" y="36"/>
                  </a:lnTo>
                  <a:lnTo>
                    <a:pt x="1951" y="35"/>
                  </a:lnTo>
                  <a:lnTo>
                    <a:pt x="1948" y="34"/>
                  </a:lnTo>
                  <a:lnTo>
                    <a:pt x="1943" y="34"/>
                  </a:lnTo>
                  <a:lnTo>
                    <a:pt x="1927" y="34"/>
                  </a:lnTo>
                  <a:close/>
                  <a:moveTo>
                    <a:pt x="1995" y="57"/>
                  </a:moveTo>
                  <a:lnTo>
                    <a:pt x="1995" y="86"/>
                  </a:lnTo>
                  <a:lnTo>
                    <a:pt x="1994" y="92"/>
                  </a:lnTo>
                  <a:lnTo>
                    <a:pt x="1994" y="97"/>
                  </a:lnTo>
                  <a:lnTo>
                    <a:pt x="1993" y="104"/>
                  </a:lnTo>
                  <a:lnTo>
                    <a:pt x="1992" y="109"/>
                  </a:lnTo>
                  <a:lnTo>
                    <a:pt x="1990" y="113"/>
                  </a:lnTo>
                  <a:lnTo>
                    <a:pt x="1988" y="118"/>
                  </a:lnTo>
                  <a:lnTo>
                    <a:pt x="1985" y="122"/>
                  </a:lnTo>
                  <a:lnTo>
                    <a:pt x="1982" y="126"/>
                  </a:lnTo>
                  <a:lnTo>
                    <a:pt x="1978" y="129"/>
                  </a:lnTo>
                  <a:lnTo>
                    <a:pt x="1975" y="132"/>
                  </a:lnTo>
                  <a:lnTo>
                    <a:pt x="1971" y="134"/>
                  </a:lnTo>
                  <a:lnTo>
                    <a:pt x="1966" y="136"/>
                  </a:lnTo>
                  <a:lnTo>
                    <a:pt x="1961" y="138"/>
                  </a:lnTo>
                  <a:lnTo>
                    <a:pt x="1955" y="139"/>
                  </a:lnTo>
                  <a:lnTo>
                    <a:pt x="1950" y="140"/>
                  </a:lnTo>
                  <a:lnTo>
                    <a:pt x="1943" y="140"/>
                  </a:lnTo>
                  <a:lnTo>
                    <a:pt x="1927" y="140"/>
                  </a:lnTo>
                  <a:lnTo>
                    <a:pt x="1927" y="222"/>
                  </a:lnTo>
                  <a:lnTo>
                    <a:pt x="1893" y="222"/>
                  </a:lnTo>
                  <a:lnTo>
                    <a:pt x="1893" y="3"/>
                  </a:lnTo>
                  <a:lnTo>
                    <a:pt x="1943" y="3"/>
                  </a:lnTo>
                  <a:lnTo>
                    <a:pt x="1950" y="3"/>
                  </a:lnTo>
                  <a:lnTo>
                    <a:pt x="1955" y="3"/>
                  </a:lnTo>
                  <a:lnTo>
                    <a:pt x="1961" y="4"/>
                  </a:lnTo>
                  <a:lnTo>
                    <a:pt x="1966" y="6"/>
                  </a:lnTo>
                  <a:lnTo>
                    <a:pt x="1971" y="9"/>
                  </a:lnTo>
                  <a:lnTo>
                    <a:pt x="1975" y="11"/>
                  </a:lnTo>
                  <a:lnTo>
                    <a:pt x="1978" y="14"/>
                  </a:lnTo>
                  <a:lnTo>
                    <a:pt x="1982" y="17"/>
                  </a:lnTo>
                  <a:lnTo>
                    <a:pt x="1985" y="20"/>
                  </a:lnTo>
                  <a:lnTo>
                    <a:pt x="1988" y="24"/>
                  </a:lnTo>
                  <a:lnTo>
                    <a:pt x="1990" y="29"/>
                  </a:lnTo>
                  <a:lnTo>
                    <a:pt x="1992" y="34"/>
                  </a:lnTo>
                  <a:lnTo>
                    <a:pt x="1993" y="39"/>
                  </a:lnTo>
                  <a:lnTo>
                    <a:pt x="1994" y="44"/>
                  </a:lnTo>
                  <a:lnTo>
                    <a:pt x="1994" y="51"/>
                  </a:lnTo>
                  <a:lnTo>
                    <a:pt x="1995" y="57"/>
                  </a:lnTo>
                  <a:close/>
                  <a:moveTo>
                    <a:pt x="1800" y="34"/>
                  </a:moveTo>
                  <a:lnTo>
                    <a:pt x="1800" y="108"/>
                  </a:lnTo>
                  <a:lnTo>
                    <a:pt x="1815" y="108"/>
                  </a:lnTo>
                  <a:lnTo>
                    <a:pt x="1820" y="108"/>
                  </a:lnTo>
                  <a:lnTo>
                    <a:pt x="1823" y="107"/>
                  </a:lnTo>
                  <a:lnTo>
                    <a:pt x="1826" y="106"/>
                  </a:lnTo>
                  <a:lnTo>
                    <a:pt x="1828" y="104"/>
                  </a:lnTo>
                  <a:lnTo>
                    <a:pt x="1830" y="102"/>
                  </a:lnTo>
                  <a:lnTo>
                    <a:pt x="1831" y="97"/>
                  </a:lnTo>
                  <a:lnTo>
                    <a:pt x="1832" y="93"/>
                  </a:lnTo>
                  <a:lnTo>
                    <a:pt x="1833" y="88"/>
                  </a:lnTo>
                  <a:lnTo>
                    <a:pt x="1833" y="55"/>
                  </a:lnTo>
                  <a:lnTo>
                    <a:pt x="1832" y="50"/>
                  </a:lnTo>
                  <a:lnTo>
                    <a:pt x="1831" y="44"/>
                  </a:lnTo>
                  <a:lnTo>
                    <a:pt x="1830" y="41"/>
                  </a:lnTo>
                  <a:lnTo>
                    <a:pt x="1828" y="38"/>
                  </a:lnTo>
                  <a:lnTo>
                    <a:pt x="1826" y="36"/>
                  </a:lnTo>
                  <a:lnTo>
                    <a:pt x="1823" y="35"/>
                  </a:lnTo>
                  <a:lnTo>
                    <a:pt x="1820" y="34"/>
                  </a:lnTo>
                  <a:lnTo>
                    <a:pt x="1815" y="34"/>
                  </a:lnTo>
                  <a:lnTo>
                    <a:pt x="1800" y="34"/>
                  </a:lnTo>
                  <a:close/>
                  <a:moveTo>
                    <a:pt x="1867" y="57"/>
                  </a:moveTo>
                  <a:lnTo>
                    <a:pt x="1867" y="86"/>
                  </a:lnTo>
                  <a:lnTo>
                    <a:pt x="1867" y="92"/>
                  </a:lnTo>
                  <a:lnTo>
                    <a:pt x="1866" y="97"/>
                  </a:lnTo>
                  <a:lnTo>
                    <a:pt x="1865" y="104"/>
                  </a:lnTo>
                  <a:lnTo>
                    <a:pt x="1864" y="109"/>
                  </a:lnTo>
                  <a:lnTo>
                    <a:pt x="1862" y="113"/>
                  </a:lnTo>
                  <a:lnTo>
                    <a:pt x="1860" y="118"/>
                  </a:lnTo>
                  <a:lnTo>
                    <a:pt x="1858" y="122"/>
                  </a:lnTo>
                  <a:lnTo>
                    <a:pt x="1855" y="126"/>
                  </a:lnTo>
                  <a:lnTo>
                    <a:pt x="1851" y="129"/>
                  </a:lnTo>
                  <a:lnTo>
                    <a:pt x="1847" y="132"/>
                  </a:lnTo>
                  <a:lnTo>
                    <a:pt x="1843" y="134"/>
                  </a:lnTo>
                  <a:lnTo>
                    <a:pt x="1839" y="136"/>
                  </a:lnTo>
                  <a:lnTo>
                    <a:pt x="1833" y="138"/>
                  </a:lnTo>
                  <a:lnTo>
                    <a:pt x="1828" y="139"/>
                  </a:lnTo>
                  <a:lnTo>
                    <a:pt x="1822" y="140"/>
                  </a:lnTo>
                  <a:lnTo>
                    <a:pt x="1815" y="140"/>
                  </a:lnTo>
                  <a:lnTo>
                    <a:pt x="1800" y="140"/>
                  </a:lnTo>
                  <a:lnTo>
                    <a:pt x="1800" y="222"/>
                  </a:lnTo>
                  <a:lnTo>
                    <a:pt x="1766" y="222"/>
                  </a:lnTo>
                  <a:lnTo>
                    <a:pt x="1766" y="3"/>
                  </a:lnTo>
                  <a:lnTo>
                    <a:pt x="1815" y="3"/>
                  </a:lnTo>
                  <a:lnTo>
                    <a:pt x="1822" y="3"/>
                  </a:lnTo>
                  <a:lnTo>
                    <a:pt x="1828" y="3"/>
                  </a:lnTo>
                  <a:lnTo>
                    <a:pt x="1833" y="4"/>
                  </a:lnTo>
                  <a:lnTo>
                    <a:pt x="1839" y="6"/>
                  </a:lnTo>
                  <a:lnTo>
                    <a:pt x="1843" y="9"/>
                  </a:lnTo>
                  <a:lnTo>
                    <a:pt x="1847" y="11"/>
                  </a:lnTo>
                  <a:lnTo>
                    <a:pt x="1851" y="14"/>
                  </a:lnTo>
                  <a:lnTo>
                    <a:pt x="1855" y="17"/>
                  </a:lnTo>
                  <a:lnTo>
                    <a:pt x="1858" y="20"/>
                  </a:lnTo>
                  <a:lnTo>
                    <a:pt x="1860" y="24"/>
                  </a:lnTo>
                  <a:lnTo>
                    <a:pt x="1862" y="29"/>
                  </a:lnTo>
                  <a:lnTo>
                    <a:pt x="1864" y="34"/>
                  </a:lnTo>
                  <a:lnTo>
                    <a:pt x="1865" y="39"/>
                  </a:lnTo>
                  <a:lnTo>
                    <a:pt x="1866" y="44"/>
                  </a:lnTo>
                  <a:lnTo>
                    <a:pt x="1867" y="51"/>
                  </a:lnTo>
                  <a:lnTo>
                    <a:pt x="1867" y="57"/>
                  </a:lnTo>
                  <a:close/>
                  <a:moveTo>
                    <a:pt x="1665" y="3"/>
                  </a:moveTo>
                  <a:lnTo>
                    <a:pt x="1665" y="172"/>
                  </a:lnTo>
                  <a:lnTo>
                    <a:pt x="1666" y="178"/>
                  </a:lnTo>
                  <a:lnTo>
                    <a:pt x="1667" y="182"/>
                  </a:lnTo>
                  <a:lnTo>
                    <a:pt x="1667" y="184"/>
                  </a:lnTo>
                  <a:lnTo>
                    <a:pt x="1668" y="185"/>
                  </a:lnTo>
                  <a:lnTo>
                    <a:pt x="1671" y="188"/>
                  </a:lnTo>
                  <a:lnTo>
                    <a:pt x="1673" y="190"/>
                  </a:lnTo>
                  <a:lnTo>
                    <a:pt x="1676" y="193"/>
                  </a:lnTo>
                  <a:lnTo>
                    <a:pt x="1680" y="193"/>
                  </a:lnTo>
                  <a:lnTo>
                    <a:pt x="1683" y="194"/>
                  </a:lnTo>
                  <a:lnTo>
                    <a:pt x="1687" y="193"/>
                  </a:lnTo>
                  <a:lnTo>
                    <a:pt x="1691" y="193"/>
                  </a:lnTo>
                  <a:lnTo>
                    <a:pt x="1694" y="190"/>
                  </a:lnTo>
                  <a:lnTo>
                    <a:pt x="1697" y="188"/>
                  </a:lnTo>
                  <a:lnTo>
                    <a:pt x="1698" y="185"/>
                  </a:lnTo>
                  <a:lnTo>
                    <a:pt x="1700" y="182"/>
                  </a:lnTo>
                  <a:lnTo>
                    <a:pt x="1701" y="178"/>
                  </a:lnTo>
                  <a:lnTo>
                    <a:pt x="1701" y="172"/>
                  </a:lnTo>
                  <a:lnTo>
                    <a:pt x="1701" y="3"/>
                  </a:lnTo>
                  <a:lnTo>
                    <a:pt x="1734" y="3"/>
                  </a:lnTo>
                  <a:lnTo>
                    <a:pt x="1734" y="169"/>
                  </a:lnTo>
                  <a:lnTo>
                    <a:pt x="1734" y="176"/>
                  </a:lnTo>
                  <a:lnTo>
                    <a:pt x="1733" y="182"/>
                  </a:lnTo>
                  <a:lnTo>
                    <a:pt x="1732" y="188"/>
                  </a:lnTo>
                  <a:lnTo>
                    <a:pt x="1731" y="194"/>
                  </a:lnTo>
                  <a:lnTo>
                    <a:pt x="1729" y="198"/>
                  </a:lnTo>
                  <a:lnTo>
                    <a:pt x="1727" y="203"/>
                  </a:lnTo>
                  <a:lnTo>
                    <a:pt x="1723" y="206"/>
                  </a:lnTo>
                  <a:lnTo>
                    <a:pt x="1721" y="211"/>
                  </a:lnTo>
                  <a:lnTo>
                    <a:pt x="1717" y="214"/>
                  </a:lnTo>
                  <a:lnTo>
                    <a:pt x="1714" y="217"/>
                  </a:lnTo>
                  <a:lnTo>
                    <a:pt x="1712" y="218"/>
                  </a:lnTo>
                  <a:lnTo>
                    <a:pt x="1710" y="219"/>
                  </a:lnTo>
                  <a:lnTo>
                    <a:pt x="1704" y="221"/>
                  </a:lnTo>
                  <a:lnTo>
                    <a:pt x="1700" y="223"/>
                  </a:lnTo>
                  <a:lnTo>
                    <a:pt x="1695" y="224"/>
                  </a:lnTo>
                  <a:lnTo>
                    <a:pt x="1688" y="224"/>
                  </a:lnTo>
                  <a:lnTo>
                    <a:pt x="1682" y="225"/>
                  </a:lnTo>
                  <a:lnTo>
                    <a:pt x="1677" y="224"/>
                  </a:lnTo>
                  <a:lnTo>
                    <a:pt x="1671" y="224"/>
                  </a:lnTo>
                  <a:lnTo>
                    <a:pt x="1665" y="223"/>
                  </a:lnTo>
                  <a:lnTo>
                    <a:pt x="1660" y="221"/>
                  </a:lnTo>
                  <a:lnTo>
                    <a:pt x="1656" y="219"/>
                  </a:lnTo>
                  <a:lnTo>
                    <a:pt x="1651" y="217"/>
                  </a:lnTo>
                  <a:lnTo>
                    <a:pt x="1647" y="214"/>
                  </a:lnTo>
                  <a:lnTo>
                    <a:pt x="1644" y="211"/>
                  </a:lnTo>
                  <a:lnTo>
                    <a:pt x="1641" y="206"/>
                  </a:lnTo>
                  <a:lnTo>
                    <a:pt x="1639" y="203"/>
                  </a:lnTo>
                  <a:lnTo>
                    <a:pt x="1637" y="198"/>
                  </a:lnTo>
                  <a:lnTo>
                    <a:pt x="1635" y="194"/>
                  </a:lnTo>
                  <a:lnTo>
                    <a:pt x="1632" y="188"/>
                  </a:lnTo>
                  <a:lnTo>
                    <a:pt x="1632" y="182"/>
                  </a:lnTo>
                  <a:lnTo>
                    <a:pt x="1631" y="176"/>
                  </a:lnTo>
                  <a:lnTo>
                    <a:pt x="1631" y="169"/>
                  </a:lnTo>
                  <a:lnTo>
                    <a:pt x="1631" y="3"/>
                  </a:lnTo>
                  <a:lnTo>
                    <a:pt x="1665" y="3"/>
                  </a:lnTo>
                  <a:close/>
                  <a:moveTo>
                    <a:pt x="1530" y="152"/>
                  </a:moveTo>
                  <a:lnTo>
                    <a:pt x="1564" y="152"/>
                  </a:lnTo>
                  <a:lnTo>
                    <a:pt x="1547" y="41"/>
                  </a:lnTo>
                  <a:lnTo>
                    <a:pt x="1530" y="152"/>
                  </a:lnTo>
                  <a:close/>
                  <a:moveTo>
                    <a:pt x="1609" y="222"/>
                  </a:moveTo>
                  <a:lnTo>
                    <a:pt x="1574" y="222"/>
                  </a:lnTo>
                  <a:lnTo>
                    <a:pt x="1568" y="182"/>
                  </a:lnTo>
                  <a:lnTo>
                    <a:pt x="1526" y="182"/>
                  </a:lnTo>
                  <a:lnTo>
                    <a:pt x="1520" y="222"/>
                  </a:lnTo>
                  <a:lnTo>
                    <a:pt x="1489" y="222"/>
                  </a:lnTo>
                  <a:lnTo>
                    <a:pt x="1524" y="3"/>
                  </a:lnTo>
                  <a:lnTo>
                    <a:pt x="1574" y="3"/>
                  </a:lnTo>
                  <a:lnTo>
                    <a:pt x="1609" y="222"/>
                  </a:lnTo>
                  <a:close/>
                  <a:moveTo>
                    <a:pt x="1405" y="134"/>
                  </a:moveTo>
                  <a:lnTo>
                    <a:pt x="1394" y="154"/>
                  </a:lnTo>
                  <a:lnTo>
                    <a:pt x="1394" y="222"/>
                  </a:lnTo>
                  <a:lnTo>
                    <a:pt x="1360" y="222"/>
                  </a:lnTo>
                  <a:lnTo>
                    <a:pt x="1360" y="3"/>
                  </a:lnTo>
                  <a:lnTo>
                    <a:pt x="1394" y="3"/>
                  </a:lnTo>
                  <a:lnTo>
                    <a:pt x="1394" y="98"/>
                  </a:lnTo>
                  <a:lnTo>
                    <a:pt x="1440" y="3"/>
                  </a:lnTo>
                  <a:lnTo>
                    <a:pt x="1474" y="3"/>
                  </a:lnTo>
                  <a:lnTo>
                    <a:pt x="1426" y="101"/>
                  </a:lnTo>
                  <a:lnTo>
                    <a:pt x="1474" y="222"/>
                  </a:lnTo>
                  <a:lnTo>
                    <a:pt x="1439" y="222"/>
                  </a:lnTo>
                  <a:lnTo>
                    <a:pt x="1405" y="134"/>
                  </a:lnTo>
                  <a:close/>
                  <a:moveTo>
                    <a:pt x="1271" y="95"/>
                  </a:moveTo>
                  <a:lnTo>
                    <a:pt x="1318" y="95"/>
                  </a:lnTo>
                  <a:lnTo>
                    <a:pt x="1318" y="127"/>
                  </a:lnTo>
                  <a:lnTo>
                    <a:pt x="1271" y="127"/>
                  </a:lnTo>
                  <a:lnTo>
                    <a:pt x="1271" y="190"/>
                  </a:lnTo>
                  <a:lnTo>
                    <a:pt x="1331" y="190"/>
                  </a:lnTo>
                  <a:lnTo>
                    <a:pt x="1331" y="222"/>
                  </a:lnTo>
                  <a:lnTo>
                    <a:pt x="1237" y="222"/>
                  </a:lnTo>
                  <a:lnTo>
                    <a:pt x="1237" y="3"/>
                  </a:lnTo>
                  <a:lnTo>
                    <a:pt x="1331" y="3"/>
                  </a:lnTo>
                  <a:lnTo>
                    <a:pt x="1331" y="34"/>
                  </a:lnTo>
                  <a:lnTo>
                    <a:pt x="1271" y="34"/>
                  </a:lnTo>
                  <a:lnTo>
                    <a:pt x="1271" y="95"/>
                  </a:lnTo>
                  <a:close/>
                  <a:moveTo>
                    <a:pt x="1108" y="3"/>
                  </a:moveTo>
                  <a:lnTo>
                    <a:pt x="1214" y="3"/>
                  </a:lnTo>
                  <a:lnTo>
                    <a:pt x="1214" y="34"/>
                  </a:lnTo>
                  <a:lnTo>
                    <a:pt x="1178" y="34"/>
                  </a:lnTo>
                  <a:lnTo>
                    <a:pt x="1178" y="222"/>
                  </a:lnTo>
                  <a:lnTo>
                    <a:pt x="1144" y="222"/>
                  </a:lnTo>
                  <a:lnTo>
                    <a:pt x="1144" y="34"/>
                  </a:lnTo>
                  <a:lnTo>
                    <a:pt x="1108" y="34"/>
                  </a:lnTo>
                  <a:lnTo>
                    <a:pt x="1108" y="3"/>
                  </a:lnTo>
                  <a:close/>
                  <a:moveTo>
                    <a:pt x="1039" y="0"/>
                  </a:moveTo>
                  <a:lnTo>
                    <a:pt x="1044" y="0"/>
                  </a:lnTo>
                  <a:lnTo>
                    <a:pt x="1051" y="1"/>
                  </a:lnTo>
                  <a:lnTo>
                    <a:pt x="1056" y="2"/>
                  </a:lnTo>
                  <a:lnTo>
                    <a:pt x="1061" y="4"/>
                  </a:lnTo>
                  <a:lnTo>
                    <a:pt x="1066" y="6"/>
                  </a:lnTo>
                  <a:lnTo>
                    <a:pt x="1070" y="9"/>
                  </a:lnTo>
                  <a:lnTo>
                    <a:pt x="1073" y="12"/>
                  </a:lnTo>
                  <a:lnTo>
                    <a:pt x="1077" y="15"/>
                  </a:lnTo>
                  <a:lnTo>
                    <a:pt x="1079" y="18"/>
                  </a:lnTo>
                  <a:lnTo>
                    <a:pt x="1083" y="22"/>
                  </a:lnTo>
                  <a:lnTo>
                    <a:pt x="1085" y="28"/>
                  </a:lnTo>
                  <a:lnTo>
                    <a:pt x="1087" y="32"/>
                  </a:lnTo>
                  <a:lnTo>
                    <a:pt x="1088" y="37"/>
                  </a:lnTo>
                  <a:lnTo>
                    <a:pt x="1089" y="43"/>
                  </a:lnTo>
                  <a:lnTo>
                    <a:pt x="1090" y="49"/>
                  </a:lnTo>
                  <a:lnTo>
                    <a:pt x="1090" y="55"/>
                  </a:lnTo>
                  <a:lnTo>
                    <a:pt x="1090" y="62"/>
                  </a:lnTo>
                  <a:lnTo>
                    <a:pt x="1057" y="62"/>
                  </a:lnTo>
                  <a:lnTo>
                    <a:pt x="1057" y="53"/>
                  </a:lnTo>
                  <a:lnTo>
                    <a:pt x="1057" y="48"/>
                  </a:lnTo>
                  <a:lnTo>
                    <a:pt x="1056" y="43"/>
                  </a:lnTo>
                  <a:lnTo>
                    <a:pt x="1054" y="39"/>
                  </a:lnTo>
                  <a:lnTo>
                    <a:pt x="1053" y="36"/>
                  </a:lnTo>
                  <a:lnTo>
                    <a:pt x="1050" y="34"/>
                  </a:lnTo>
                  <a:lnTo>
                    <a:pt x="1048" y="33"/>
                  </a:lnTo>
                  <a:lnTo>
                    <a:pt x="1043" y="32"/>
                  </a:lnTo>
                  <a:lnTo>
                    <a:pt x="1040" y="32"/>
                  </a:lnTo>
                  <a:lnTo>
                    <a:pt x="1036" y="32"/>
                  </a:lnTo>
                  <a:lnTo>
                    <a:pt x="1033" y="33"/>
                  </a:lnTo>
                  <a:lnTo>
                    <a:pt x="1031" y="34"/>
                  </a:lnTo>
                  <a:lnTo>
                    <a:pt x="1030" y="34"/>
                  </a:lnTo>
                  <a:lnTo>
                    <a:pt x="1028" y="36"/>
                  </a:lnTo>
                  <a:lnTo>
                    <a:pt x="1025" y="39"/>
                  </a:lnTo>
                  <a:lnTo>
                    <a:pt x="1023" y="43"/>
                  </a:lnTo>
                  <a:lnTo>
                    <a:pt x="1023" y="48"/>
                  </a:lnTo>
                  <a:lnTo>
                    <a:pt x="1022" y="53"/>
                  </a:lnTo>
                  <a:lnTo>
                    <a:pt x="1022" y="57"/>
                  </a:lnTo>
                  <a:lnTo>
                    <a:pt x="1023" y="61"/>
                  </a:lnTo>
                  <a:lnTo>
                    <a:pt x="1025" y="69"/>
                  </a:lnTo>
                  <a:lnTo>
                    <a:pt x="1026" y="72"/>
                  </a:lnTo>
                  <a:lnTo>
                    <a:pt x="1029" y="75"/>
                  </a:lnTo>
                  <a:lnTo>
                    <a:pt x="1033" y="81"/>
                  </a:lnTo>
                  <a:lnTo>
                    <a:pt x="1038" y="88"/>
                  </a:lnTo>
                  <a:lnTo>
                    <a:pt x="1043" y="93"/>
                  </a:lnTo>
                  <a:lnTo>
                    <a:pt x="1056" y="105"/>
                  </a:lnTo>
                  <a:lnTo>
                    <a:pt x="1069" y="117"/>
                  </a:lnTo>
                  <a:lnTo>
                    <a:pt x="1074" y="124"/>
                  </a:lnTo>
                  <a:lnTo>
                    <a:pt x="1079" y="131"/>
                  </a:lnTo>
                  <a:lnTo>
                    <a:pt x="1084" y="140"/>
                  </a:lnTo>
                  <a:lnTo>
                    <a:pt x="1087" y="148"/>
                  </a:lnTo>
                  <a:lnTo>
                    <a:pt x="1089" y="159"/>
                  </a:lnTo>
                  <a:lnTo>
                    <a:pt x="1090" y="164"/>
                  </a:lnTo>
                  <a:lnTo>
                    <a:pt x="1090" y="169"/>
                  </a:lnTo>
                  <a:lnTo>
                    <a:pt x="1090" y="176"/>
                  </a:lnTo>
                  <a:lnTo>
                    <a:pt x="1089" y="182"/>
                  </a:lnTo>
                  <a:lnTo>
                    <a:pt x="1088" y="187"/>
                  </a:lnTo>
                  <a:lnTo>
                    <a:pt x="1087" y="193"/>
                  </a:lnTo>
                  <a:lnTo>
                    <a:pt x="1085" y="198"/>
                  </a:lnTo>
                  <a:lnTo>
                    <a:pt x="1083" y="202"/>
                  </a:lnTo>
                  <a:lnTo>
                    <a:pt x="1080" y="206"/>
                  </a:lnTo>
                  <a:lnTo>
                    <a:pt x="1077" y="211"/>
                  </a:lnTo>
                  <a:lnTo>
                    <a:pt x="1073" y="214"/>
                  </a:lnTo>
                  <a:lnTo>
                    <a:pt x="1070" y="217"/>
                  </a:lnTo>
                  <a:lnTo>
                    <a:pt x="1068" y="218"/>
                  </a:lnTo>
                  <a:lnTo>
                    <a:pt x="1066" y="219"/>
                  </a:lnTo>
                  <a:lnTo>
                    <a:pt x="1061" y="221"/>
                  </a:lnTo>
                  <a:lnTo>
                    <a:pt x="1056" y="222"/>
                  </a:lnTo>
                  <a:lnTo>
                    <a:pt x="1051" y="223"/>
                  </a:lnTo>
                  <a:lnTo>
                    <a:pt x="1044" y="224"/>
                  </a:lnTo>
                  <a:lnTo>
                    <a:pt x="1038" y="224"/>
                  </a:lnTo>
                  <a:lnTo>
                    <a:pt x="1033" y="224"/>
                  </a:lnTo>
                  <a:lnTo>
                    <a:pt x="1026" y="223"/>
                  </a:lnTo>
                  <a:lnTo>
                    <a:pt x="1021" y="222"/>
                  </a:lnTo>
                  <a:lnTo>
                    <a:pt x="1016" y="221"/>
                  </a:lnTo>
                  <a:lnTo>
                    <a:pt x="1012" y="219"/>
                  </a:lnTo>
                  <a:lnTo>
                    <a:pt x="1007" y="217"/>
                  </a:lnTo>
                  <a:lnTo>
                    <a:pt x="1003" y="214"/>
                  </a:lnTo>
                  <a:lnTo>
                    <a:pt x="1000" y="211"/>
                  </a:lnTo>
                  <a:lnTo>
                    <a:pt x="997" y="206"/>
                  </a:lnTo>
                  <a:lnTo>
                    <a:pt x="995" y="202"/>
                  </a:lnTo>
                  <a:lnTo>
                    <a:pt x="993" y="198"/>
                  </a:lnTo>
                  <a:lnTo>
                    <a:pt x="991" y="193"/>
                  </a:lnTo>
                  <a:lnTo>
                    <a:pt x="989" y="187"/>
                  </a:lnTo>
                  <a:lnTo>
                    <a:pt x="988" y="182"/>
                  </a:lnTo>
                  <a:lnTo>
                    <a:pt x="987" y="176"/>
                  </a:lnTo>
                  <a:lnTo>
                    <a:pt x="987" y="169"/>
                  </a:lnTo>
                  <a:lnTo>
                    <a:pt x="987" y="156"/>
                  </a:lnTo>
                  <a:lnTo>
                    <a:pt x="1020" y="156"/>
                  </a:lnTo>
                  <a:lnTo>
                    <a:pt x="1020" y="171"/>
                  </a:lnTo>
                  <a:lnTo>
                    <a:pt x="1020" y="177"/>
                  </a:lnTo>
                  <a:lnTo>
                    <a:pt x="1021" y="182"/>
                  </a:lnTo>
                  <a:lnTo>
                    <a:pt x="1021" y="183"/>
                  </a:lnTo>
                  <a:lnTo>
                    <a:pt x="1022" y="185"/>
                  </a:lnTo>
                  <a:lnTo>
                    <a:pt x="1024" y="188"/>
                  </a:lnTo>
                  <a:lnTo>
                    <a:pt x="1028" y="190"/>
                  </a:lnTo>
                  <a:lnTo>
                    <a:pt x="1031" y="191"/>
                  </a:lnTo>
                  <a:lnTo>
                    <a:pt x="1034" y="193"/>
                  </a:lnTo>
                  <a:lnTo>
                    <a:pt x="1038" y="193"/>
                  </a:lnTo>
                  <a:lnTo>
                    <a:pt x="1041" y="193"/>
                  </a:lnTo>
                  <a:lnTo>
                    <a:pt x="1046" y="191"/>
                  </a:lnTo>
                  <a:lnTo>
                    <a:pt x="1048" y="190"/>
                  </a:lnTo>
                  <a:lnTo>
                    <a:pt x="1051" y="188"/>
                  </a:lnTo>
                  <a:lnTo>
                    <a:pt x="1053" y="185"/>
                  </a:lnTo>
                  <a:lnTo>
                    <a:pt x="1054" y="182"/>
                  </a:lnTo>
                  <a:lnTo>
                    <a:pt x="1055" y="177"/>
                  </a:lnTo>
                  <a:lnTo>
                    <a:pt x="1055" y="171"/>
                  </a:lnTo>
                  <a:lnTo>
                    <a:pt x="1055" y="167"/>
                  </a:lnTo>
                  <a:lnTo>
                    <a:pt x="1055" y="164"/>
                  </a:lnTo>
                  <a:lnTo>
                    <a:pt x="1053" y="157"/>
                  </a:lnTo>
                  <a:lnTo>
                    <a:pt x="1051" y="152"/>
                  </a:lnTo>
                  <a:lnTo>
                    <a:pt x="1050" y="149"/>
                  </a:lnTo>
                  <a:lnTo>
                    <a:pt x="1044" y="143"/>
                  </a:lnTo>
                  <a:lnTo>
                    <a:pt x="1040" y="138"/>
                  </a:lnTo>
                  <a:lnTo>
                    <a:pt x="1034" y="131"/>
                  </a:lnTo>
                  <a:lnTo>
                    <a:pt x="1022" y="120"/>
                  </a:lnTo>
                  <a:lnTo>
                    <a:pt x="1010" y="108"/>
                  </a:lnTo>
                  <a:lnTo>
                    <a:pt x="1003" y="101"/>
                  </a:lnTo>
                  <a:lnTo>
                    <a:pt x="999" y="93"/>
                  </a:lnTo>
                  <a:lnTo>
                    <a:pt x="995" y="86"/>
                  </a:lnTo>
                  <a:lnTo>
                    <a:pt x="991" y="76"/>
                  </a:lnTo>
                  <a:lnTo>
                    <a:pt x="988" y="67"/>
                  </a:lnTo>
                  <a:lnTo>
                    <a:pt x="988" y="61"/>
                  </a:lnTo>
                  <a:lnTo>
                    <a:pt x="988" y="55"/>
                  </a:lnTo>
                  <a:lnTo>
                    <a:pt x="988" y="49"/>
                  </a:lnTo>
                  <a:lnTo>
                    <a:pt x="988" y="43"/>
                  </a:lnTo>
                  <a:lnTo>
                    <a:pt x="989" y="37"/>
                  </a:lnTo>
                  <a:lnTo>
                    <a:pt x="992" y="32"/>
                  </a:lnTo>
                  <a:lnTo>
                    <a:pt x="993" y="28"/>
                  </a:lnTo>
                  <a:lnTo>
                    <a:pt x="996" y="22"/>
                  </a:lnTo>
                  <a:lnTo>
                    <a:pt x="998" y="18"/>
                  </a:lnTo>
                  <a:lnTo>
                    <a:pt x="1001" y="15"/>
                  </a:lnTo>
                  <a:lnTo>
                    <a:pt x="1004" y="12"/>
                  </a:lnTo>
                  <a:lnTo>
                    <a:pt x="1008" y="9"/>
                  </a:lnTo>
                  <a:lnTo>
                    <a:pt x="1011" y="7"/>
                  </a:lnTo>
                  <a:lnTo>
                    <a:pt x="1013" y="6"/>
                  </a:lnTo>
                  <a:lnTo>
                    <a:pt x="1017" y="4"/>
                  </a:lnTo>
                  <a:lnTo>
                    <a:pt x="1022" y="2"/>
                  </a:lnTo>
                  <a:lnTo>
                    <a:pt x="1028" y="1"/>
                  </a:lnTo>
                  <a:lnTo>
                    <a:pt x="1033" y="0"/>
                  </a:lnTo>
                  <a:lnTo>
                    <a:pt x="1039" y="0"/>
                  </a:lnTo>
                  <a:close/>
                  <a:moveTo>
                    <a:pt x="904" y="95"/>
                  </a:moveTo>
                  <a:lnTo>
                    <a:pt x="951" y="95"/>
                  </a:lnTo>
                  <a:lnTo>
                    <a:pt x="951" y="127"/>
                  </a:lnTo>
                  <a:lnTo>
                    <a:pt x="904" y="127"/>
                  </a:lnTo>
                  <a:lnTo>
                    <a:pt x="904" y="190"/>
                  </a:lnTo>
                  <a:lnTo>
                    <a:pt x="963" y="190"/>
                  </a:lnTo>
                  <a:lnTo>
                    <a:pt x="963" y="222"/>
                  </a:lnTo>
                  <a:lnTo>
                    <a:pt x="870" y="222"/>
                  </a:lnTo>
                  <a:lnTo>
                    <a:pt x="870" y="3"/>
                  </a:lnTo>
                  <a:lnTo>
                    <a:pt x="963" y="3"/>
                  </a:lnTo>
                  <a:lnTo>
                    <a:pt x="963" y="34"/>
                  </a:lnTo>
                  <a:lnTo>
                    <a:pt x="904" y="34"/>
                  </a:lnTo>
                  <a:lnTo>
                    <a:pt x="904" y="95"/>
                  </a:lnTo>
                  <a:close/>
                  <a:moveTo>
                    <a:pt x="759" y="64"/>
                  </a:moveTo>
                  <a:lnTo>
                    <a:pt x="759" y="222"/>
                  </a:lnTo>
                  <a:lnTo>
                    <a:pt x="727" y="222"/>
                  </a:lnTo>
                  <a:lnTo>
                    <a:pt x="727" y="3"/>
                  </a:lnTo>
                  <a:lnTo>
                    <a:pt x="771" y="3"/>
                  </a:lnTo>
                  <a:lnTo>
                    <a:pt x="807" y="134"/>
                  </a:lnTo>
                  <a:lnTo>
                    <a:pt x="807" y="3"/>
                  </a:lnTo>
                  <a:lnTo>
                    <a:pt x="837" y="3"/>
                  </a:lnTo>
                  <a:lnTo>
                    <a:pt x="837" y="222"/>
                  </a:lnTo>
                  <a:lnTo>
                    <a:pt x="801" y="222"/>
                  </a:lnTo>
                  <a:lnTo>
                    <a:pt x="759" y="64"/>
                  </a:lnTo>
                  <a:close/>
                  <a:moveTo>
                    <a:pt x="628" y="171"/>
                  </a:moveTo>
                  <a:lnTo>
                    <a:pt x="628" y="177"/>
                  </a:lnTo>
                  <a:lnTo>
                    <a:pt x="629" y="182"/>
                  </a:lnTo>
                  <a:lnTo>
                    <a:pt x="630" y="184"/>
                  </a:lnTo>
                  <a:lnTo>
                    <a:pt x="630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8" y="193"/>
                  </a:lnTo>
                  <a:lnTo>
                    <a:pt x="642" y="193"/>
                  </a:lnTo>
                  <a:lnTo>
                    <a:pt x="646" y="194"/>
                  </a:lnTo>
                  <a:lnTo>
                    <a:pt x="649" y="193"/>
                  </a:lnTo>
                  <a:lnTo>
                    <a:pt x="653" y="193"/>
                  </a:lnTo>
                  <a:lnTo>
                    <a:pt x="656" y="190"/>
                  </a:lnTo>
                  <a:lnTo>
                    <a:pt x="658" y="188"/>
                  </a:lnTo>
                  <a:lnTo>
                    <a:pt x="661" y="185"/>
                  </a:lnTo>
                  <a:lnTo>
                    <a:pt x="662" y="182"/>
                  </a:lnTo>
                  <a:lnTo>
                    <a:pt x="663" y="177"/>
                  </a:lnTo>
                  <a:lnTo>
                    <a:pt x="664" y="171"/>
                  </a:lnTo>
                  <a:lnTo>
                    <a:pt x="664" y="53"/>
                  </a:lnTo>
                  <a:lnTo>
                    <a:pt x="663" y="48"/>
                  </a:lnTo>
                  <a:lnTo>
                    <a:pt x="662" y="43"/>
                  </a:lnTo>
                  <a:lnTo>
                    <a:pt x="662" y="41"/>
                  </a:lnTo>
                  <a:lnTo>
                    <a:pt x="661" y="39"/>
                  </a:lnTo>
                  <a:lnTo>
                    <a:pt x="658" y="36"/>
                  </a:lnTo>
                  <a:lnTo>
                    <a:pt x="656" y="34"/>
                  </a:lnTo>
                  <a:lnTo>
                    <a:pt x="653" y="33"/>
                  </a:lnTo>
                  <a:lnTo>
                    <a:pt x="649" y="32"/>
                  </a:lnTo>
                  <a:lnTo>
                    <a:pt x="646" y="32"/>
                  </a:lnTo>
                  <a:lnTo>
                    <a:pt x="642" y="32"/>
                  </a:lnTo>
                  <a:lnTo>
                    <a:pt x="638" y="33"/>
                  </a:lnTo>
                  <a:lnTo>
                    <a:pt x="635" y="34"/>
                  </a:lnTo>
                  <a:lnTo>
                    <a:pt x="632" y="36"/>
                  </a:lnTo>
                  <a:lnTo>
                    <a:pt x="630" y="39"/>
                  </a:lnTo>
                  <a:lnTo>
                    <a:pt x="629" y="43"/>
                  </a:lnTo>
                  <a:lnTo>
                    <a:pt x="628" y="48"/>
                  </a:lnTo>
                  <a:lnTo>
                    <a:pt x="628" y="53"/>
                  </a:lnTo>
                  <a:lnTo>
                    <a:pt x="628" y="171"/>
                  </a:lnTo>
                  <a:close/>
                  <a:moveTo>
                    <a:pt x="593" y="55"/>
                  </a:moveTo>
                  <a:lnTo>
                    <a:pt x="593" y="49"/>
                  </a:lnTo>
                  <a:lnTo>
                    <a:pt x="594" y="43"/>
                  </a:lnTo>
                  <a:lnTo>
                    <a:pt x="595" y="37"/>
                  </a:lnTo>
                  <a:lnTo>
                    <a:pt x="596" y="35"/>
                  </a:lnTo>
                  <a:lnTo>
                    <a:pt x="597" y="32"/>
                  </a:lnTo>
                  <a:lnTo>
                    <a:pt x="598" y="28"/>
                  </a:lnTo>
                  <a:lnTo>
                    <a:pt x="601" y="22"/>
                  </a:lnTo>
                  <a:lnTo>
                    <a:pt x="603" y="18"/>
                  </a:lnTo>
                  <a:lnTo>
                    <a:pt x="607" y="15"/>
                  </a:lnTo>
                  <a:lnTo>
                    <a:pt x="610" y="12"/>
                  </a:lnTo>
                  <a:lnTo>
                    <a:pt x="614" y="9"/>
                  </a:lnTo>
                  <a:lnTo>
                    <a:pt x="618" y="6"/>
                  </a:lnTo>
                  <a:lnTo>
                    <a:pt x="624" y="4"/>
                  </a:lnTo>
                  <a:lnTo>
                    <a:pt x="628" y="2"/>
                  </a:lnTo>
                  <a:lnTo>
                    <a:pt x="633" y="1"/>
                  </a:lnTo>
                  <a:lnTo>
                    <a:pt x="639" y="0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7" y="1"/>
                  </a:lnTo>
                  <a:lnTo>
                    <a:pt x="663" y="2"/>
                  </a:lnTo>
                  <a:lnTo>
                    <a:pt x="668" y="4"/>
                  </a:lnTo>
                  <a:lnTo>
                    <a:pt x="672" y="6"/>
                  </a:lnTo>
                  <a:lnTo>
                    <a:pt x="676" y="9"/>
                  </a:lnTo>
                  <a:lnTo>
                    <a:pt x="681" y="12"/>
                  </a:lnTo>
                  <a:lnTo>
                    <a:pt x="684" y="15"/>
                  </a:lnTo>
                  <a:lnTo>
                    <a:pt x="687" y="18"/>
                  </a:lnTo>
                  <a:lnTo>
                    <a:pt x="690" y="22"/>
                  </a:lnTo>
                  <a:lnTo>
                    <a:pt x="692" y="28"/>
                  </a:lnTo>
                  <a:lnTo>
                    <a:pt x="694" y="32"/>
                  </a:lnTo>
                  <a:lnTo>
                    <a:pt x="695" y="37"/>
                  </a:lnTo>
                  <a:lnTo>
                    <a:pt x="697" y="43"/>
                  </a:lnTo>
                  <a:lnTo>
                    <a:pt x="698" y="49"/>
                  </a:lnTo>
                  <a:lnTo>
                    <a:pt x="698" y="55"/>
                  </a:lnTo>
                  <a:lnTo>
                    <a:pt x="698" y="169"/>
                  </a:lnTo>
                  <a:lnTo>
                    <a:pt x="698" y="176"/>
                  </a:lnTo>
                  <a:lnTo>
                    <a:pt x="697" y="182"/>
                  </a:lnTo>
                  <a:lnTo>
                    <a:pt x="695" y="187"/>
                  </a:lnTo>
                  <a:lnTo>
                    <a:pt x="695" y="190"/>
                  </a:lnTo>
                  <a:lnTo>
                    <a:pt x="694" y="193"/>
                  </a:lnTo>
                  <a:lnTo>
                    <a:pt x="692" y="198"/>
                  </a:lnTo>
                  <a:lnTo>
                    <a:pt x="690" y="202"/>
                  </a:lnTo>
                  <a:lnTo>
                    <a:pt x="687" y="206"/>
                  </a:lnTo>
                  <a:lnTo>
                    <a:pt x="684" y="211"/>
                  </a:lnTo>
                  <a:lnTo>
                    <a:pt x="681" y="214"/>
                  </a:lnTo>
                  <a:lnTo>
                    <a:pt x="676" y="217"/>
                  </a:lnTo>
                  <a:lnTo>
                    <a:pt x="672" y="219"/>
                  </a:lnTo>
                  <a:lnTo>
                    <a:pt x="668" y="221"/>
                  </a:lnTo>
                  <a:lnTo>
                    <a:pt x="663" y="222"/>
                  </a:lnTo>
                  <a:lnTo>
                    <a:pt x="657" y="223"/>
                  </a:lnTo>
                  <a:lnTo>
                    <a:pt x="652" y="224"/>
                  </a:lnTo>
                  <a:lnTo>
                    <a:pt x="646" y="224"/>
                  </a:lnTo>
                  <a:lnTo>
                    <a:pt x="639" y="224"/>
                  </a:lnTo>
                  <a:lnTo>
                    <a:pt x="633" y="223"/>
                  </a:lnTo>
                  <a:lnTo>
                    <a:pt x="628" y="222"/>
                  </a:lnTo>
                  <a:lnTo>
                    <a:pt x="624" y="221"/>
                  </a:lnTo>
                  <a:lnTo>
                    <a:pt x="618" y="219"/>
                  </a:lnTo>
                  <a:lnTo>
                    <a:pt x="614" y="217"/>
                  </a:lnTo>
                  <a:lnTo>
                    <a:pt x="610" y="214"/>
                  </a:lnTo>
                  <a:lnTo>
                    <a:pt x="607" y="211"/>
                  </a:lnTo>
                  <a:lnTo>
                    <a:pt x="603" y="206"/>
                  </a:lnTo>
                  <a:lnTo>
                    <a:pt x="601" y="202"/>
                  </a:lnTo>
                  <a:lnTo>
                    <a:pt x="598" y="198"/>
                  </a:lnTo>
                  <a:lnTo>
                    <a:pt x="597" y="193"/>
                  </a:lnTo>
                  <a:lnTo>
                    <a:pt x="595" y="187"/>
                  </a:lnTo>
                  <a:lnTo>
                    <a:pt x="594" y="182"/>
                  </a:lnTo>
                  <a:lnTo>
                    <a:pt x="593" y="176"/>
                  </a:lnTo>
                  <a:lnTo>
                    <a:pt x="593" y="169"/>
                  </a:lnTo>
                  <a:lnTo>
                    <a:pt x="593" y="55"/>
                  </a:lnTo>
                  <a:close/>
                  <a:moveTo>
                    <a:pt x="467" y="3"/>
                  </a:moveTo>
                  <a:lnTo>
                    <a:pt x="573" y="3"/>
                  </a:lnTo>
                  <a:lnTo>
                    <a:pt x="573" y="34"/>
                  </a:lnTo>
                  <a:lnTo>
                    <a:pt x="537" y="34"/>
                  </a:lnTo>
                  <a:lnTo>
                    <a:pt x="537" y="222"/>
                  </a:lnTo>
                  <a:lnTo>
                    <a:pt x="503" y="222"/>
                  </a:lnTo>
                  <a:lnTo>
                    <a:pt x="503" y="34"/>
                  </a:lnTo>
                  <a:lnTo>
                    <a:pt x="467" y="34"/>
                  </a:lnTo>
                  <a:lnTo>
                    <a:pt x="467" y="3"/>
                  </a:lnTo>
                  <a:close/>
                  <a:moveTo>
                    <a:pt x="348" y="3"/>
                  </a:moveTo>
                  <a:lnTo>
                    <a:pt x="454" y="3"/>
                  </a:lnTo>
                  <a:lnTo>
                    <a:pt x="454" y="34"/>
                  </a:lnTo>
                  <a:lnTo>
                    <a:pt x="417" y="34"/>
                  </a:lnTo>
                  <a:lnTo>
                    <a:pt x="417" y="222"/>
                  </a:lnTo>
                  <a:lnTo>
                    <a:pt x="383" y="222"/>
                  </a:lnTo>
                  <a:lnTo>
                    <a:pt x="383" y="34"/>
                  </a:lnTo>
                  <a:lnTo>
                    <a:pt x="348" y="34"/>
                  </a:lnTo>
                  <a:lnTo>
                    <a:pt x="348" y="3"/>
                  </a:lnTo>
                  <a:close/>
                  <a:moveTo>
                    <a:pt x="259" y="3"/>
                  </a:moveTo>
                  <a:lnTo>
                    <a:pt x="294" y="3"/>
                  </a:lnTo>
                  <a:lnTo>
                    <a:pt x="294" y="190"/>
                  </a:lnTo>
                  <a:lnTo>
                    <a:pt x="350" y="190"/>
                  </a:lnTo>
                  <a:lnTo>
                    <a:pt x="350" y="222"/>
                  </a:lnTo>
                  <a:lnTo>
                    <a:pt x="259" y="222"/>
                  </a:lnTo>
                  <a:lnTo>
                    <a:pt x="259" y="3"/>
                  </a:lnTo>
                  <a:close/>
                  <a:moveTo>
                    <a:pt x="159" y="171"/>
                  </a:moveTo>
                  <a:lnTo>
                    <a:pt x="159" y="177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1" y="185"/>
                  </a:lnTo>
                  <a:lnTo>
                    <a:pt x="164" y="188"/>
                  </a:lnTo>
                  <a:lnTo>
                    <a:pt x="167" y="190"/>
                  </a:lnTo>
                  <a:lnTo>
                    <a:pt x="169" y="193"/>
                  </a:lnTo>
                  <a:lnTo>
                    <a:pt x="173" y="193"/>
                  </a:lnTo>
                  <a:lnTo>
                    <a:pt x="176" y="194"/>
                  </a:lnTo>
                  <a:lnTo>
                    <a:pt x="180" y="193"/>
                  </a:lnTo>
                  <a:lnTo>
                    <a:pt x="184" y="193"/>
                  </a:lnTo>
                  <a:lnTo>
                    <a:pt x="187" y="190"/>
                  </a:lnTo>
                  <a:lnTo>
                    <a:pt x="190" y="188"/>
                  </a:lnTo>
                  <a:lnTo>
                    <a:pt x="192" y="185"/>
                  </a:lnTo>
                  <a:lnTo>
                    <a:pt x="193" y="182"/>
                  </a:lnTo>
                  <a:lnTo>
                    <a:pt x="194" y="177"/>
                  </a:lnTo>
                  <a:lnTo>
                    <a:pt x="194" y="171"/>
                  </a:lnTo>
                  <a:lnTo>
                    <a:pt x="194" y="53"/>
                  </a:lnTo>
                  <a:lnTo>
                    <a:pt x="194" y="48"/>
                  </a:lnTo>
                  <a:lnTo>
                    <a:pt x="193" y="43"/>
                  </a:lnTo>
                  <a:lnTo>
                    <a:pt x="192" y="41"/>
                  </a:lnTo>
                  <a:lnTo>
                    <a:pt x="192" y="39"/>
                  </a:lnTo>
                  <a:lnTo>
                    <a:pt x="190" y="36"/>
                  </a:lnTo>
                  <a:lnTo>
                    <a:pt x="187" y="34"/>
                  </a:lnTo>
                  <a:lnTo>
                    <a:pt x="184" y="33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3" y="32"/>
                  </a:lnTo>
                  <a:lnTo>
                    <a:pt x="169" y="33"/>
                  </a:lnTo>
                  <a:lnTo>
                    <a:pt x="167" y="34"/>
                  </a:lnTo>
                  <a:lnTo>
                    <a:pt x="164" y="36"/>
                  </a:lnTo>
                  <a:lnTo>
                    <a:pt x="161" y="39"/>
                  </a:lnTo>
                  <a:lnTo>
                    <a:pt x="160" y="43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9" y="171"/>
                  </a:lnTo>
                  <a:close/>
                  <a:moveTo>
                    <a:pt x="124" y="55"/>
                  </a:moveTo>
                  <a:lnTo>
                    <a:pt x="124" y="49"/>
                  </a:lnTo>
                  <a:lnTo>
                    <a:pt x="125" y="43"/>
                  </a:lnTo>
                  <a:lnTo>
                    <a:pt x="127" y="37"/>
                  </a:lnTo>
                  <a:lnTo>
                    <a:pt x="127" y="35"/>
                  </a:lnTo>
                  <a:lnTo>
                    <a:pt x="128" y="32"/>
                  </a:lnTo>
                  <a:lnTo>
                    <a:pt x="130" y="28"/>
                  </a:lnTo>
                  <a:lnTo>
                    <a:pt x="132" y="22"/>
                  </a:lnTo>
                  <a:lnTo>
                    <a:pt x="135" y="18"/>
                  </a:lnTo>
                  <a:lnTo>
                    <a:pt x="138" y="15"/>
                  </a:lnTo>
                  <a:lnTo>
                    <a:pt x="141" y="12"/>
                  </a:lnTo>
                  <a:lnTo>
                    <a:pt x="146" y="9"/>
                  </a:lnTo>
                  <a:lnTo>
                    <a:pt x="150" y="6"/>
                  </a:lnTo>
                  <a:lnTo>
                    <a:pt x="154" y="4"/>
                  </a:lnTo>
                  <a:lnTo>
                    <a:pt x="159" y="2"/>
                  </a:lnTo>
                  <a:lnTo>
                    <a:pt x="165" y="1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3" y="0"/>
                  </a:lnTo>
                  <a:lnTo>
                    <a:pt x="189" y="1"/>
                  </a:lnTo>
                  <a:lnTo>
                    <a:pt x="194" y="2"/>
                  </a:lnTo>
                  <a:lnTo>
                    <a:pt x="199" y="4"/>
                  </a:lnTo>
                  <a:lnTo>
                    <a:pt x="204" y="6"/>
                  </a:lnTo>
                  <a:lnTo>
                    <a:pt x="208" y="9"/>
                  </a:lnTo>
                  <a:lnTo>
                    <a:pt x="212" y="12"/>
                  </a:lnTo>
                  <a:lnTo>
                    <a:pt x="215" y="15"/>
                  </a:lnTo>
                  <a:lnTo>
                    <a:pt x="219" y="18"/>
                  </a:lnTo>
                  <a:lnTo>
                    <a:pt x="222" y="22"/>
                  </a:lnTo>
                  <a:lnTo>
                    <a:pt x="224" y="28"/>
                  </a:lnTo>
                  <a:lnTo>
                    <a:pt x="226" y="32"/>
                  </a:lnTo>
                  <a:lnTo>
                    <a:pt x="227" y="37"/>
                  </a:lnTo>
                  <a:lnTo>
                    <a:pt x="228" y="43"/>
                  </a:lnTo>
                  <a:lnTo>
                    <a:pt x="229" y="49"/>
                  </a:lnTo>
                  <a:lnTo>
                    <a:pt x="229" y="55"/>
                  </a:lnTo>
                  <a:lnTo>
                    <a:pt x="229" y="169"/>
                  </a:lnTo>
                  <a:lnTo>
                    <a:pt x="229" y="176"/>
                  </a:lnTo>
                  <a:lnTo>
                    <a:pt x="228" y="182"/>
                  </a:lnTo>
                  <a:lnTo>
                    <a:pt x="227" y="187"/>
                  </a:lnTo>
                  <a:lnTo>
                    <a:pt x="226" y="190"/>
                  </a:lnTo>
                  <a:lnTo>
                    <a:pt x="226" y="193"/>
                  </a:lnTo>
                  <a:lnTo>
                    <a:pt x="224" y="198"/>
                  </a:lnTo>
                  <a:lnTo>
                    <a:pt x="222" y="202"/>
                  </a:lnTo>
                  <a:lnTo>
                    <a:pt x="219" y="206"/>
                  </a:lnTo>
                  <a:lnTo>
                    <a:pt x="215" y="211"/>
                  </a:lnTo>
                  <a:lnTo>
                    <a:pt x="212" y="214"/>
                  </a:lnTo>
                  <a:lnTo>
                    <a:pt x="208" y="217"/>
                  </a:lnTo>
                  <a:lnTo>
                    <a:pt x="204" y="219"/>
                  </a:lnTo>
                  <a:lnTo>
                    <a:pt x="199" y="221"/>
                  </a:lnTo>
                  <a:lnTo>
                    <a:pt x="194" y="222"/>
                  </a:lnTo>
                  <a:lnTo>
                    <a:pt x="189" y="223"/>
                  </a:lnTo>
                  <a:lnTo>
                    <a:pt x="183" y="224"/>
                  </a:lnTo>
                  <a:lnTo>
                    <a:pt x="176" y="224"/>
                  </a:lnTo>
                  <a:lnTo>
                    <a:pt x="171" y="224"/>
                  </a:lnTo>
                  <a:lnTo>
                    <a:pt x="165" y="223"/>
                  </a:lnTo>
                  <a:lnTo>
                    <a:pt x="159" y="222"/>
                  </a:lnTo>
                  <a:lnTo>
                    <a:pt x="154" y="221"/>
                  </a:lnTo>
                  <a:lnTo>
                    <a:pt x="150" y="219"/>
                  </a:lnTo>
                  <a:lnTo>
                    <a:pt x="146" y="217"/>
                  </a:lnTo>
                  <a:lnTo>
                    <a:pt x="141" y="214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32" y="202"/>
                  </a:lnTo>
                  <a:lnTo>
                    <a:pt x="130" y="198"/>
                  </a:lnTo>
                  <a:lnTo>
                    <a:pt x="128" y="193"/>
                  </a:lnTo>
                  <a:lnTo>
                    <a:pt x="127" y="187"/>
                  </a:lnTo>
                  <a:lnTo>
                    <a:pt x="125" y="182"/>
                  </a:lnTo>
                  <a:lnTo>
                    <a:pt x="124" y="176"/>
                  </a:lnTo>
                  <a:lnTo>
                    <a:pt x="124" y="169"/>
                  </a:lnTo>
                  <a:lnTo>
                    <a:pt x="124" y="55"/>
                  </a:lnTo>
                  <a:close/>
                  <a:moveTo>
                    <a:pt x="35" y="34"/>
                  </a:moveTo>
                  <a:lnTo>
                    <a:pt x="35" y="108"/>
                  </a:lnTo>
                  <a:lnTo>
                    <a:pt x="50" y="108"/>
                  </a:lnTo>
                  <a:lnTo>
                    <a:pt x="55" y="108"/>
                  </a:lnTo>
                  <a:lnTo>
                    <a:pt x="58" y="107"/>
                  </a:lnTo>
                  <a:lnTo>
                    <a:pt x="61" y="106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66" y="97"/>
                  </a:lnTo>
                  <a:lnTo>
                    <a:pt x="67" y="93"/>
                  </a:lnTo>
                  <a:lnTo>
                    <a:pt x="67" y="88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6" y="44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1" y="36"/>
                  </a:lnTo>
                  <a:lnTo>
                    <a:pt x="58" y="35"/>
                  </a:lnTo>
                  <a:lnTo>
                    <a:pt x="55" y="34"/>
                  </a:lnTo>
                  <a:lnTo>
                    <a:pt x="50" y="34"/>
                  </a:lnTo>
                  <a:lnTo>
                    <a:pt x="35" y="34"/>
                  </a:lnTo>
                  <a:close/>
                  <a:moveTo>
                    <a:pt x="102" y="57"/>
                  </a:moveTo>
                  <a:lnTo>
                    <a:pt x="102" y="86"/>
                  </a:lnTo>
                  <a:lnTo>
                    <a:pt x="101" y="92"/>
                  </a:lnTo>
                  <a:lnTo>
                    <a:pt x="101" y="97"/>
                  </a:lnTo>
                  <a:lnTo>
                    <a:pt x="100" y="104"/>
                  </a:lnTo>
                  <a:lnTo>
                    <a:pt x="99" y="109"/>
                  </a:lnTo>
                  <a:lnTo>
                    <a:pt x="97" y="113"/>
                  </a:lnTo>
                  <a:lnTo>
                    <a:pt x="95" y="118"/>
                  </a:lnTo>
                  <a:lnTo>
                    <a:pt x="92" y="122"/>
                  </a:lnTo>
                  <a:lnTo>
                    <a:pt x="89" y="126"/>
                  </a:lnTo>
                  <a:lnTo>
                    <a:pt x="85" y="129"/>
                  </a:lnTo>
                  <a:lnTo>
                    <a:pt x="82" y="132"/>
                  </a:lnTo>
                  <a:lnTo>
                    <a:pt x="78" y="134"/>
                  </a:lnTo>
                  <a:lnTo>
                    <a:pt x="73" y="136"/>
                  </a:lnTo>
                  <a:lnTo>
                    <a:pt x="68" y="138"/>
                  </a:lnTo>
                  <a:lnTo>
                    <a:pt x="62" y="139"/>
                  </a:lnTo>
                  <a:lnTo>
                    <a:pt x="57" y="140"/>
                  </a:lnTo>
                  <a:lnTo>
                    <a:pt x="50" y="140"/>
                  </a:lnTo>
                  <a:lnTo>
                    <a:pt x="35" y="140"/>
                  </a:lnTo>
                  <a:lnTo>
                    <a:pt x="35" y="222"/>
                  </a:lnTo>
                  <a:lnTo>
                    <a:pt x="0" y="222"/>
                  </a:lnTo>
                  <a:lnTo>
                    <a:pt x="0" y="3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2" y="3"/>
                  </a:lnTo>
                  <a:lnTo>
                    <a:pt x="68" y="4"/>
                  </a:lnTo>
                  <a:lnTo>
                    <a:pt x="73" y="6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9" y="17"/>
                  </a:lnTo>
                  <a:lnTo>
                    <a:pt x="92" y="20"/>
                  </a:lnTo>
                  <a:lnTo>
                    <a:pt x="95" y="24"/>
                  </a:lnTo>
                  <a:lnTo>
                    <a:pt x="97" y="29"/>
                  </a:lnTo>
                  <a:lnTo>
                    <a:pt x="99" y="34"/>
                  </a:lnTo>
                  <a:lnTo>
                    <a:pt x="100" y="39"/>
                  </a:lnTo>
                  <a:lnTo>
                    <a:pt x="101" y="44"/>
                  </a:lnTo>
                  <a:lnTo>
                    <a:pt x="101" y="51"/>
                  </a:lnTo>
                  <a:lnTo>
                    <a:pt x="10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52626616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29CEE1-9311-4575-8982-79B283D86BFA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32"/>
            <p:cNvSpPr>
              <a:spLocks noEditPoints="1"/>
            </p:cNvSpPr>
            <p:nvPr userDrawn="1"/>
          </p:nvSpPr>
          <p:spPr bwMode="auto">
            <a:xfrm>
              <a:off x="8841484" y="6473685"/>
              <a:ext cx="2006400" cy="211200"/>
            </a:xfrm>
            <a:custGeom>
              <a:avLst/>
              <a:gdLst>
                <a:gd name="T0" fmla="*/ 2042 w 2127"/>
                <a:gd name="T1" fmla="*/ 3 h 225"/>
                <a:gd name="T2" fmla="*/ 1959 w 2127"/>
                <a:gd name="T3" fmla="*/ 97 h 225"/>
                <a:gd name="T4" fmla="*/ 1943 w 2127"/>
                <a:gd name="T5" fmla="*/ 34 h 225"/>
                <a:gd name="T6" fmla="*/ 1982 w 2127"/>
                <a:gd name="T7" fmla="*/ 126 h 225"/>
                <a:gd name="T8" fmla="*/ 1893 w 2127"/>
                <a:gd name="T9" fmla="*/ 222 h 225"/>
                <a:gd name="T10" fmla="*/ 1985 w 2127"/>
                <a:gd name="T11" fmla="*/ 20 h 225"/>
                <a:gd name="T12" fmla="*/ 1820 w 2127"/>
                <a:gd name="T13" fmla="*/ 108 h 225"/>
                <a:gd name="T14" fmla="*/ 1830 w 2127"/>
                <a:gd name="T15" fmla="*/ 41 h 225"/>
                <a:gd name="T16" fmla="*/ 1865 w 2127"/>
                <a:gd name="T17" fmla="*/ 104 h 225"/>
                <a:gd name="T18" fmla="*/ 1828 w 2127"/>
                <a:gd name="T19" fmla="*/ 139 h 225"/>
                <a:gd name="T20" fmla="*/ 1839 w 2127"/>
                <a:gd name="T21" fmla="*/ 6 h 225"/>
                <a:gd name="T22" fmla="*/ 1867 w 2127"/>
                <a:gd name="T23" fmla="*/ 51 h 225"/>
                <a:gd name="T24" fmla="*/ 1680 w 2127"/>
                <a:gd name="T25" fmla="*/ 193 h 225"/>
                <a:gd name="T26" fmla="*/ 1734 w 2127"/>
                <a:gd name="T27" fmla="*/ 3 h 225"/>
                <a:gd name="T28" fmla="*/ 1714 w 2127"/>
                <a:gd name="T29" fmla="*/ 217 h 225"/>
                <a:gd name="T30" fmla="*/ 1660 w 2127"/>
                <a:gd name="T31" fmla="*/ 221 h 225"/>
                <a:gd name="T32" fmla="*/ 1631 w 2127"/>
                <a:gd name="T33" fmla="*/ 176 h 225"/>
                <a:gd name="T34" fmla="*/ 1526 w 2127"/>
                <a:gd name="T35" fmla="*/ 182 h 225"/>
                <a:gd name="T36" fmla="*/ 1394 w 2127"/>
                <a:gd name="T37" fmla="*/ 3 h 225"/>
                <a:gd name="T38" fmla="*/ 1271 w 2127"/>
                <a:gd name="T39" fmla="*/ 127 h 225"/>
                <a:gd name="T40" fmla="*/ 1214 w 2127"/>
                <a:gd name="T41" fmla="*/ 3 h 225"/>
                <a:gd name="T42" fmla="*/ 1056 w 2127"/>
                <a:gd name="T43" fmla="*/ 2 h 225"/>
                <a:gd name="T44" fmla="*/ 1089 w 2127"/>
                <a:gd name="T45" fmla="*/ 43 h 225"/>
                <a:gd name="T46" fmla="*/ 1048 w 2127"/>
                <a:gd name="T47" fmla="*/ 33 h 225"/>
                <a:gd name="T48" fmla="*/ 1022 w 2127"/>
                <a:gd name="T49" fmla="*/ 53 h 225"/>
                <a:gd name="T50" fmla="*/ 1074 w 2127"/>
                <a:gd name="T51" fmla="*/ 124 h 225"/>
                <a:gd name="T52" fmla="*/ 1085 w 2127"/>
                <a:gd name="T53" fmla="*/ 198 h 225"/>
                <a:gd name="T54" fmla="*/ 1044 w 2127"/>
                <a:gd name="T55" fmla="*/ 224 h 225"/>
                <a:gd name="T56" fmla="*/ 995 w 2127"/>
                <a:gd name="T57" fmla="*/ 202 h 225"/>
                <a:gd name="T58" fmla="*/ 1021 w 2127"/>
                <a:gd name="T59" fmla="*/ 182 h 225"/>
                <a:gd name="T60" fmla="*/ 1051 w 2127"/>
                <a:gd name="T61" fmla="*/ 188 h 225"/>
                <a:gd name="T62" fmla="*/ 1040 w 2127"/>
                <a:gd name="T63" fmla="*/ 138 h 225"/>
                <a:gd name="T64" fmla="*/ 988 w 2127"/>
                <a:gd name="T65" fmla="*/ 49 h 225"/>
                <a:gd name="T66" fmla="*/ 1013 w 2127"/>
                <a:gd name="T67" fmla="*/ 6 h 225"/>
                <a:gd name="T68" fmla="*/ 963 w 2127"/>
                <a:gd name="T69" fmla="*/ 190 h 225"/>
                <a:gd name="T70" fmla="*/ 727 w 2127"/>
                <a:gd name="T71" fmla="*/ 3 h 225"/>
                <a:gd name="T72" fmla="*/ 630 w 2127"/>
                <a:gd name="T73" fmla="*/ 184 h 225"/>
                <a:gd name="T74" fmla="*/ 661 w 2127"/>
                <a:gd name="T75" fmla="*/ 185 h 225"/>
                <a:gd name="T76" fmla="*/ 653 w 2127"/>
                <a:gd name="T77" fmla="*/ 33 h 225"/>
                <a:gd name="T78" fmla="*/ 628 w 2127"/>
                <a:gd name="T79" fmla="*/ 171 h 225"/>
                <a:gd name="T80" fmla="*/ 610 w 2127"/>
                <a:gd name="T81" fmla="*/ 12 h 225"/>
                <a:gd name="T82" fmla="*/ 668 w 2127"/>
                <a:gd name="T83" fmla="*/ 4 h 225"/>
                <a:gd name="T84" fmla="*/ 698 w 2127"/>
                <a:gd name="T85" fmla="*/ 49 h 225"/>
                <a:gd name="T86" fmla="*/ 684 w 2127"/>
                <a:gd name="T87" fmla="*/ 211 h 225"/>
                <a:gd name="T88" fmla="*/ 628 w 2127"/>
                <a:gd name="T89" fmla="*/ 222 h 225"/>
                <a:gd name="T90" fmla="*/ 594 w 2127"/>
                <a:gd name="T91" fmla="*/ 182 h 225"/>
                <a:gd name="T92" fmla="*/ 467 w 2127"/>
                <a:gd name="T93" fmla="*/ 34 h 225"/>
                <a:gd name="T94" fmla="*/ 259 w 2127"/>
                <a:gd name="T95" fmla="*/ 3 h 225"/>
                <a:gd name="T96" fmla="*/ 161 w 2127"/>
                <a:gd name="T97" fmla="*/ 185 h 225"/>
                <a:gd name="T98" fmla="*/ 193 w 2127"/>
                <a:gd name="T99" fmla="*/ 182 h 225"/>
                <a:gd name="T100" fmla="*/ 180 w 2127"/>
                <a:gd name="T101" fmla="*/ 32 h 225"/>
                <a:gd name="T102" fmla="*/ 124 w 2127"/>
                <a:gd name="T103" fmla="*/ 55 h 225"/>
                <a:gd name="T104" fmla="*/ 146 w 2127"/>
                <a:gd name="T105" fmla="*/ 9 h 225"/>
                <a:gd name="T106" fmla="*/ 204 w 2127"/>
                <a:gd name="T107" fmla="*/ 6 h 225"/>
                <a:gd name="T108" fmla="*/ 229 w 2127"/>
                <a:gd name="T109" fmla="*/ 55 h 225"/>
                <a:gd name="T110" fmla="*/ 212 w 2127"/>
                <a:gd name="T111" fmla="*/ 214 h 225"/>
                <a:gd name="T112" fmla="*/ 154 w 2127"/>
                <a:gd name="T113" fmla="*/ 221 h 225"/>
                <a:gd name="T114" fmla="*/ 124 w 2127"/>
                <a:gd name="T115" fmla="*/ 176 h 225"/>
                <a:gd name="T116" fmla="*/ 66 w 2127"/>
                <a:gd name="T117" fmla="*/ 97 h 225"/>
                <a:gd name="T118" fmla="*/ 50 w 2127"/>
                <a:gd name="T119" fmla="*/ 34 h 225"/>
                <a:gd name="T120" fmla="*/ 89 w 2127"/>
                <a:gd name="T121" fmla="*/ 126 h 225"/>
                <a:gd name="T122" fmla="*/ 0 w 2127"/>
                <a:gd name="T123" fmla="*/ 222 h 225"/>
                <a:gd name="T124" fmla="*/ 92 w 2127"/>
                <a:gd name="T125" fmla="*/ 2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7" h="225">
                  <a:moveTo>
                    <a:pt x="2049" y="152"/>
                  </a:moveTo>
                  <a:lnTo>
                    <a:pt x="2082" y="152"/>
                  </a:lnTo>
                  <a:lnTo>
                    <a:pt x="2066" y="41"/>
                  </a:lnTo>
                  <a:lnTo>
                    <a:pt x="2049" y="152"/>
                  </a:lnTo>
                  <a:close/>
                  <a:moveTo>
                    <a:pt x="2127" y="222"/>
                  </a:moveTo>
                  <a:lnTo>
                    <a:pt x="2092" y="222"/>
                  </a:lnTo>
                  <a:lnTo>
                    <a:pt x="2087" y="182"/>
                  </a:lnTo>
                  <a:lnTo>
                    <a:pt x="2045" y="182"/>
                  </a:lnTo>
                  <a:lnTo>
                    <a:pt x="2039" y="222"/>
                  </a:lnTo>
                  <a:lnTo>
                    <a:pt x="2007" y="222"/>
                  </a:lnTo>
                  <a:lnTo>
                    <a:pt x="2042" y="3"/>
                  </a:lnTo>
                  <a:lnTo>
                    <a:pt x="2092" y="3"/>
                  </a:lnTo>
                  <a:lnTo>
                    <a:pt x="2127" y="222"/>
                  </a:lnTo>
                  <a:close/>
                  <a:moveTo>
                    <a:pt x="1927" y="34"/>
                  </a:moveTo>
                  <a:lnTo>
                    <a:pt x="1927" y="108"/>
                  </a:lnTo>
                  <a:lnTo>
                    <a:pt x="1943" y="108"/>
                  </a:lnTo>
                  <a:lnTo>
                    <a:pt x="1948" y="108"/>
                  </a:lnTo>
                  <a:lnTo>
                    <a:pt x="1951" y="107"/>
                  </a:lnTo>
                  <a:lnTo>
                    <a:pt x="1954" y="106"/>
                  </a:lnTo>
                  <a:lnTo>
                    <a:pt x="1956" y="104"/>
                  </a:lnTo>
                  <a:lnTo>
                    <a:pt x="1958" y="102"/>
                  </a:lnTo>
                  <a:lnTo>
                    <a:pt x="1959" y="97"/>
                  </a:lnTo>
                  <a:lnTo>
                    <a:pt x="1960" y="93"/>
                  </a:lnTo>
                  <a:lnTo>
                    <a:pt x="1960" y="88"/>
                  </a:lnTo>
                  <a:lnTo>
                    <a:pt x="1960" y="55"/>
                  </a:lnTo>
                  <a:lnTo>
                    <a:pt x="1960" y="50"/>
                  </a:lnTo>
                  <a:lnTo>
                    <a:pt x="1959" y="44"/>
                  </a:lnTo>
                  <a:lnTo>
                    <a:pt x="1958" y="41"/>
                  </a:lnTo>
                  <a:lnTo>
                    <a:pt x="1956" y="38"/>
                  </a:lnTo>
                  <a:lnTo>
                    <a:pt x="1954" y="36"/>
                  </a:lnTo>
                  <a:lnTo>
                    <a:pt x="1951" y="35"/>
                  </a:lnTo>
                  <a:lnTo>
                    <a:pt x="1948" y="34"/>
                  </a:lnTo>
                  <a:lnTo>
                    <a:pt x="1943" y="34"/>
                  </a:lnTo>
                  <a:lnTo>
                    <a:pt x="1927" y="34"/>
                  </a:lnTo>
                  <a:close/>
                  <a:moveTo>
                    <a:pt x="1995" y="57"/>
                  </a:moveTo>
                  <a:lnTo>
                    <a:pt x="1995" y="86"/>
                  </a:lnTo>
                  <a:lnTo>
                    <a:pt x="1994" y="92"/>
                  </a:lnTo>
                  <a:lnTo>
                    <a:pt x="1994" y="97"/>
                  </a:lnTo>
                  <a:lnTo>
                    <a:pt x="1993" y="104"/>
                  </a:lnTo>
                  <a:lnTo>
                    <a:pt x="1992" y="109"/>
                  </a:lnTo>
                  <a:lnTo>
                    <a:pt x="1990" y="113"/>
                  </a:lnTo>
                  <a:lnTo>
                    <a:pt x="1988" y="118"/>
                  </a:lnTo>
                  <a:lnTo>
                    <a:pt x="1985" y="122"/>
                  </a:lnTo>
                  <a:lnTo>
                    <a:pt x="1982" y="126"/>
                  </a:lnTo>
                  <a:lnTo>
                    <a:pt x="1978" y="129"/>
                  </a:lnTo>
                  <a:lnTo>
                    <a:pt x="1975" y="132"/>
                  </a:lnTo>
                  <a:lnTo>
                    <a:pt x="1971" y="134"/>
                  </a:lnTo>
                  <a:lnTo>
                    <a:pt x="1966" y="136"/>
                  </a:lnTo>
                  <a:lnTo>
                    <a:pt x="1961" y="138"/>
                  </a:lnTo>
                  <a:lnTo>
                    <a:pt x="1955" y="139"/>
                  </a:lnTo>
                  <a:lnTo>
                    <a:pt x="1950" y="140"/>
                  </a:lnTo>
                  <a:lnTo>
                    <a:pt x="1943" y="140"/>
                  </a:lnTo>
                  <a:lnTo>
                    <a:pt x="1927" y="140"/>
                  </a:lnTo>
                  <a:lnTo>
                    <a:pt x="1927" y="222"/>
                  </a:lnTo>
                  <a:lnTo>
                    <a:pt x="1893" y="222"/>
                  </a:lnTo>
                  <a:lnTo>
                    <a:pt x="1893" y="3"/>
                  </a:lnTo>
                  <a:lnTo>
                    <a:pt x="1943" y="3"/>
                  </a:lnTo>
                  <a:lnTo>
                    <a:pt x="1950" y="3"/>
                  </a:lnTo>
                  <a:lnTo>
                    <a:pt x="1955" y="3"/>
                  </a:lnTo>
                  <a:lnTo>
                    <a:pt x="1961" y="4"/>
                  </a:lnTo>
                  <a:lnTo>
                    <a:pt x="1966" y="6"/>
                  </a:lnTo>
                  <a:lnTo>
                    <a:pt x="1971" y="9"/>
                  </a:lnTo>
                  <a:lnTo>
                    <a:pt x="1975" y="11"/>
                  </a:lnTo>
                  <a:lnTo>
                    <a:pt x="1978" y="14"/>
                  </a:lnTo>
                  <a:lnTo>
                    <a:pt x="1982" y="17"/>
                  </a:lnTo>
                  <a:lnTo>
                    <a:pt x="1985" y="20"/>
                  </a:lnTo>
                  <a:lnTo>
                    <a:pt x="1988" y="24"/>
                  </a:lnTo>
                  <a:lnTo>
                    <a:pt x="1990" y="29"/>
                  </a:lnTo>
                  <a:lnTo>
                    <a:pt x="1992" y="34"/>
                  </a:lnTo>
                  <a:lnTo>
                    <a:pt x="1993" y="39"/>
                  </a:lnTo>
                  <a:lnTo>
                    <a:pt x="1994" y="44"/>
                  </a:lnTo>
                  <a:lnTo>
                    <a:pt x="1994" y="51"/>
                  </a:lnTo>
                  <a:lnTo>
                    <a:pt x="1995" y="57"/>
                  </a:lnTo>
                  <a:close/>
                  <a:moveTo>
                    <a:pt x="1800" y="34"/>
                  </a:moveTo>
                  <a:lnTo>
                    <a:pt x="1800" y="108"/>
                  </a:lnTo>
                  <a:lnTo>
                    <a:pt x="1815" y="108"/>
                  </a:lnTo>
                  <a:lnTo>
                    <a:pt x="1820" y="108"/>
                  </a:lnTo>
                  <a:lnTo>
                    <a:pt x="1823" y="107"/>
                  </a:lnTo>
                  <a:lnTo>
                    <a:pt x="1826" y="106"/>
                  </a:lnTo>
                  <a:lnTo>
                    <a:pt x="1828" y="104"/>
                  </a:lnTo>
                  <a:lnTo>
                    <a:pt x="1830" y="102"/>
                  </a:lnTo>
                  <a:lnTo>
                    <a:pt x="1831" y="97"/>
                  </a:lnTo>
                  <a:lnTo>
                    <a:pt x="1832" y="93"/>
                  </a:lnTo>
                  <a:lnTo>
                    <a:pt x="1833" y="88"/>
                  </a:lnTo>
                  <a:lnTo>
                    <a:pt x="1833" y="55"/>
                  </a:lnTo>
                  <a:lnTo>
                    <a:pt x="1832" y="50"/>
                  </a:lnTo>
                  <a:lnTo>
                    <a:pt x="1831" y="44"/>
                  </a:lnTo>
                  <a:lnTo>
                    <a:pt x="1830" y="41"/>
                  </a:lnTo>
                  <a:lnTo>
                    <a:pt x="1828" y="38"/>
                  </a:lnTo>
                  <a:lnTo>
                    <a:pt x="1826" y="36"/>
                  </a:lnTo>
                  <a:lnTo>
                    <a:pt x="1823" y="35"/>
                  </a:lnTo>
                  <a:lnTo>
                    <a:pt x="1820" y="34"/>
                  </a:lnTo>
                  <a:lnTo>
                    <a:pt x="1815" y="34"/>
                  </a:lnTo>
                  <a:lnTo>
                    <a:pt x="1800" y="34"/>
                  </a:lnTo>
                  <a:close/>
                  <a:moveTo>
                    <a:pt x="1867" y="57"/>
                  </a:moveTo>
                  <a:lnTo>
                    <a:pt x="1867" y="86"/>
                  </a:lnTo>
                  <a:lnTo>
                    <a:pt x="1867" y="92"/>
                  </a:lnTo>
                  <a:lnTo>
                    <a:pt x="1866" y="97"/>
                  </a:lnTo>
                  <a:lnTo>
                    <a:pt x="1865" y="104"/>
                  </a:lnTo>
                  <a:lnTo>
                    <a:pt x="1864" y="109"/>
                  </a:lnTo>
                  <a:lnTo>
                    <a:pt x="1862" y="113"/>
                  </a:lnTo>
                  <a:lnTo>
                    <a:pt x="1860" y="118"/>
                  </a:lnTo>
                  <a:lnTo>
                    <a:pt x="1858" y="122"/>
                  </a:lnTo>
                  <a:lnTo>
                    <a:pt x="1855" y="126"/>
                  </a:lnTo>
                  <a:lnTo>
                    <a:pt x="1851" y="129"/>
                  </a:lnTo>
                  <a:lnTo>
                    <a:pt x="1847" y="132"/>
                  </a:lnTo>
                  <a:lnTo>
                    <a:pt x="1843" y="134"/>
                  </a:lnTo>
                  <a:lnTo>
                    <a:pt x="1839" y="136"/>
                  </a:lnTo>
                  <a:lnTo>
                    <a:pt x="1833" y="138"/>
                  </a:lnTo>
                  <a:lnTo>
                    <a:pt x="1828" y="139"/>
                  </a:lnTo>
                  <a:lnTo>
                    <a:pt x="1822" y="140"/>
                  </a:lnTo>
                  <a:lnTo>
                    <a:pt x="1815" y="140"/>
                  </a:lnTo>
                  <a:lnTo>
                    <a:pt x="1800" y="140"/>
                  </a:lnTo>
                  <a:lnTo>
                    <a:pt x="1800" y="222"/>
                  </a:lnTo>
                  <a:lnTo>
                    <a:pt x="1766" y="222"/>
                  </a:lnTo>
                  <a:lnTo>
                    <a:pt x="1766" y="3"/>
                  </a:lnTo>
                  <a:lnTo>
                    <a:pt x="1815" y="3"/>
                  </a:lnTo>
                  <a:lnTo>
                    <a:pt x="1822" y="3"/>
                  </a:lnTo>
                  <a:lnTo>
                    <a:pt x="1828" y="3"/>
                  </a:lnTo>
                  <a:lnTo>
                    <a:pt x="1833" y="4"/>
                  </a:lnTo>
                  <a:lnTo>
                    <a:pt x="1839" y="6"/>
                  </a:lnTo>
                  <a:lnTo>
                    <a:pt x="1843" y="9"/>
                  </a:lnTo>
                  <a:lnTo>
                    <a:pt x="1847" y="11"/>
                  </a:lnTo>
                  <a:lnTo>
                    <a:pt x="1851" y="14"/>
                  </a:lnTo>
                  <a:lnTo>
                    <a:pt x="1855" y="17"/>
                  </a:lnTo>
                  <a:lnTo>
                    <a:pt x="1858" y="20"/>
                  </a:lnTo>
                  <a:lnTo>
                    <a:pt x="1860" y="24"/>
                  </a:lnTo>
                  <a:lnTo>
                    <a:pt x="1862" y="29"/>
                  </a:lnTo>
                  <a:lnTo>
                    <a:pt x="1864" y="34"/>
                  </a:lnTo>
                  <a:lnTo>
                    <a:pt x="1865" y="39"/>
                  </a:lnTo>
                  <a:lnTo>
                    <a:pt x="1866" y="44"/>
                  </a:lnTo>
                  <a:lnTo>
                    <a:pt x="1867" y="51"/>
                  </a:lnTo>
                  <a:lnTo>
                    <a:pt x="1867" y="57"/>
                  </a:lnTo>
                  <a:close/>
                  <a:moveTo>
                    <a:pt x="1665" y="3"/>
                  </a:moveTo>
                  <a:lnTo>
                    <a:pt x="1665" y="172"/>
                  </a:lnTo>
                  <a:lnTo>
                    <a:pt x="1666" y="178"/>
                  </a:lnTo>
                  <a:lnTo>
                    <a:pt x="1667" y="182"/>
                  </a:lnTo>
                  <a:lnTo>
                    <a:pt x="1667" y="184"/>
                  </a:lnTo>
                  <a:lnTo>
                    <a:pt x="1668" y="185"/>
                  </a:lnTo>
                  <a:lnTo>
                    <a:pt x="1671" y="188"/>
                  </a:lnTo>
                  <a:lnTo>
                    <a:pt x="1673" y="190"/>
                  </a:lnTo>
                  <a:lnTo>
                    <a:pt x="1676" y="193"/>
                  </a:lnTo>
                  <a:lnTo>
                    <a:pt x="1680" y="193"/>
                  </a:lnTo>
                  <a:lnTo>
                    <a:pt x="1683" y="194"/>
                  </a:lnTo>
                  <a:lnTo>
                    <a:pt x="1687" y="193"/>
                  </a:lnTo>
                  <a:lnTo>
                    <a:pt x="1691" y="193"/>
                  </a:lnTo>
                  <a:lnTo>
                    <a:pt x="1694" y="190"/>
                  </a:lnTo>
                  <a:lnTo>
                    <a:pt x="1697" y="188"/>
                  </a:lnTo>
                  <a:lnTo>
                    <a:pt x="1698" y="185"/>
                  </a:lnTo>
                  <a:lnTo>
                    <a:pt x="1700" y="182"/>
                  </a:lnTo>
                  <a:lnTo>
                    <a:pt x="1701" y="178"/>
                  </a:lnTo>
                  <a:lnTo>
                    <a:pt x="1701" y="172"/>
                  </a:lnTo>
                  <a:lnTo>
                    <a:pt x="1701" y="3"/>
                  </a:lnTo>
                  <a:lnTo>
                    <a:pt x="1734" y="3"/>
                  </a:lnTo>
                  <a:lnTo>
                    <a:pt x="1734" y="169"/>
                  </a:lnTo>
                  <a:lnTo>
                    <a:pt x="1734" y="176"/>
                  </a:lnTo>
                  <a:lnTo>
                    <a:pt x="1733" y="182"/>
                  </a:lnTo>
                  <a:lnTo>
                    <a:pt x="1732" y="188"/>
                  </a:lnTo>
                  <a:lnTo>
                    <a:pt x="1731" y="194"/>
                  </a:lnTo>
                  <a:lnTo>
                    <a:pt x="1729" y="198"/>
                  </a:lnTo>
                  <a:lnTo>
                    <a:pt x="1727" y="203"/>
                  </a:lnTo>
                  <a:lnTo>
                    <a:pt x="1723" y="206"/>
                  </a:lnTo>
                  <a:lnTo>
                    <a:pt x="1721" y="211"/>
                  </a:lnTo>
                  <a:lnTo>
                    <a:pt x="1717" y="214"/>
                  </a:lnTo>
                  <a:lnTo>
                    <a:pt x="1714" y="217"/>
                  </a:lnTo>
                  <a:lnTo>
                    <a:pt x="1712" y="218"/>
                  </a:lnTo>
                  <a:lnTo>
                    <a:pt x="1710" y="219"/>
                  </a:lnTo>
                  <a:lnTo>
                    <a:pt x="1704" y="221"/>
                  </a:lnTo>
                  <a:lnTo>
                    <a:pt x="1700" y="223"/>
                  </a:lnTo>
                  <a:lnTo>
                    <a:pt x="1695" y="224"/>
                  </a:lnTo>
                  <a:lnTo>
                    <a:pt x="1688" y="224"/>
                  </a:lnTo>
                  <a:lnTo>
                    <a:pt x="1682" y="225"/>
                  </a:lnTo>
                  <a:lnTo>
                    <a:pt x="1677" y="224"/>
                  </a:lnTo>
                  <a:lnTo>
                    <a:pt x="1671" y="224"/>
                  </a:lnTo>
                  <a:lnTo>
                    <a:pt x="1665" y="223"/>
                  </a:lnTo>
                  <a:lnTo>
                    <a:pt x="1660" y="221"/>
                  </a:lnTo>
                  <a:lnTo>
                    <a:pt x="1656" y="219"/>
                  </a:lnTo>
                  <a:lnTo>
                    <a:pt x="1651" y="217"/>
                  </a:lnTo>
                  <a:lnTo>
                    <a:pt x="1647" y="214"/>
                  </a:lnTo>
                  <a:lnTo>
                    <a:pt x="1644" y="211"/>
                  </a:lnTo>
                  <a:lnTo>
                    <a:pt x="1641" y="206"/>
                  </a:lnTo>
                  <a:lnTo>
                    <a:pt x="1639" y="203"/>
                  </a:lnTo>
                  <a:lnTo>
                    <a:pt x="1637" y="198"/>
                  </a:lnTo>
                  <a:lnTo>
                    <a:pt x="1635" y="194"/>
                  </a:lnTo>
                  <a:lnTo>
                    <a:pt x="1632" y="188"/>
                  </a:lnTo>
                  <a:lnTo>
                    <a:pt x="1632" y="182"/>
                  </a:lnTo>
                  <a:lnTo>
                    <a:pt x="1631" y="176"/>
                  </a:lnTo>
                  <a:lnTo>
                    <a:pt x="1631" y="169"/>
                  </a:lnTo>
                  <a:lnTo>
                    <a:pt x="1631" y="3"/>
                  </a:lnTo>
                  <a:lnTo>
                    <a:pt x="1665" y="3"/>
                  </a:lnTo>
                  <a:close/>
                  <a:moveTo>
                    <a:pt x="1530" y="152"/>
                  </a:moveTo>
                  <a:lnTo>
                    <a:pt x="1564" y="152"/>
                  </a:lnTo>
                  <a:lnTo>
                    <a:pt x="1547" y="41"/>
                  </a:lnTo>
                  <a:lnTo>
                    <a:pt x="1530" y="152"/>
                  </a:lnTo>
                  <a:close/>
                  <a:moveTo>
                    <a:pt x="1609" y="222"/>
                  </a:moveTo>
                  <a:lnTo>
                    <a:pt x="1574" y="222"/>
                  </a:lnTo>
                  <a:lnTo>
                    <a:pt x="1568" y="182"/>
                  </a:lnTo>
                  <a:lnTo>
                    <a:pt x="1526" y="182"/>
                  </a:lnTo>
                  <a:lnTo>
                    <a:pt x="1520" y="222"/>
                  </a:lnTo>
                  <a:lnTo>
                    <a:pt x="1489" y="222"/>
                  </a:lnTo>
                  <a:lnTo>
                    <a:pt x="1524" y="3"/>
                  </a:lnTo>
                  <a:lnTo>
                    <a:pt x="1574" y="3"/>
                  </a:lnTo>
                  <a:lnTo>
                    <a:pt x="1609" y="222"/>
                  </a:lnTo>
                  <a:close/>
                  <a:moveTo>
                    <a:pt x="1405" y="134"/>
                  </a:moveTo>
                  <a:lnTo>
                    <a:pt x="1394" y="154"/>
                  </a:lnTo>
                  <a:lnTo>
                    <a:pt x="1394" y="222"/>
                  </a:lnTo>
                  <a:lnTo>
                    <a:pt x="1360" y="222"/>
                  </a:lnTo>
                  <a:lnTo>
                    <a:pt x="1360" y="3"/>
                  </a:lnTo>
                  <a:lnTo>
                    <a:pt x="1394" y="3"/>
                  </a:lnTo>
                  <a:lnTo>
                    <a:pt x="1394" y="98"/>
                  </a:lnTo>
                  <a:lnTo>
                    <a:pt x="1440" y="3"/>
                  </a:lnTo>
                  <a:lnTo>
                    <a:pt x="1474" y="3"/>
                  </a:lnTo>
                  <a:lnTo>
                    <a:pt x="1426" y="101"/>
                  </a:lnTo>
                  <a:lnTo>
                    <a:pt x="1474" y="222"/>
                  </a:lnTo>
                  <a:lnTo>
                    <a:pt x="1439" y="222"/>
                  </a:lnTo>
                  <a:lnTo>
                    <a:pt x="1405" y="134"/>
                  </a:lnTo>
                  <a:close/>
                  <a:moveTo>
                    <a:pt x="1271" y="95"/>
                  </a:moveTo>
                  <a:lnTo>
                    <a:pt x="1318" y="95"/>
                  </a:lnTo>
                  <a:lnTo>
                    <a:pt x="1318" y="127"/>
                  </a:lnTo>
                  <a:lnTo>
                    <a:pt x="1271" y="127"/>
                  </a:lnTo>
                  <a:lnTo>
                    <a:pt x="1271" y="190"/>
                  </a:lnTo>
                  <a:lnTo>
                    <a:pt x="1331" y="190"/>
                  </a:lnTo>
                  <a:lnTo>
                    <a:pt x="1331" y="222"/>
                  </a:lnTo>
                  <a:lnTo>
                    <a:pt x="1237" y="222"/>
                  </a:lnTo>
                  <a:lnTo>
                    <a:pt x="1237" y="3"/>
                  </a:lnTo>
                  <a:lnTo>
                    <a:pt x="1331" y="3"/>
                  </a:lnTo>
                  <a:lnTo>
                    <a:pt x="1331" y="34"/>
                  </a:lnTo>
                  <a:lnTo>
                    <a:pt x="1271" y="34"/>
                  </a:lnTo>
                  <a:lnTo>
                    <a:pt x="1271" y="95"/>
                  </a:lnTo>
                  <a:close/>
                  <a:moveTo>
                    <a:pt x="1108" y="3"/>
                  </a:moveTo>
                  <a:lnTo>
                    <a:pt x="1214" y="3"/>
                  </a:lnTo>
                  <a:lnTo>
                    <a:pt x="1214" y="34"/>
                  </a:lnTo>
                  <a:lnTo>
                    <a:pt x="1178" y="34"/>
                  </a:lnTo>
                  <a:lnTo>
                    <a:pt x="1178" y="222"/>
                  </a:lnTo>
                  <a:lnTo>
                    <a:pt x="1144" y="222"/>
                  </a:lnTo>
                  <a:lnTo>
                    <a:pt x="1144" y="34"/>
                  </a:lnTo>
                  <a:lnTo>
                    <a:pt x="1108" y="34"/>
                  </a:lnTo>
                  <a:lnTo>
                    <a:pt x="1108" y="3"/>
                  </a:lnTo>
                  <a:close/>
                  <a:moveTo>
                    <a:pt x="1039" y="0"/>
                  </a:moveTo>
                  <a:lnTo>
                    <a:pt x="1044" y="0"/>
                  </a:lnTo>
                  <a:lnTo>
                    <a:pt x="1051" y="1"/>
                  </a:lnTo>
                  <a:lnTo>
                    <a:pt x="1056" y="2"/>
                  </a:lnTo>
                  <a:lnTo>
                    <a:pt x="1061" y="4"/>
                  </a:lnTo>
                  <a:lnTo>
                    <a:pt x="1066" y="6"/>
                  </a:lnTo>
                  <a:lnTo>
                    <a:pt x="1070" y="9"/>
                  </a:lnTo>
                  <a:lnTo>
                    <a:pt x="1073" y="12"/>
                  </a:lnTo>
                  <a:lnTo>
                    <a:pt x="1077" y="15"/>
                  </a:lnTo>
                  <a:lnTo>
                    <a:pt x="1079" y="18"/>
                  </a:lnTo>
                  <a:lnTo>
                    <a:pt x="1083" y="22"/>
                  </a:lnTo>
                  <a:lnTo>
                    <a:pt x="1085" y="28"/>
                  </a:lnTo>
                  <a:lnTo>
                    <a:pt x="1087" y="32"/>
                  </a:lnTo>
                  <a:lnTo>
                    <a:pt x="1088" y="37"/>
                  </a:lnTo>
                  <a:lnTo>
                    <a:pt x="1089" y="43"/>
                  </a:lnTo>
                  <a:lnTo>
                    <a:pt x="1090" y="49"/>
                  </a:lnTo>
                  <a:lnTo>
                    <a:pt x="1090" y="55"/>
                  </a:lnTo>
                  <a:lnTo>
                    <a:pt x="1090" y="62"/>
                  </a:lnTo>
                  <a:lnTo>
                    <a:pt x="1057" y="62"/>
                  </a:lnTo>
                  <a:lnTo>
                    <a:pt x="1057" y="53"/>
                  </a:lnTo>
                  <a:lnTo>
                    <a:pt x="1057" y="48"/>
                  </a:lnTo>
                  <a:lnTo>
                    <a:pt x="1056" y="43"/>
                  </a:lnTo>
                  <a:lnTo>
                    <a:pt x="1054" y="39"/>
                  </a:lnTo>
                  <a:lnTo>
                    <a:pt x="1053" y="36"/>
                  </a:lnTo>
                  <a:lnTo>
                    <a:pt x="1050" y="34"/>
                  </a:lnTo>
                  <a:lnTo>
                    <a:pt x="1048" y="33"/>
                  </a:lnTo>
                  <a:lnTo>
                    <a:pt x="1043" y="32"/>
                  </a:lnTo>
                  <a:lnTo>
                    <a:pt x="1040" y="32"/>
                  </a:lnTo>
                  <a:lnTo>
                    <a:pt x="1036" y="32"/>
                  </a:lnTo>
                  <a:lnTo>
                    <a:pt x="1033" y="33"/>
                  </a:lnTo>
                  <a:lnTo>
                    <a:pt x="1031" y="34"/>
                  </a:lnTo>
                  <a:lnTo>
                    <a:pt x="1030" y="34"/>
                  </a:lnTo>
                  <a:lnTo>
                    <a:pt x="1028" y="36"/>
                  </a:lnTo>
                  <a:lnTo>
                    <a:pt x="1025" y="39"/>
                  </a:lnTo>
                  <a:lnTo>
                    <a:pt x="1023" y="43"/>
                  </a:lnTo>
                  <a:lnTo>
                    <a:pt x="1023" y="48"/>
                  </a:lnTo>
                  <a:lnTo>
                    <a:pt x="1022" y="53"/>
                  </a:lnTo>
                  <a:lnTo>
                    <a:pt x="1022" y="57"/>
                  </a:lnTo>
                  <a:lnTo>
                    <a:pt x="1023" y="61"/>
                  </a:lnTo>
                  <a:lnTo>
                    <a:pt x="1025" y="69"/>
                  </a:lnTo>
                  <a:lnTo>
                    <a:pt x="1026" y="72"/>
                  </a:lnTo>
                  <a:lnTo>
                    <a:pt x="1029" y="75"/>
                  </a:lnTo>
                  <a:lnTo>
                    <a:pt x="1033" y="81"/>
                  </a:lnTo>
                  <a:lnTo>
                    <a:pt x="1038" y="88"/>
                  </a:lnTo>
                  <a:lnTo>
                    <a:pt x="1043" y="93"/>
                  </a:lnTo>
                  <a:lnTo>
                    <a:pt x="1056" y="105"/>
                  </a:lnTo>
                  <a:lnTo>
                    <a:pt x="1069" y="117"/>
                  </a:lnTo>
                  <a:lnTo>
                    <a:pt x="1074" y="124"/>
                  </a:lnTo>
                  <a:lnTo>
                    <a:pt x="1079" y="131"/>
                  </a:lnTo>
                  <a:lnTo>
                    <a:pt x="1084" y="140"/>
                  </a:lnTo>
                  <a:lnTo>
                    <a:pt x="1087" y="148"/>
                  </a:lnTo>
                  <a:lnTo>
                    <a:pt x="1089" y="159"/>
                  </a:lnTo>
                  <a:lnTo>
                    <a:pt x="1090" y="164"/>
                  </a:lnTo>
                  <a:lnTo>
                    <a:pt x="1090" y="169"/>
                  </a:lnTo>
                  <a:lnTo>
                    <a:pt x="1090" y="176"/>
                  </a:lnTo>
                  <a:lnTo>
                    <a:pt x="1089" y="182"/>
                  </a:lnTo>
                  <a:lnTo>
                    <a:pt x="1088" y="187"/>
                  </a:lnTo>
                  <a:lnTo>
                    <a:pt x="1087" y="193"/>
                  </a:lnTo>
                  <a:lnTo>
                    <a:pt x="1085" y="198"/>
                  </a:lnTo>
                  <a:lnTo>
                    <a:pt x="1083" y="202"/>
                  </a:lnTo>
                  <a:lnTo>
                    <a:pt x="1080" y="206"/>
                  </a:lnTo>
                  <a:lnTo>
                    <a:pt x="1077" y="211"/>
                  </a:lnTo>
                  <a:lnTo>
                    <a:pt x="1073" y="214"/>
                  </a:lnTo>
                  <a:lnTo>
                    <a:pt x="1070" y="217"/>
                  </a:lnTo>
                  <a:lnTo>
                    <a:pt x="1068" y="218"/>
                  </a:lnTo>
                  <a:lnTo>
                    <a:pt x="1066" y="219"/>
                  </a:lnTo>
                  <a:lnTo>
                    <a:pt x="1061" y="221"/>
                  </a:lnTo>
                  <a:lnTo>
                    <a:pt x="1056" y="222"/>
                  </a:lnTo>
                  <a:lnTo>
                    <a:pt x="1051" y="223"/>
                  </a:lnTo>
                  <a:lnTo>
                    <a:pt x="1044" y="224"/>
                  </a:lnTo>
                  <a:lnTo>
                    <a:pt x="1038" y="224"/>
                  </a:lnTo>
                  <a:lnTo>
                    <a:pt x="1033" y="224"/>
                  </a:lnTo>
                  <a:lnTo>
                    <a:pt x="1026" y="223"/>
                  </a:lnTo>
                  <a:lnTo>
                    <a:pt x="1021" y="222"/>
                  </a:lnTo>
                  <a:lnTo>
                    <a:pt x="1016" y="221"/>
                  </a:lnTo>
                  <a:lnTo>
                    <a:pt x="1012" y="219"/>
                  </a:lnTo>
                  <a:lnTo>
                    <a:pt x="1007" y="217"/>
                  </a:lnTo>
                  <a:lnTo>
                    <a:pt x="1003" y="214"/>
                  </a:lnTo>
                  <a:lnTo>
                    <a:pt x="1000" y="211"/>
                  </a:lnTo>
                  <a:lnTo>
                    <a:pt x="997" y="206"/>
                  </a:lnTo>
                  <a:lnTo>
                    <a:pt x="995" y="202"/>
                  </a:lnTo>
                  <a:lnTo>
                    <a:pt x="993" y="198"/>
                  </a:lnTo>
                  <a:lnTo>
                    <a:pt x="991" y="193"/>
                  </a:lnTo>
                  <a:lnTo>
                    <a:pt x="989" y="187"/>
                  </a:lnTo>
                  <a:lnTo>
                    <a:pt x="988" y="182"/>
                  </a:lnTo>
                  <a:lnTo>
                    <a:pt x="987" y="176"/>
                  </a:lnTo>
                  <a:lnTo>
                    <a:pt x="987" y="169"/>
                  </a:lnTo>
                  <a:lnTo>
                    <a:pt x="987" y="156"/>
                  </a:lnTo>
                  <a:lnTo>
                    <a:pt x="1020" y="156"/>
                  </a:lnTo>
                  <a:lnTo>
                    <a:pt x="1020" y="171"/>
                  </a:lnTo>
                  <a:lnTo>
                    <a:pt x="1020" y="177"/>
                  </a:lnTo>
                  <a:lnTo>
                    <a:pt x="1021" y="182"/>
                  </a:lnTo>
                  <a:lnTo>
                    <a:pt x="1021" y="183"/>
                  </a:lnTo>
                  <a:lnTo>
                    <a:pt x="1022" y="185"/>
                  </a:lnTo>
                  <a:lnTo>
                    <a:pt x="1024" y="188"/>
                  </a:lnTo>
                  <a:lnTo>
                    <a:pt x="1028" y="190"/>
                  </a:lnTo>
                  <a:lnTo>
                    <a:pt x="1031" y="191"/>
                  </a:lnTo>
                  <a:lnTo>
                    <a:pt x="1034" y="193"/>
                  </a:lnTo>
                  <a:lnTo>
                    <a:pt x="1038" y="193"/>
                  </a:lnTo>
                  <a:lnTo>
                    <a:pt x="1041" y="193"/>
                  </a:lnTo>
                  <a:lnTo>
                    <a:pt x="1046" y="191"/>
                  </a:lnTo>
                  <a:lnTo>
                    <a:pt x="1048" y="190"/>
                  </a:lnTo>
                  <a:lnTo>
                    <a:pt x="1051" y="188"/>
                  </a:lnTo>
                  <a:lnTo>
                    <a:pt x="1053" y="185"/>
                  </a:lnTo>
                  <a:lnTo>
                    <a:pt x="1054" y="182"/>
                  </a:lnTo>
                  <a:lnTo>
                    <a:pt x="1055" y="177"/>
                  </a:lnTo>
                  <a:lnTo>
                    <a:pt x="1055" y="171"/>
                  </a:lnTo>
                  <a:lnTo>
                    <a:pt x="1055" y="167"/>
                  </a:lnTo>
                  <a:lnTo>
                    <a:pt x="1055" y="164"/>
                  </a:lnTo>
                  <a:lnTo>
                    <a:pt x="1053" y="157"/>
                  </a:lnTo>
                  <a:lnTo>
                    <a:pt x="1051" y="152"/>
                  </a:lnTo>
                  <a:lnTo>
                    <a:pt x="1050" y="149"/>
                  </a:lnTo>
                  <a:lnTo>
                    <a:pt x="1044" y="143"/>
                  </a:lnTo>
                  <a:lnTo>
                    <a:pt x="1040" y="138"/>
                  </a:lnTo>
                  <a:lnTo>
                    <a:pt x="1034" y="131"/>
                  </a:lnTo>
                  <a:lnTo>
                    <a:pt x="1022" y="120"/>
                  </a:lnTo>
                  <a:lnTo>
                    <a:pt x="1010" y="108"/>
                  </a:lnTo>
                  <a:lnTo>
                    <a:pt x="1003" y="101"/>
                  </a:lnTo>
                  <a:lnTo>
                    <a:pt x="999" y="93"/>
                  </a:lnTo>
                  <a:lnTo>
                    <a:pt x="995" y="86"/>
                  </a:lnTo>
                  <a:lnTo>
                    <a:pt x="991" y="76"/>
                  </a:lnTo>
                  <a:lnTo>
                    <a:pt x="988" y="67"/>
                  </a:lnTo>
                  <a:lnTo>
                    <a:pt x="988" y="61"/>
                  </a:lnTo>
                  <a:lnTo>
                    <a:pt x="988" y="55"/>
                  </a:lnTo>
                  <a:lnTo>
                    <a:pt x="988" y="49"/>
                  </a:lnTo>
                  <a:lnTo>
                    <a:pt x="988" y="43"/>
                  </a:lnTo>
                  <a:lnTo>
                    <a:pt x="989" y="37"/>
                  </a:lnTo>
                  <a:lnTo>
                    <a:pt x="992" y="32"/>
                  </a:lnTo>
                  <a:lnTo>
                    <a:pt x="993" y="28"/>
                  </a:lnTo>
                  <a:lnTo>
                    <a:pt x="996" y="22"/>
                  </a:lnTo>
                  <a:lnTo>
                    <a:pt x="998" y="18"/>
                  </a:lnTo>
                  <a:lnTo>
                    <a:pt x="1001" y="15"/>
                  </a:lnTo>
                  <a:lnTo>
                    <a:pt x="1004" y="12"/>
                  </a:lnTo>
                  <a:lnTo>
                    <a:pt x="1008" y="9"/>
                  </a:lnTo>
                  <a:lnTo>
                    <a:pt x="1011" y="7"/>
                  </a:lnTo>
                  <a:lnTo>
                    <a:pt x="1013" y="6"/>
                  </a:lnTo>
                  <a:lnTo>
                    <a:pt x="1017" y="4"/>
                  </a:lnTo>
                  <a:lnTo>
                    <a:pt x="1022" y="2"/>
                  </a:lnTo>
                  <a:lnTo>
                    <a:pt x="1028" y="1"/>
                  </a:lnTo>
                  <a:lnTo>
                    <a:pt x="1033" y="0"/>
                  </a:lnTo>
                  <a:lnTo>
                    <a:pt x="1039" y="0"/>
                  </a:lnTo>
                  <a:close/>
                  <a:moveTo>
                    <a:pt x="904" y="95"/>
                  </a:moveTo>
                  <a:lnTo>
                    <a:pt x="951" y="95"/>
                  </a:lnTo>
                  <a:lnTo>
                    <a:pt x="951" y="127"/>
                  </a:lnTo>
                  <a:lnTo>
                    <a:pt x="904" y="127"/>
                  </a:lnTo>
                  <a:lnTo>
                    <a:pt x="904" y="190"/>
                  </a:lnTo>
                  <a:lnTo>
                    <a:pt x="963" y="190"/>
                  </a:lnTo>
                  <a:lnTo>
                    <a:pt x="963" y="222"/>
                  </a:lnTo>
                  <a:lnTo>
                    <a:pt x="870" y="222"/>
                  </a:lnTo>
                  <a:lnTo>
                    <a:pt x="870" y="3"/>
                  </a:lnTo>
                  <a:lnTo>
                    <a:pt x="963" y="3"/>
                  </a:lnTo>
                  <a:lnTo>
                    <a:pt x="963" y="34"/>
                  </a:lnTo>
                  <a:lnTo>
                    <a:pt x="904" y="34"/>
                  </a:lnTo>
                  <a:lnTo>
                    <a:pt x="904" y="95"/>
                  </a:lnTo>
                  <a:close/>
                  <a:moveTo>
                    <a:pt x="759" y="64"/>
                  </a:moveTo>
                  <a:lnTo>
                    <a:pt x="759" y="222"/>
                  </a:lnTo>
                  <a:lnTo>
                    <a:pt x="727" y="222"/>
                  </a:lnTo>
                  <a:lnTo>
                    <a:pt x="727" y="3"/>
                  </a:lnTo>
                  <a:lnTo>
                    <a:pt x="771" y="3"/>
                  </a:lnTo>
                  <a:lnTo>
                    <a:pt x="807" y="134"/>
                  </a:lnTo>
                  <a:lnTo>
                    <a:pt x="807" y="3"/>
                  </a:lnTo>
                  <a:lnTo>
                    <a:pt x="837" y="3"/>
                  </a:lnTo>
                  <a:lnTo>
                    <a:pt x="837" y="222"/>
                  </a:lnTo>
                  <a:lnTo>
                    <a:pt x="801" y="222"/>
                  </a:lnTo>
                  <a:lnTo>
                    <a:pt x="759" y="64"/>
                  </a:lnTo>
                  <a:close/>
                  <a:moveTo>
                    <a:pt x="628" y="171"/>
                  </a:moveTo>
                  <a:lnTo>
                    <a:pt x="628" y="177"/>
                  </a:lnTo>
                  <a:lnTo>
                    <a:pt x="629" y="182"/>
                  </a:lnTo>
                  <a:lnTo>
                    <a:pt x="630" y="184"/>
                  </a:lnTo>
                  <a:lnTo>
                    <a:pt x="630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8" y="193"/>
                  </a:lnTo>
                  <a:lnTo>
                    <a:pt x="642" y="193"/>
                  </a:lnTo>
                  <a:lnTo>
                    <a:pt x="646" y="194"/>
                  </a:lnTo>
                  <a:lnTo>
                    <a:pt x="649" y="193"/>
                  </a:lnTo>
                  <a:lnTo>
                    <a:pt x="653" y="193"/>
                  </a:lnTo>
                  <a:lnTo>
                    <a:pt x="656" y="190"/>
                  </a:lnTo>
                  <a:lnTo>
                    <a:pt x="658" y="188"/>
                  </a:lnTo>
                  <a:lnTo>
                    <a:pt x="661" y="185"/>
                  </a:lnTo>
                  <a:lnTo>
                    <a:pt x="662" y="182"/>
                  </a:lnTo>
                  <a:lnTo>
                    <a:pt x="663" y="177"/>
                  </a:lnTo>
                  <a:lnTo>
                    <a:pt x="664" y="171"/>
                  </a:lnTo>
                  <a:lnTo>
                    <a:pt x="664" y="53"/>
                  </a:lnTo>
                  <a:lnTo>
                    <a:pt x="663" y="48"/>
                  </a:lnTo>
                  <a:lnTo>
                    <a:pt x="662" y="43"/>
                  </a:lnTo>
                  <a:lnTo>
                    <a:pt x="662" y="41"/>
                  </a:lnTo>
                  <a:lnTo>
                    <a:pt x="661" y="39"/>
                  </a:lnTo>
                  <a:lnTo>
                    <a:pt x="658" y="36"/>
                  </a:lnTo>
                  <a:lnTo>
                    <a:pt x="656" y="34"/>
                  </a:lnTo>
                  <a:lnTo>
                    <a:pt x="653" y="33"/>
                  </a:lnTo>
                  <a:lnTo>
                    <a:pt x="649" y="32"/>
                  </a:lnTo>
                  <a:lnTo>
                    <a:pt x="646" y="32"/>
                  </a:lnTo>
                  <a:lnTo>
                    <a:pt x="642" y="32"/>
                  </a:lnTo>
                  <a:lnTo>
                    <a:pt x="638" y="33"/>
                  </a:lnTo>
                  <a:lnTo>
                    <a:pt x="635" y="34"/>
                  </a:lnTo>
                  <a:lnTo>
                    <a:pt x="632" y="36"/>
                  </a:lnTo>
                  <a:lnTo>
                    <a:pt x="630" y="39"/>
                  </a:lnTo>
                  <a:lnTo>
                    <a:pt x="629" y="43"/>
                  </a:lnTo>
                  <a:lnTo>
                    <a:pt x="628" y="48"/>
                  </a:lnTo>
                  <a:lnTo>
                    <a:pt x="628" y="53"/>
                  </a:lnTo>
                  <a:lnTo>
                    <a:pt x="628" y="171"/>
                  </a:lnTo>
                  <a:close/>
                  <a:moveTo>
                    <a:pt x="593" y="55"/>
                  </a:moveTo>
                  <a:lnTo>
                    <a:pt x="593" y="49"/>
                  </a:lnTo>
                  <a:lnTo>
                    <a:pt x="594" y="43"/>
                  </a:lnTo>
                  <a:lnTo>
                    <a:pt x="595" y="37"/>
                  </a:lnTo>
                  <a:lnTo>
                    <a:pt x="596" y="35"/>
                  </a:lnTo>
                  <a:lnTo>
                    <a:pt x="597" y="32"/>
                  </a:lnTo>
                  <a:lnTo>
                    <a:pt x="598" y="28"/>
                  </a:lnTo>
                  <a:lnTo>
                    <a:pt x="601" y="22"/>
                  </a:lnTo>
                  <a:lnTo>
                    <a:pt x="603" y="18"/>
                  </a:lnTo>
                  <a:lnTo>
                    <a:pt x="607" y="15"/>
                  </a:lnTo>
                  <a:lnTo>
                    <a:pt x="610" y="12"/>
                  </a:lnTo>
                  <a:lnTo>
                    <a:pt x="614" y="9"/>
                  </a:lnTo>
                  <a:lnTo>
                    <a:pt x="618" y="6"/>
                  </a:lnTo>
                  <a:lnTo>
                    <a:pt x="624" y="4"/>
                  </a:lnTo>
                  <a:lnTo>
                    <a:pt x="628" y="2"/>
                  </a:lnTo>
                  <a:lnTo>
                    <a:pt x="633" y="1"/>
                  </a:lnTo>
                  <a:lnTo>
                    <a:pt x="639" y="0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7" y="1"/>
                  </a:lnTo>
                  <a:lnTo>
                    <a:pt x="663" y="2"/>
                  </a:lnTo>
                  <a:lnTo>
                    <a:pt x="668" y="4"/>
                  </a:lnTo>
                  <a:lnTo>
                    <a:pt x="672" y="6"/>
                  </a:lnTo>
                  <a:lnTo>
                    <a:pt x="676" y="9"/>
                  </a:lnTo>
                  <a:lnTo>
                    <a:pt x="681" y="12"/>
                  </a:lnTo>
                  <a:lnTo>
                    <a:pt x="684" y="15"/>
                  </a:lnTo>
                  <a:lnTo>
                    <a:pt x="687" y="18"/>
                  </a:lnTo>
                  <a:lnTo>
                    <a:pt x="690" y="22"/>
                  </a:lnTo>
                  <a:lnTo>
                    <a:pt x="692" y="28"/>
                  </a:lnTo>
                  <a:lnTo>
                    <a:pt x="694" y="32"/>
                  </a:lnTo>
                  <a:lnTo>
                    <a:pt x="695" y="37"/>
                  </a:lnTo>
                  <a:lnTo>
                    <a:pt x="697" y="43"/>
                  </a:lnTo>
                  <a:lnTo>
                    <a:pt x="698" y="49"/>
                  </a:lnTo>
                  <a:lnTo>
                    <a:pt x="698" y="55"/>
                  </a:lnTo>
                  <a:lnTo>
                    <a:pt x="698" y="169"/>
                  </a:lnTo>
                  <a:lnTo>
                    <a:pt x="698" y="176"/>
                  </a:lnTo>
                  <a:lnTo>
                    <a:pt x="697" y="182"/>
                  </a:lnTo>
                  <a:lnTo>
                    <a:pt x="695" y="187"/>
                  </a:lnTo>
                  <a:lnTo>
                    <a:pt x="695" y="190"/>
                  </a:lnTo>
                  <a:lnTo>
                    <a:pt x="694" y="193"/>
                  </a:lnTo>
                  <a:lnTo>
                    <a:pt x="692" y="198"/>
                  </a:lnTo>
                  <a:lnTo>
                    <a:pt x="690" y="202"/>
                  </a:lnTo>
                  <a:lnTo>
                    <a:pt x="687" y="206"/>
                  </a:lnTo>
                  <a:lnTo>
                    <a:pt x="684" y="211"/>
                  </a:lnTo>
                  <a:lnTo>
                    <a:pt x="681" y="214"/>
                  </a:lnTo>
                  <a:lnTo>
                    <a:pt x="676" y="217"/>
                  </a:lnTo>
                  <a:lnTo>
                    <a:pt x="672" y="219"/>
                  </a:lnTo>
                  <a:lnTo>
                    <a:pt x="668" y="221"/>
                  </a:lnTo>
                  <a:lnTo>
                    <a:pt x="663" y="222"/>
                  </a:lnTo>
                  <a:lnTo>
                    <a:pt x="657" y="223"/>
                  </a:lnTo>
                  <a:lnTo>
                    <a:pt x="652" y="224"/>
                  </a:lnTo>
                  <a:lnTo>
                    <a:pt x="646" y="224"/>
                  </a:lnTo>
                  <a:lnTo>
                    <a:pt x="639" y="224"/>
                  </a:lnTo>
                  <a:lnTo>
                    <a:pt x="633" y="223"/>
                  </a:lnTo>
                  <a:lnTo>
                    <a:pt x="628" y="222"/>
                  </a:lnTo>
                  <a:lnTo>
                    <a:pt x="624" y="221"/>
                  </a:lnTo>
                  <a:lnTo>
                    <a:pt x="618" y="219"/>
                  </a:lnTo>
                  <a:lnTo>
                    <a:pt x="614" y="217"/>
                  </a:lnTo>
                  <a:lnTo>
                    <a:pt x="610" y="214"/>
                  </a:lnTo>
                  <a:lnTo>
                    <a:pt x="607" y="211"/>
                  </a:lnTo>
                  <a:lnTo>
                    <a:pt x="603" y="206"/>
                  </a:lnTo>
                  <a:lnTo>
                    <a:pt x="601" y="202"/>
                  </a:lnTo>
                  <a:lnTo>
                    <a:pt x="598" y="198"/>
                  </a:lnTo>
                  <a:lnTo>
                    <a:pt x="597" y="193"/>
                  </a:lnTo>
                  <a:lnTo>
                    <a:pt x="595" y="187"/>
                  </a:lnTo>
                  <a:lnTo>
                    <a:pt x="594" y="182"/>
                  </a:lnTo>
                  <a:lnTo>
                    <a:pt x="593" y="176"/>
                  </a:lnTo>
                  <a:lnTo>
                    <a:pt x="593" y="169"/>
                  </a:lnTo>
                  <a:lnTo>
                    <a:pt x="593" y="55"/>
                  </a:lnTo>
                  <a:close/>
                  <a:moveTo>
                    <a:pt x="467" y="3"/>
                  </a:moveTo>
                  <a:lnTo>
                    <a:pt x="573" y="3"/>
                  </a:lnTo>
                  <a:lnTo>
                    <a:pt x="573" y="34"/>
                  </a:lnTo>
                  <a:lnTo>
                    <a:pt x="537" y="34"/>
                  </a:lnTo>
                  <a:lnTo>
                    <a:pt x="537" y="222"/>
                  </a:lnTo>
                  <a:lnTo>
                    <a:pt x="503" y="222"/>
                  </a:lnTo>
                  <a:lnTo>
                    <a:pt x="503" y="34"/>
                  </a:lnTo>
                  <a:lnTo>
                    <a:pt x="467" y="34"/>
                  </a:lnTo>
                  <a:lnTo>
                    <a:pt x="467" y="3"/>
                  </a:lnTo>
                  <a:close/>
                  <a:moveTo>
                    <a:pt x="348" y="3"/>
                  </a:moveTo>
                  <a:lnTo>
                    <a:pt x="454" y="3"/>
                  </a:lnTo>
                  <a:lnTo>
                    <a:pt x="454" y="34"/>
                  </a:lnTo>
                  <a:lnTo>
                    <a:pt x="417" y="34"/>
                  </a:lnTo>
                  <a:lnTo>
                    <a:pt x="417" y="222"/>
                  </a:lnTo>
                  <a:lnTo>
                    <a:pt x="383" y="222"/>
                  </a:lnTo>
                  <a:lnTo>
                    <a:pt x="383" y="34"/>
                  </a:lnTo>
                  <a:lnTo>
                    <a:pt x="348" y="34"/>
                  </a:lnTo>
                  <a:lnTo>
                    <a:pt x="348" y="3"/>
                  </a:lnTo>
                  <a:close/>
                  <a:moveTo>
                    <a:pt x="259" y="3"/>
                  </a:moveTo>
                  <a:lnTo>
                    <a:pt x="294" y="3"/>
                  </a:lnTo>
                  <a:lnTo>
                    <a:pt x="294" y="190"/>
                  </a:lnTo>
                  <a:lnTo>
                    <a:pt x="350" y="190"/>
                  </a:lnTo>
                  <a:lnTo>
                    <a:pt x="350" y="222"/>
                  </a:lnTo>
                  <a:lnTo>
                    <a:pt x="259" y="222"/>
                  </a:lnTo>
                  <a:lnTo>
                    <a:pt x="259" y="3"/>
                  </a:lnTo>
                  <a:close/>
                  <a:moveTo>
                    <a:pt x="159" y="171"/>
                  </a:moveTo>
                  <a:lnTo>
                    <a:pt x="159" y="177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1" y="185"/>
                  </a:lnTo>
                  <a:lnTo>
                    <a:pt x="164" y="188"/>
                  </a:lnTo>
                  <a:lnTo>
                    <a:pt x="167" y="190"/>
                  </a:lnTo>
                  <a:lnTo>
                    <a:pt x="169" y="193"/>
                  </a:lnTo>
                  <a:lnTo>
                    <a:pt x="173" y="193"/>
                  </a:lnTo>
                  <a:lnTo>
                    <a:pt x="176" y="194"/>
                  </a:lnTo>
                  <a:lnTo>
                    <a:pt x="180" y="193"/>
                  </a:lnTo>
                  <a:lnTo>
                    <a:pt x="184" y="193"/>
                  </a:lnTo>
                  <a:lnTo>
                    <a:pt x="187" y="190"/>
                  </a:lnTo>
                  <a:lnTo>
                    <a:pt x="190" y="188"/>
                  </a:lnTo>
                  <a:lnTo>
                    <a:pt x="192" y="185"/>
                  </a:lnTo>
                  <a:lnTo>
                    <a:pt x="193" y="182"/>
                  </a:lnTo>
                  <a:lnTo>
                    <a:pt x="194" y="177"/>
                  </a:lnTo>
                  <a:lnTo>
                    <a:pt x="194" y="171"/>
                  </a:lnTo>
                  <a:lnTo>
                    <a:pt x="194" y="53"/>
                  </a:lnTo>
                  <a:lnTo>
                    <a:pt x="194" y="48"/>
                  </a:lnTo>
                  <a:lnTo>
                    <a:pt x="193" y="43"/>
                  </a:lnTo>
                  <a:lnTo>
                    <a:pt x="192" y="41"/>
                  </a:lnTo>
                  <a:lnTo>
                    <a:pt x="192" y="39"/>
                  </a:lnTo>
                  <a:lnTo>
                    <a:pt x="190" y="36"/>
                  </a:lnTo>
                  <a:lnTo>
                    <a:pt x="187" y="34"/>
                  </a:lnTo>
                  <a:lnTo>
                    <a:pt x="184" y="33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3" y="32"/>
                  </a:lnTo>
                  <a:lnTo>
                    <a:pt x="169" y="33"/>
                  </a:lnTo>
                  <a:lnTo>
                    <a:pt x="167" y="34"/>
                  </a:lnTo>
                  <a:lnTo>
                    <a:pt x="164" y="36"/>
                  </a:lnTo>
                  <a:lnTo>
                    <a:pt x="161" y="39"/>
                  </a:lnTo>
                  <a:lnTo>
                    <a:pt x="160" y="43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9" y="171"/>
                  </a:lnTo>
                  <a:close/>
                  <a:moveTo>
                    <a:pt x="124" y="55"/>
                  </a:moveTo>
                  <a:lnTo>
                    <a:pt x="124" y="49"/>
                  </a:lnTo>
                  <a:lnTo>
                    <a:pt x="125" y="43"/>
                  </a:lnTo>
                  <a:lnTo>
                    <a:pt x="127" y="37"/>
                  </a:lnTo>
                  <a:lnTo>
                    <a:pt x="127" y="35"/>
                  </a:lnTo>
                  <a:lnTo>
                    <a:pt x="128" y="32"/>
                  </a:lnTo>
                  <a:lnTo>
                    <a:pt x="130" y="28"/>
                  </a:lnTo>
                  <a:lnTo>
                    <a:pt x="132" y="22"/>
                  </a:lnTo>
                  <a:lnTo>
                    <a:pt x="135" y="18"/>
                  </a:lnTo>
                  <a:lnTo>
                    <a:pt x="138" y="15"/>
                  </a:lnTo>
                  <a:lnTo>
                    <a:pt x="141" y="12"/>
                  </a:lnTo>
                  <a:lnTo>
                    <a:pt x="146" y="9"/>
                  </a:lnTo>
                  <a:lnTo>
                    <a:pt x="150" y="6"/>
                  </a:lnTo>
                  <a:lnTo>
                    <a:pt x="154" y="4"/>
                  </a:lnTo>
                  <a:lnTo>
                    <a:pt x="159" y="2"/>
                  </a:lnTo>
                  <a:lnTo>
                    <a:pt x="165" y="1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3" y="0"/>
                  </a:lnTo>
                  <a:lnTo>
                    <a:pt x="189" y="1"/>
                  </a:lnTo>
                  <a:lnTo>
                    <a:pt x="194" y="2"/>
                  </a:lnTo>
                  <a:lnTo>
                    <a:pt x="199" y="4"/>
                  </a:lnTo>
                  <a:lnTo>
                    <a:pt x="204" y="6"/>
                  </a:lnTo>
                  <a:lnTo>
                    <a:pt x="208" y="9"/>
                  </a:lnTo>
                  <a:lnTo>
                    <a:pt x="212" y="12"/>
                  </a:lnTo>
                  <a:lnTo>
                    <a:pt x="215" y="15"/>
                  </a:lnTo>
                  <a:lnTo>
                    <a:pt x="219" y="18"/>
                  </a:lnTo>
                  <a:lnTo>
                    <a:pt x="222" y="22"/>
                  </a:lnTo>
                  <a:lnTo>
                    <a:pt x="224" y="28"/>
                  </a:lnTo>
                  <a:lnTo>
                    <a:pt x="226" y="32"/>
                  </a:lnTo>
                  <a:lnTo>
                    <a:pt x="227" y="37"/>
                  </a:lnTo>
                  <a:lnTo>
                    <a:pt x="228" y="43"/>
                  </a:lnTo>
                  <a:lnTo>
                    <a:pt x="229" y="49"/>
                  </a:lnTo>
                  <a:lnTo>
                    <a:pt x="229" y="55"/>
                  </a:lnTo>
                  <a:lnTo>
                    <a:pt x="229" y="169"/>
                  </a:lnTo>
                  <a:lnTo>
                    <a:pt x="229" y="176"/>
                  </a:lnTo>
                  <a:lnTo>
                    <a:pt x="228" y="182"/>
                  </a:lnTo>
                  <a:lnTo>
                    <a:pt x="227" y="187"/>
                  </a:lnTo>
                  <a:lnTo>
                    <a:pt x="226" y="190"/>
                  </a:lnTo>
                  <a:lnTo>
                    <a:pt x="226" y="193"/>
                  </a:lnTo>
                  <a:lnTo>
                    <a:pt x="224" y="198"/>
                  </a:lnTo>
                  <a:lnTo>
                    <a:pt x="222" y="202"/>
                  </a:lnTo>
                  <a:lnTo>
                    <a:pt x="219" y="206"/>
                  </a:lnTo>
                  <a:lnTo>
                    <a:pt x="215" y="211"/>
                  </a:lnTo>
                  <a:lnTo>
                    <a:pt x="212" y="214"/>
                  </a:lnTo>
                  <a:lnTo>
                    <a:pt x="208" y="217"/>
                  </a:lnTo>
                  <a:lnTo>
                    <a:pt x="204" y="219"/>
                  </a:lnTo>
                  <a:lnTo>
                    <a:pt x="199" y="221"/>
                  </a:lnTo>
                  <a:lnTo>
                    <a:pt x="194" y="222"/>
                  </a:lnTo>
                  <a:lnTo>
                    <a:pt x="189" y="223"/>
                  </a:lnTo>
                  <a:lnTo>
                    <a:pt x="183" y="224"/>
                  </a:lnTo>
                  <a:lnTo>
                    <a:pt x="176" y="224"/>
                  </a:lnTo>
                  <a:lnTo>
                    <a:pt x="171" y="224"/>
                  </a:lnTo>
                  <a:lnTo>
                    <a:pt x="165" y="223"/>
                  </a:lnTo>
                  <a:lnTo>
                    <a:pt x="159" y="222"/>
                  </a:lnTo>
                  <a:lnTo>
                    <a:pt x="154" y="221"/>
                  </a:lnTo>
                  <a:lnTo>
                    <a:pt x="150" y="219"/>
                  </a:lnTo>
                  <a:lnTo>
                    <a:pt x="146" y="217"/>
                  </a:lnTo>
                  <a:lnTo>
                    <a:pt x="141" y="214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32" y="202"/>
                  </a:lnTo>
                  <a:lnTo>
                    <a:pt x="130" y="198"/>
                  </a:lnTo>
                  <a:lnTo>
                    <a:pt x="128" y="193"/>
                  </a:lnTo>
                  <a:lnTo>
                    <a:pt x="127" y="187"/>
                  </a:lnTo>
                  <a:lnTo>
                    <a:pt x="125" y="182"/>
                  </a:lnTo>
                  <a:lnTo>
                    <a:pt x="124" y="176"/>
                  </a:lnTo>
                  <a:lnTo>
                    <a:pt x="124" y="169"/>
                  </a:lnTo>
                  <a:lnTo>
                    <a:pt x="124" y="55"/>
                  </a:lnTo>
                  <a:close/>
                  <a:moveTo>
                    <a:pt x="35" y="34"/>
                  </a:moveTo>
                  <a:lnTo>
                    <a:pt x="35" y="108"/>
                  </a:lnTo>
                  <a:lnTo>
                    <a:pt x="50" y="108"/>
                  </a:lnTo>
                  <a:lnTo>
                    <a:pt x="55" y="108"/>
                  </a:lnTo>
                  <a:lnTo>
                    <a:pt x="58" y="107"/>
                  </a:lnTo>
                  <a:lnTo>
                    <a:pt x="61" y="106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66" y="97"/>
                  </a:lnTo>
                  <a:lnTo>
                    <a:pt x="67" y="93"/>
                  </a:lnTo>
                  <a:lnTo>
                    <a:pt x="67" y="88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6" y="44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1" y="36"/>
                  </a:lnTo>
                  <a:lnTo>
                    <a:pt x="58" y="35"/>
                  </a:lnTo>
                  <a:lnTo>
                    <a:pt x="55" y="34"/>
                  </a:lnTo>
                  <a:lnTo>
                    <a:pt x="50" y="34"/>
                  </a:lnTo>
                  <a:lnTo>
                    <a:pt x="35" y="34"/>
                  </a:lnTo>
                  <a:close/>
                  <a:moveTo>
                    <a:pt x="102" y="57"/>
                  </a:moveTo>
                  <a:lnTo>
                    <a:pt x="102" y="86"/>
                  </a:lnTo>
                  <a:lnTo>
                    <a:pt x="101" y="92"/>
                  </a:lnTo>
                  <a:lnTo>
                    <a:pt x="101" y="97"/>
                  </a:lnTo>
                  <a:lnTo>
                    <a:pt x="100" y="104"/>
                  </a:lnTo>
                  <a:lnTo>
                    <a:pt x="99" y="109"/>
                  </a:lnTo>
                  <a:lnTo>
                    <a:pt x="97" y="113"/>
                  </a:lnTo>
                  <a:lnTo>
                    <a:pt x="95" y="118"/>
                  </a:lnTo>
                  <a:lnTo>
                    <a:pt x="92" y="122"/>
                  </a:lnTo>
                  <a:lnTo>
                    <a:pt x="89" y="126"/>
                  </a:lnTo>
                  <a:lnTo>
                    <a:pt x="85" y="129"/>
                  </a:lnTo>
                  <a:lnTo>
                    <a:pt x="82" y="132"/>
                  </a:lnTo>
                  <a:lnTo>
                    <a:pt x="78" y="134"/>
                  </a:lnTo>
                  <a:lnTo>
                    <a:pt x="73" y="136"/>
                  </a:lnTo>
                  <a:lnTo>
                    <a:pt x="68" y="138"/>
                  </a:lnTo>
                  <a:lnTo>
                    <a:pt x="62" y="139"/>
                  </a:lnTo>
                  <a:lnTo>
                    <a:pt x="57" y="140"/>
                  </a:lnTo>
                  <a:lnTo>
                    <a:pt x="50" y="140"/>
                  </a:lnTo>
                  <a:lnTo>
                    <a:pt x="35" y="140"/>
                  </a:lnTo>
                  <a:lnTo>
                    <a:pt x="35" y="222"/>
                  </a:lnTo>
                  <a:lnTo>
                    <a:pt x="0" y="222"/>
                  </a:lnTo>
                  <a:lnTo>
                    <a:pt x="0" y="3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2" y="3"/>
                  </a:lnTo>
                  <a:lnTo>
                    <a:pt x="68" y="4"/>
                  </a:lnTo>
                  <a:lnTo>
                    <a:pt x="73" y="6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9" y="17"/>
                  </a:lnTo>
                  <a:lnTo>
                    <a:pt x="92" y="20"/>
                  </a:lnTo>
                  <a:lnTo>
                    <a:pt x="95" y="24"/>
                  </a:lnTo>
                  <a:lnTo>
                    <a:pt x="97" y="29"/>
                  </a:lnTo>
                  <a:lnTo>
                    <a:pt x="99" y="34"/>
                  </a:lnTo>
                  <a:lnTo>
                    <a:pt x="100" y="39"/>
                  </a:lnTo>
                  <a:lnTo>
                    <a:pt x="101" y="44"/>
                  </a:lnTo>
                  <a:lnTo>
                    <a:pt x="101" y="51"/>
                  </a:lnTo>
                  <a:lnTo>
                    <a:pt x="10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15517506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2D0C3A-19CF-40E3-BD08-074B0CA64A94}" type="datetime1">
              <a:rPr lang="fi-FI" smtClean="0"/>
              <a:t>28.2.2018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2"/>
            <p:cNvSpPr>
              <a:spLocks noEditPoints="1"/>
            </p:cNvSpPr>
            <p:nvPr userDrawn="1"/>
          </p:nvSpPr>
          <p:spPr bwMode="auto">
            <a:xfrm>
              <a:off x="8841484" y="6473685"/>
              <a:ext cx="2006400" cy="211200"/>
            </a:xfrm>
            <a:custGeom>
              <a:avLst/>
              <a:gdLst>
                <a:gd name="T0" fmla="*/ 2042 w 2127"/>
                <a:gd name="T1" fmla="*/ 3 h 225"/>
                <a:gd name="T2" fmla="*/ 1959 w 2127"/>
                <a:gd name="T3" fmla="*/ 97 h 225"/>
                <a:gd name="T4" fmla="*/ 1943 w 2127"/>
                <a:gd name="T5" fmla="*/ 34 h 225"/>
                <a:gd name="T6" fmla="*/ 1982 w 2127"/>
                <a:gd name="T7" fmla="*/ 126 h 225"/>
                <a:gd name="T8" fmla="*/ 1893 w 2127"/>
                <a:gd name="T9" fmla="*/ 222 h 225"/>
                <a:gd name="T10" fmla="*/ 1985 w 2127"/>
                <a:gd name="T11" fmla="*/ 20 h 225"/>
                <a:gd name="T12" fmla="*/ 1820 w 2127"/>
                <a:gd name="T13" fmla="*/ 108 h 225"/>
                <a:gd name="T14" fmla="*/ 1830 w 2127"/>
                <a:gd name="T15" fmla="*/ 41 h 225"/>
                <a:gd name="T16" fmla="*/ 1865 w 2127"/>
                <a:gd name="T17" fmla="*/ 104 h 225"/>
                <a:gd name="T18" fmla="*/ 1828 w 2127"/>
                <a:gd name="T19" fmla="*/ 139 h 225"/>
                <a:gd name="T20" fmla="*/ 1839 w 2127"/>
                <a:gd name="T21" fmla="*/ 6 h 225"/>
                <a:gd name="T22" fmla="*/ 1867 w 2127"/>
                <a:gd name="T23" fmla="*/ 51 h 225"/>
                <a:gd name="T24" fmla="*/ 1680 w 2127"/>
                <a:gd name="T25" fmla="*/ 193 h 225"/>
                <a:gd name="T26" fmla="*/ 1734 w 2127"/>
                <a:gd name="T27" fmla="*/ 3 h 225"/>
                <a:gd name="T28" fmla="*/ 1714 w 2127"/>
                <a:gd name="T29" fmla="*/ 217 h 225"/>
                <a:gd name="T30" fmla="*/ 1660 w 2127"/>
                <a:gd name="T31" fmla="*/ 221 h 225"/>
                <a:gd name="T32" fmla="*/ 1631 w 2127"/>
                <a:gd name="T33" fmla="*/ 176 h 225"/>
                <a:gd name="T34" fmla="*/ 1526 w 2127"/>
                <a:gd name="T35" fmla="*/ 182 h 225"/>
                <a:gd name="T36" fmla="*/ 1394 w 2127"/>
                <a:gd name="T37" fmla="*/ 3 h 225"/>
                <a:gd name="T38" fmla="*/ 1271 w 2127"/>
                <a:gd name="T39" fmla="*/ 127 h 225"/>
                <a:gd name="T40" fmla="*/ 1214 w 2127"/>
                <a:gd name="T41" fmla="*/ 3 h 225"/>
                <a:gd name="T42" fmla="*/ 1056 w 2127"/>
                <a:gd name="T43" fmla="*/ 2 h 225"/>
                <a:gd name="T44" fmla="*/ 1089 w 2127"/>
                <a:gd name="T45" fmla="*/ 43 h 225"/>
                <a:gd name="T46" fmla="*/ 1048 w 2127"/>
                <a:gd name="T47" fmla="*/ 33 h 225"/>
                <a:gd name="T48" fmla="*/ 1022 w 2127"/>
                <a:gd name="T49" fmla="*/ 53 h 225"/>
                <a:gd name="T50" fmla="*/ 1074 w 2127"/>
                <a:gd name="T51" fmla="*/ 124 h 225"/>
                <a:gd name="T52" fmla="*/ 1085 w 2127"/>
                <a:gd name="T53" fmla="*/ 198 h 225"/>
                <a:gd name="T54" fmla="*/ 1044 w 2127"/>
                <a:gd name="T55" fmla="*/ 224 h 225"/>
                <a:gd name="T56" fmla="*/ 995 w 2127"/>
                <a:gd name="T57" fmla="*/ 202 h 225"/>
                <a:gd name="T58" fmla="*/ 1021 w 2127"/>
                <a:gd name="T59" fmla="*/ 182 h 225"/>
                <a:gd name="T60" fmla="*/ 1051 w 2127"/>
                <a:gd name="T61" fmla="*/ 188 h 225"/>
                <a:gd name="T62" fmla="*/ 1040 w 2127"/>
                <a:gd name="T63" fmla="*/ 138 h 225"/>
                <a:gd name="T64" fmla="*/ 988 w 2127"/>
                <a:gd name="T65" fmla="*/ 49 h 225"/>
                <a:gd name="T66" fmla="*/ 1013 w 2127"/>
                <a:gd name="T67" fmla="*/ 6 h 225"/>
                <a:gd name="T68" fmla="*/ 963 w 2127"/>
                <a:gd name="T69" fmla="*/ 190 h 225"/>
                <a:gd name="T70" fmla="*/ 727 w 2127"/>
                <a:gd name="T71" fmla="*/ 3 h 225"/>
                <a:gd name="T72" fmla="*/ 630 w 2127"/>
                <a:gd name="T73" fmla="*/ 184 h 225"/>
                <a:gd name="T74" fmla="*/ 661 w 2127"/>
                <a:gd name="T75" fmla="*/ 185 h 225"/>
                <a:gd name="T76" fmla="*/ 653 w 2127"/>
                <a:gd name="T77" fmla="*/ 33 h 225"/>
                <a:gd name="T78" fmla="*/ 628 w 2127"/>
                <a:gd name="T79" fmla="*/ 171 h 225"/>
                <a:gd name="T80" fmla="*/ 610 w 2127"/>
                <a:gd name="T81" fmla="*/ 12 h 225"/>
                <a:gd name="T82" fmla="*/ 668 w 2127"/>
                <a:gd name="T83" fmla="*/ 4 h 225"/>
                <a:gd name="T84" fmla="*/ 698 w 2127"/>
                <a:gd name="T85" fmla="*/ 49 h 225"/>
                <a:gd name="T86" fmla="*/ 684 w 2127"/>
                <a:gd name="T87" fmla="*/ 211 h 225"/>
                <a:gd name="T88" fmla="*/ 628 w 2127"/>
                <a:gd name="T89" fmla="*/ 222 h 225"/>
                <a:gd name="T90" fmla="*/ 594 w 2127"/>
                <a:gd name="T91" fmla="*/ 182 h 225"/>
                <a:gd name="T92" fmla="*/ 467 w 2127"/>
                <a:gd name="T93" fmla="*/ 34 h 225"/>
                <a:gd name="T94" fmla="*/ 259 w 2127"/>
                <a:gd name="T95" fmla="*/ 3 h 225"/>
                <a:gd name="T96" fmla="*/ 161 w 2127"/>
                <a:gd name="T97" fmla="*/ 185 h 225"/>
                <a:gd name="T98" fmla="*/ 193 w 2127"/>
                <a:gd name="T99" fmla="*/ 182 h 225"/>
                <a:gd name="T100" fmla="*/ 180 w 2127"/>
                <a:gd name="T101" fmla="*/ 32 h 225"/>
                <a:gd name="T102" fmla="*/ 124 w 2127"/>
                <a:gd name="T103" fmla="*/ 55 h 225"/>
                <a:gd name="T104" fmla="*/ 146 w 2127"/>
                <a:gd name="T105" fmla="*/ 9 h 225"/>
                <a:gd name="T106" fmla="*/ 204 w 2127"/>
                <a:gd name="T107" fmla="*/ 6 h 225"/>
                <a:gd name="T108" fmla="*/ 229 w 2127"/>
                <a:gd name="T109" fmla="*/ 55 h 225"/>
                <a:gd name="T110" fmla="*/ 212 w 2127"/>
                <a:gd name="T111" fmla="*/ 214 h 225"/>
                <a:gd name="T112" fmla="*/ 154 w 2127"/>
                <a:gd name="T113" fmla="*/ 221 h 225"/>
                <a:gd name="T114" fmla="*/ 124 w 2127"/>
                <a:gd name="T115" fmla="*/ 176 h 225"/>
                <a:gd name="T116" fmla="*/ 66 w 2127"/>
                <a:gd name="T117" fmla="*/ 97 h 225"/>
                <a:gd name="T118" fmla="*/ 50 w 2127"/>
                <a:gd name="T119" fmla="*/ 34 h 225"/>
                <a:gd name="T120" fmla="*/ 89 w 2127"/>
                <a:gd name="T121" fmla="*/ 126 h 225"/>
                <a:gd name="T122" fmla="*/ 0 w 2127"/>
                <a:gd name="T123" fmla="*/ 222 h 225"/>
                <a:gd name="T124" fmla="*/ 92 w 2127"/>
                <a:gd name="T125" fmla="*/ 2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7" h="225">
                  <a:moveTo>
                    <a:pt x="2049" y="152"/>
                  </a:moveTo>
                  <a:lnTo>
                    <a:pt x="2082" y="152"/>
                  </a:lnTo>
                  <a:lnTo>
                    <a:pt x="2066" y="41"/>
                  </a:lnTo>
                  <a:lnTo>
                    <a:pt x="2049" y="152"/>
                  </a:lnTo>
                  <a:close/>
                  <a:moveTo>
                    <a:pt x="2127" y="222"/>
                  </a:moveTo>
                  <a:lnTo>
                    <a:pt x="2092" y="222"/>
                  </a:lnTo>
                  <a:lnTo>
                    <a:pt x="2087" y="182"/>
                  </a:lnTo>
                  <a:lnTo>
                    <a:pt x="2045" y="182"/>
                  </a:lnTo>
                  <a:lnTo>
                    <a:pt x="2039" y="222"/>
                  </a:lnTo>
                  <a:lnTo>
                    <a:pt x="2007" y="222"/>
                  </a:lnTo>
                  <a:lnTo>
                    <a:pt x="2042" y="3"/>
                  </a:lnTo>
                  <a:lnTo>
                    <a:pt x="2092" y="3"/>
                  </a:lnTo>
                  <a:lnTo>
                    <a:pt x="2127" y="222"/>
                  </a:lnTo>
                  <a:close/>
                  <a:moveTo>
                    <a:pt x="1927" y="34"/>
                  </a:moveTo>
                  <a:lnTo>
                    <a:pt x="1927" y="108"/>
                  </a:lnTo>
                  <a:lnTo>
                    <a:pt x="1943" y="108"/>
                  </a:lnTo>
                  <a:lnTo>
                    <a:pt x="1948" y="108"/>
                  </a:lnTo>
                  <a:lnTo>
                    <a:pt x="1951" y="107"/>
                  </a:lnTo>
                  <a:lnTo>
                    <a:pt x="1954" y="106"/>
                  </a:lnTo>
                  <a:lnTo>
                    <a:pt x="1956" y="104"/>
                  </a:lnTo>
                  <a:lnTo>
                    <a:pt x="1958" y="102"/>
                  </a:lnTo>
                  <a:lnTo>
                    <a:pt x="1959" y="97"/>
                  </a:lnTo>
                  <a:lnTo>
                    <a:pt x="1960" y="93"/>
                  </a:lnTo>
                  <a:lnTo>
                    <a:pt x="1960" y="88"/>
                  </a:lnTo>
                  <a:lnTo>
                    <a:pt x="1960" y="55"/>
                  </a:lnTo>
                  <a:lnTo>
                    <a:pt x="1960" y="50"/>
                  </a:lnTo>
                  <a:lnTo>
                    <a:pt x="1959" y="44"/>
                  </a:lnTo>
                  <a:lnTo>
                    <a:pt x="1958" y="41"/>
                  </a:lnTo>
                  <a:lnTo>
                    <a:pt x="1956" y="38"/>
                  </a:lnTo>
                  <a:lnTo>
                    <a:pt x="1954" y="36"/>
                  </a:lnTo>
                  <a:lnTo>
                    <a:pt x="1951" y="35"/>
                  </a:lnTo>
                  <a:lnTo>
                    <a:pt x="1948" y="34"/>
                  </a:lnTo>
                  <a:lnTo>
                    <a:pt x="1943" y="34"/>
                  </a:lnTo>
                  <a:lnTo>
                    <a:pt x="1927" y="34"/>
                  </a:lnTo>
                  <a:close/>
                  <a:moveTo>
                    <a:pt x="1995" y="57"/>
                  </a:moveTo>
                  <a:lnTo>
                    <a:pt x="1995" y="86"/>
                  </a:lnTo>
                  <a:lnTo>
                    <a:pt x="1994" y="92"/>
                  </a:lnTo>
                  <a:lnTo>
                    <a:pt x="1994" y="97"/>
                  </a:lnTo>
                  <a:lnTo>
                    <a:pt x="1993" y="104"/>
                  </a:lnTo>
                  <a:lnTo>
                    <a:pt x="1992" y="109"/>
                  </a:lnTo>
                  <a:lnTo>
                    <a:pt x="1990" y="113"/>
                  </a:lnTo>
                  <a:lnTo>
                    <a:pt x="1988" y="118"/>
                  </a:lnTo>
                  <a:lnTo>
                    <a:pt x="1985" y="122"/>
                  </a:lnTo>
                  <a:lnTo>
                    <a:pt x="1982" y="126"/>
                  </a:lnTo>
                  <a:lnTo>
                    <a:pt x="1978" y="129"/>
                  </a:lnTo>
                  <a:lnTo>
                    <a:pt x="1975" y="132"/>
                  </a:lnTo>
                  <a:lnTo>
                    <a:pt x="1971" y="134"/>
                  </a:lnTo>
                  <a:lnTo>
                    <a:pt x="1966" y="136"/>
                  </a:lnTo>
                  <a:lnTo>
                    <a:pt x="1961" y="138"/>
                  </a:lnTo>
                  <a:lnTo>
                    <a:pt x="1955" y="139"/>
                  </a:lnTo>
                  <a:lnTo>
                    <a:pt x="1950" y="140"/>
                  </a:lnTo>
                  <a:lnTo>
                    <a:pt x="1943" y="140"/>
                  </a:lnTo>
                  <a:lnTo>
                    <a:pt x="1927" y="140"/>
                  </a:lnTo>
                  <a:lnTo>
                    <a:pt x="1927" y="222"/>
                  </a:lnTo>
                  <a:lnTo>
                    <a:pt x="1893" y="222"/>
                  </a:lnTo>
                  <a:lnTo>
                    <a:pt x="1893" y="3"/>
                  </a:lnTo>
                  <a:lnTo>
                    <a:pt x="1943" y="3"/>
                  </a:lnTo>
                  <a:lnTo>
                    <a:pt x="1950" y="3"/>
                  </a:lnTo>
                  <a:lnTo>
                    <a:pt x="1955" y="3"/>
                  </a:lnTo>
                  <a:lnTo>
                    <a:pt x="1961" y="4"/>
                  </a:lnTo>
                  <a:lnTo>
                    <a:pt x="1966" y="6"/>
                  </a:lnTo>
                  <a:lnTo>
                    <a:pt x="1971" y="9"/>
                  </a:lnTo>
                  <a:lnTo>
                    <a:pt x="1975" y="11"/>
                  </a:lnTo>
                  <a:lnTo>
                    <a:pt x="1978" y="14"/>
                  </a:lnTo>
                  <a:lnTo>
                    <a:pt x="1982" y="17"/>
                  </a:lnTo>
                  <a:lnTo>
                    <a:pt x="1985" y="20"/>
                  </a:lnTo>
                  <a:lnTo>
                    <a:pt x="1988" y="24"/>
                  </a:lnTo>
                  <a:lnTo>
                    <a:pt x="1990" y="29"/>
                  </a:lnTo>
                  <a:lnTo>
                    <a:pt x="1992" y="34"/>
                  </a:lnTo>
                  <a:lnTo>
                    <a:pt x="1993" y="39"/>
                  </a:lnTo>
                  <a:lnTo>
                    <a:pt x="1994" y="44"/>
                  </a:lnTo>
                  <a:lnTo>
                    <a:pt x="1994" y="51"/>
                  </a:lnTo>
                  <a:lnTo>
                    <a:pt x="1995" y="57"/>
                  </a:lnTo>
                  <a:close/>
                  <a:moveTo>
                    <a:pt x="1800" y="34"/>
                  </a:moveTo>
                  <a:lnTo>
                    <a:pt x="1800" y="108"/>
                  </a:lnTo>
                  <a:lnTo>
                    <a:pt x="1815" y="108"/>
                  </a:lnTo>
                  <a:lnTo>
                    <a:pt x="1820" y="108"/>
                  </a:lnTo>
                  <a:lnTo>
                    <a:pt x="1823" y="107"/>
                  </a:lnTo>
                  <a:lnTo>
                    <a:pt x="1826" y="106"/>
                  </a:lnTo>
                  <a:lnTo>
                    <a:pt x="1828" y="104"/>
                  </a:lnTo>
                  <a:lnTo>
                    <a:pt x="1830" y="102"/>
                  </a:lnTo>
                  <a:lnTo>
                    <a:pt x="1831" y="97"/>
                  </a:lnTo>
                  <a:lnTo>
                    <a:pt x="1832" y="93"/>
                  </a:lnTo>
                  <a:lnTo>
                    <a:pt x="1833" y="88"/>
                  </a:lnTo>
                  <a:lnTo>
                    <a:pt x="1833" y="55"/>
                  </a:lnTo>
                  <a:lnTo>
                    <a:pt x="1832" y="50"/>
                  </a:lnTo>
                  <a:lnTo>
                    <a:pt x="1831" y="44"/>
                  </a:lnTo>
                  <a:lnTo>
                    <a:pt x="1830" y="41"/>
                  </a:lnTo>
                  <a:lnTo>
                    <a:pt x="1828" y="38"/>
                  </a:lnTo>
                  <a:lnTo>
                    <a:pt x="1826" y="36"/>
                  </a:lnTo>
                  <a:lnTo>
                    <a:pt x="1823" y="35"/>
                  </a:lnTo>
                  <a:lnTo>
                    <a:pt x="1820" y="34"/>
                  </a:lnTo>
                  <a:lnTo>
                    <a:pt x="1815" y="34"/>
                  </a:lnTo>
                  <a:lnTo>
                    <a:pt x="1800" y="34"/>
                  </a:lnTo>
                  <a:close/>
                  <a:moveTo>
                    <a:pt x="1867" y="57"/>
                  </a:moveTo>
                  <a:lnTo>
                    <a:pt x="1867" y="86"/>
                  </a:lnTo>
                  <a:lnTo>
                    <a:pt x="1867" y="92"/>
                  </a:lnTo>
                  <a:lnTo>
                    <a:pt x="1866" y="97"/>
                  </a:lnTo>
                  <a:lnTo>
                    <a:pt x="1865" y="104"/>
                  </a:lnTo>
                  <a:lnTo>
                    <a:pt x="1864" y="109"/>
                  </a:lnTo>
                  <a:lnTo>
                    <a:pt x="1862" y="113"/>
                  </a:lnTo>
                  <a:lnTo>
                    <a:pt x="1860" y="118"/>
                  </a:lnTo>
                  <a:lnTo>
                    <a:pt x="1858" y="122"/>
                  </a:lnTo>
                  <a:lnTo>
                    <a:pt x="1855" y="126"/>
                  </a:lnTo>
                  <a:lnTo>
                    <a:pt x="1851" y="129"/>
                  </a:lnTo>
                  <a:lnTo>
                    <a:pt x="1847" y="132"/>
                  </a:lnTo>
                  <a:lnTo>
                    <a:pt x="1843" y="134"/>
                  </a:lnTo>
                  <a:lnTo>
                    <a:pt x="1839" y="136"/>
                  </a:lnTo>
                  <a:lnTo>
                    <a:pt x="1833" y="138"/>
                  </a:lnTo>
                  <a:lnTo>
                    <a:pt x="1828" y="139"/>
                  </a:lnTo>
                  <a:lnTo>
                    <a:pt x="1822" y="140"/>
                  </a:lnTo>
                  <a:lnTo>
                    <a:pt x="1815" y="140"/>
                  </a:lnTo>
                  <a:lnTo>
                    <a:pt x="1800" y="140"/>
                  </a:lnTo>
                  <a:lnTo>
                    <a:pt x="1800" y="222"/>
                  </a:lnTo>
                  <a:lnTo>
                    <a:pt x="1766" y="222"/>
                  </a:lnTo>
                  <a:lnTo>
                    <a:pt x="1766" y="3"/>
                  </a:lnTo>
                  <a:lnTo>
                    <a:pt x="1815" y="3"/>
                  </a:lnTo>
                  <a:lnTo>
                    <a:pt x="1822" y="3"/>
                  </a:lnTo>
                  <a:lnTo>
                    <a:pt x="1828" y="3"/>
                  </a:lnTo>
                  <a:lnTo>
                    <a:pt x="1833" y="4"/>
                  </a:lnTo>
                  <a:lnTo>
                    <a:pt x="1839" y="6"/>
                  </a:lnTo>
                  <a:lnTo>
                    <a:pt x="1843" y="9"/>
                  </a:lnTo>
                  <a:lnTo>
                    <a:pt x="1847" y="11"/>
                  </a:lnTo>
                  <a:lnTo>
                    <a:pt x="1851" y="14"/>
                  </a:lnTo>
                  <a:lnTo>
                    <a:pt x="1855" y="17"/>
                  </a:lnTo>
                  <a:lnTo>
                    <a:pt x="1858" y="20"/>
                  </a:lnTo>
                  <a:lnTo>
                    <a:pt x="1860" y="24"/>
                  </a:lnTo>
                  <a:lnTo>
                    <a:pt x="1862" y="29"/>
                  </a:lnTo>
                  <a:lnTo>
                    <a:pt x="1864" y="34"/>
                  </a:lnTo>
                  <a:lnTo>
                    <a:pt x="1865" y="39"/>
                  </a:lnTo>
                  <a:lnTo>
                    <a:pt x="1866" y="44"/>
                  </a:lnTo>
                  <a:lnTo>
                    <a:pt x="1867" y="51"/>
                  </a:lnTo>
                  <a:lnTo>
                    <a:pt x="1867" y="57"/>
                  </a:lnTo>
                  <a:close/>
                  <a:moveTo>
                    <a:pt x="1665" y="3"/>
                  </a:moveTo>
                  <a:lnTo>
                    <a:pt x="1665" y="172"/>
                  </a:lnTo>
                  <a:lnTo>
                    <a:pt x="1666" y="178"/>
                  </a:lnTo>
                  <a:lnTo>
                    <a:pt x="1667" y="182"/>
                  </a:lnTo>
                  <a:lnTo>
                    <a:pt x="1667" y="184"/>
                  </a:lnTo>
                  <a:lnTo>
                    <a:pt x="1668" y="185"/>
                  </a:lnTo>
                  <a:lnTo>
                    <a:pt x="1671" y="188"/>
                  </a:lnTo>
                  <a:lnTo>
                    <a:pt x="1673" y="190"/>
                  </a:lnTo>
                  <a:lnTo>
                    <a:pt x="1676" y="193"/>
                  </a:lnTo>
                  <a:lnTo>
                    <a:pt x="1680" y="193"/>
                  </a:lnTo>
                  <a:lnTo>
                    <a:pt x="1683" y="194"/>
                  </a:lnTo>
                  <a:lnTo>
                    <a:pt x="1687" y="193"/>
                  </a:lnTo>
                  <a:lnTo>
                    <a:pt x="1691" y="193"/>
                  </a:lnTo>
                  <a:lnTo>
                    <a:pt x="1694" y="190"/>
                  </a:lnTo>
                  <a:lnTo>
                    <a:pt x="1697" y="188"/>
                  </a:lnTo>
                  <a:lnTo>
                    <a:pt x="1698" y="185"/>
                  </a:lnTo>
                  <a:lnTo>
                    <a:pt x="1700" y="182"/>
                  </a:lnTo>
                  <a:lnTo>
                    <a:pt x="1701" y="178"/>
                  </a:lnTo>
                  <a:lnTo>
                    <a:pt x="1701" y="172"/>
                  </a:lnTo>
                  <a:lnTo>
                    <a:pt x="1701" y="3"/>
                  </a:lnTo>
                  <a:lnTo>
                    <a:pt x="1734" y="3"/>
                  </a:lnTo>
                  <a:lnTo>
                    <a:pt x="1734" y="169"/>
                  </a:lnTo>
                  <a:lnTo>
                    <a:pt x="1734" y="176"/>
                  </a:lnTo>
                  <a:lnTo>
                    <a:pt x="1733" y="182"/>
                  </a:lnTo>
                  <a:lnTo>
                    <a:pt x="1732" y="188"/>
                  </a:lnTo>
                  <a:lnTo>
                    <a:pt x="1731" y="194"/>
                  </a:lnTo>
                  <a:lnTo>
                    <a:pt x="1729" y="198"/>
                  </a:lnTo>
                  <a:lnTo>
                    <a:pt x="1727" y="203"/>
                  </a:lnTo>
                  <a:lnTo>
                    <a:pt x="1723" y="206"/>
                  </a:lnTo>
                  <a:lnTo>
                    <a:pt x="1721" y="211"/>
                  </a:lnTo>
                  <a:lnTo>
                    <a:pt x="1717" y="214"/>
                  </a:lnTo>
                  <a:lnTo>
                    <a:pt x="1714" y="217"/>
                  </a:lnTo>
                  <a:lnTo>
                    <a:pt x="1712" y="218"/>
                  </a:lnTo>
                  <a:lnTo>
                    <a:pt x="1710" y="219"/>
                  </a:lnTo>
                  <a:lnTo>
                    <a:pt x="1704" y="221"/>
                  </a:lnTo>
                  <a:lnTo>
                    <a:pt x="1700" y="223"/>
                  </a:lnTo>
                  <a:lnTo>
                    <a:pt x="1695" y="224"/>
                  </a:lnTo>
                  <a:lnTo>
                    <a:pt x="1688" y="224"/>
                  </a:lnTo>
                  <a:lnTo>
                    <a:pt x="1682" y="225"/>
                  </a:lnTo>
                  <a:lnTo>
                    <a:pt x="1677" y="224"/>
                  </a:lnTo>
                  <a:lnTo>
                    <a:pt x="1671" y="224"/>
                  </a:lnTo>
                  <a:lnTo>
                    <a:pt x="1665" y="223"/>
                  </a:lnTo>
                  <a:lnTo>
                    <a:pt x="1660" y="221"/>
                  </a:lnTo>
                  <a:lnTo>
                    <a:pt x="1656" y="219"/>
                  </a:lnTo>
                  <a:lnTo>
                    <a:pt x="1651" y="217"/>
                  </a:lnTo>
                  <a:lnTo>
                    <a:pt x="1647" y="214"/>
                  </a:lnTo>
                  <a:lnTo>
                    <a:pt x="1644" y="211"/>
                  </a:lnTo>
                  <a:lnTo>
                    <a:pt x="1641" y="206"/>
                  </a:lnTo>
                  <a:lnTo>
                    <a:pt x="1639" y="203"/>
                  </a:lnTo>
                  <a:lnTo>
                    <a:pt x="1637" y="198"/>
                  </a:lnTo>
                  <a:lnTo>
                    <a:pt x="1635" y="194"/>
                  </a:lnTo>
                  <a:lnTo>
                    <a:pt x="1632" y="188"/>
                  </a:lnTo>
                  <a:lnTo>
                    <a:pt x="1632" y="182"/>
                  </a:lnTo>
                  <a:lnTo>
                    <a:pt x="1631" y="176"/>
                  </a:lnTo>
                  <a:lnTo>
                    <a:pt x="1631" y="169"/>
                  </a:lnTo>
                  <a:lnTo>
                    <a:pt x="1631" y="3"/>
                  </a:lnTo>
                  <a:lnTo>
                    <a:pt x="1665" y="3"/>
                  </a:lnTo>
                  <a:close/>
                  <a:moveTo>
                    <a:pt x="1530" y="152"/>
                  </a:moveTo>
                  <a:lnTo>
                    <a:pt x="1564" y="152"/>
                  </a:lnTo>
                  <a:lnTo>
                    <a:pt x="1547" y="41"/>
                  </a:lnTo>
                  <a:lnTo>
                    <a:pt x="1530" y="152"/>
                  </a:lnTo>
                  <a:close/>
                  <a:moveTo>
                    <a:pt x="1609" y="222"/>
                  </a:moveTo>
                  <a:lnTo>
                    <a:pt x="1574" y="222"/>
                  </a:lnTo>
                  <a:lnTo>
                    <a:pt x="1568" y="182"/>
                  </a:lnTo>
                  <a:lnTo>
                    <a:pt x="1526" y="182"/>
                  </a:lnTo>
                  <a:lnTo>
                    <a:pt x="1520" y="222"/>
                  </a:lnTo>
                  <a:lnTo>
                    <a:pt x="1489" y="222"/>
                  </a:lnTo>
                  <a:lnTo>
                    <a:pt x="1524" y="3"/>
                  </a:lnTo>
                  <a:lnTo>
                    <a:pt x="1574" y="3"/>
                  </a:lnTo>
                  <a:lnTo>
                    <a:pt x="1609" y="222"/>
                  </a:lnTo>
                  <a:close/>
                  <a:moveTo>
                    <a:pt x="1405" y="134"/>
                  </a:moveTo>
                  <a:lnTo>
                    <a:pt x="1394" y="154"/>
                  </a:lnTo>
                  <a:lnTo>
                    <a:pt x="1394" y="222"/>
                  </a:lnTo>
                  <a:lnTo>
                    <a:pt x="1360" y="222"/>
                  </a:lnTo>
                  <a:lnTo>
                    <a:pt x="1360" y="3"/>
                  </a:lnTo>
                  <a:lnTo>
                    <a:pt x="1394" y="3"/>
                  </a:lnTo>
                  <a:lnTo>
                    <a:pt x="1394" y="98"/>
                  </a:lnTo>
                  <a:lnTo>
                    <a:pt x="1440" y="3"/>
                  </a:lnTo>
                  <a:lnTo>
                    <a:pt x="1474" y="3"/>
                  </a:lnTo>
                  <a:lnTo>
                    <a:pt x="1426" y="101"/>
                  </a:lnTo>
                  <a:lnTo>
                    <a:pt x="1474" y="222"/>
                  </a:lnTo>
                  <a:lnTo>
                    <a:pt x="1439" y="222"/>
                  </a:lnTo>
                  <a:lnTo>
                    <a:pt x="1405" y="134"/>
                  </a:lnTo>
                  <a:close/>
                  <a:moveTo>
                    <a:pt x="1271" y="95"/>
                  </a:moveTo>
                  <a:lnTo>
                    <a:pt x="1318" y="95"/>
                  </a:lnTo>
                  <a:lnTo>
                    <a:pt x="1318" y="127"/>
                  </a:lnTo>
                  <a:lnTo>
                    <a:pt x="1271" y="127"/>
                  </a:lnTo>
                  <a:lnTo>
                    <a:pt x="1271" y="190"/>
                  </a:lnTo>
                  <a:lnTo>
                    <a:pt x="1331" y="190"/>
                  </a:lnTo>
                  <a:lnTo>
                    <a:pt x="1331" y="222"/>
                  </a:lnTo>
                  <a:lnTo>
                    <a:pt x="1237" y="222"/>
                  </a:lnTo>
                  <a:lnTo>
                    <a:pt x="1237" y="3"/>
                  </a:lnTo>
                  <a:lnTo>
                    <a:pt x="1331" y="3"/>
                  </a:lnTo>
                  <a:lnTo>
                    <a:pt x="1331" y="34"/>
                  </a:lnTo>
                  <a:lnTo>
                    <a:pt x="1271" y="34"/>
                  </a:lnTo>
                  <a:lnTo>
                    <a:pt x="1271" y="95"/>
                  </a:lnTo>
                  <a:close/>
                  <a:moveTo>
                    <a:pt x="1108" y="3"/>
                  </a:moveTo>
                  <a:lnTo>
                    <a:pt x="1214" y="3"/>
                  </a:lnTo>
                  <a:lnTo>
                    <a:pt x="1214" y="34"/>
                  </a:lnTo>
                  <a:lnTo>
                    <a:pt x="1178" y="34"/>
                  </a:lnTo>
                  <a:lnTo>
                    <a:pt x="1178" y="222"/>
                  </a:lnTo>
                  <a:lnTo>
                    <a:pt x="1144" y="222"/>
                  </a:lnTo>
                  <a:lnTo>
                    <a:pt x="1144" y="34"/>
                  </a:lnTo>
                  <a:lnTo>
                    <a:pt x="1108" y="34"/>
                  </a:lnTo>
                  <a:lnTo>
                    <a:pt x="1108" y="3"/>
                  </a:lnTo>
                  <a:close/>
                  <a:moveTo>
                    <a:pt x="1039" y="0"/>
                  </a:moveTo>
                  <a:lnTo>
                    <a:pt x="1044" y="0"/>
                  </a:lnTo>
                  <a:lnTo>
                    <a:pt x="1051" y="1"/>
                  </a:lnTo>
                  <a:lnTo>
                    <a:pt x="1056" y="2"/>
                  </a:lnTo>
                  <a:lnTo>
                    <a:pt x="1061" y="4"/>
                  </a:lnTo>
                  <a:lnTo>
                    <a:pt x="1066" y="6"/>
                  </a:lnTo>
                  <a:lnTo>
                    <a:pt x="1070" y="9"/>
                  </a:lnTo>
                  <a:lnTo>
                    <a:pt x="1073" y="12"/>
                  </a:lnTo>
                  <a:lnTo>
                    <a:pt x="1077" y="15"/>
                  </a:lnTo>
                  <a:lnTo>
                    <a:pt x="1079" y="18"/>
                  </a:lnTo>
                  <a:lnTo>
                    <a:pt x="1083" y="22"/>
                  </a:lnTo>
                  <a:lnTo>
                    <a:pt x="1085" y="28"/>
                  </a:lnTo>
                  <a:lnTo>
                    <a:pt x="1087" y="32"/>
                  </a:lnTo>
                  <a:lnTo>
                    <a:pt x="1088" y="37"/>
                  </a:lnTo>
                  <a:lnTo>
                    <a:pt x="1089" y="43"/>
                  </a:lnTo>
                  <a:lnTo>
                    <a:pt x="1090" y="49"/>
                  </a:lnTo>
                  <a:lnTo>
                    <a:pt x="1090" y="55"/>
                  </a:lnTo>
                  <a:lnTo>
                    <a:pt x="1090" y="62"/>
                  </a:lnTo>
                  <a:lnTo>
                    <a:pt x="1057" y="62"/>
                  </a:lnTo>
                  <a:lnTo>
                    <a:pt x="1057" y="53"/>
                  </a:lnTo>
                  <a:lnTo>
                    <a:pt x="1057" y="48"/>
                  </a:lnTo>
                  <a:lnTo>
                    <a:pt x="1056" y="43"/>
                  </a:lnTo>
                  <a:lnTo>
                    <a:pt x="1054" y="39"/>
                  </a:lnTo>
                  <a:lnTo>
                    <a:pt x="1053" y="36"/>
                  </a:lnTo>
                  <a:lnTo>
                    <a:pt x="1050" y="34"/>
                  </a:lnTo>
                  <a:lnTo>
                    <a:pt x="1048" y="33"/>
                  </a:lnTo>
                  <a:lnTo>
                    <a:pt x="1043" y="32"/>
                  </a:lnTo>
                  <a:lnTo>
                    <a:pt x="1040" y="32"/>
                  </a:lnTo>
                  <a:lnTo>
                    <a:pt x="1036" y="32"/>
                  </a:lnTo>
                  <a:lnTo>
                    <a:pt x="1033" y="33"/>
                  </a:lnTo>
                  <a:lnTo>
                    <a:pt x="1031" y="34"/>
                  </a:lnTo>
                  <a:lnTo>
                    <a:pt x="1030" y="34"/>
                  </a:lnTo>
                  <a:lnTo>
                    <a:pt x="1028" y="36"/>
                  </a:lnTo>
                  <a:lnTo>
                    <a:pt x="1025" y="39"/>
                  </a:lnTo>
                  <a:lnTo>
                    <a:pt x="1023" y="43"/>
                  </a:lnTo>
                  <a:lnTo>
                    <a:pt x="1023" y="48"/>
                  </a:lnTo>
                  <a:lnTo>
                    <a:pt x="1022" y="53"/>
                  </a:lnTo>
                  <a:lnTo>
                    <a:pt x="1022" y="57"/>
                  </a:lnTo>
                  <a:lnTo>
                    <a:pt x="1023" y="61"/>
                  </a:lnTo>
                  <a:lnTo>
                    <a:pt x="1025" y="69"/>
                  </a:lnTo>
                  <a:lnTo>
                    <a:pt x="1026" y="72"/>
                  </a:lnTo>
                  <a:lnTo>
                    <a:pt x="1029" y="75"/>
                  </a:lnTo>
                  <a:lnTo>
                    <a:pt x="1033" y="81"/>
                  </a:lnTo>
                  <a:lnTo>
                    <a:pt x="1038" y="88"/>
                  </a:lnTo>
                  <a:lnTo>
                    <a:pt x="1043" y="93"/>
                  </a:lnTo>
                  <a:lnTo>
                    <a:pt x="1056" y="105"/>
                  </a:lnTo>
                  <a:lnTo>
                    <a:pt x="1069" y="117"/>
                  </a:lnTo>
                  <a:lnTo>
                    <a:pt x="1074" y="124"/>
                  </a:lnTo>
                  <a:lnTo>
                    <a:pt x="1079" y="131"/>
                  </a:lnTo>
                  <a:lnTo>
                    <a:pt x="1084" y="140"/>
                  </a:lnTo>
                  <a:lnTo>
                    <a:pt x="1087" y="148"/>
                  </a:lnTo>
                  <a:lnTo>
                    <a:pt x="1089" y="159"/>
                  </a:lnTo>
                  <a:lnTo>
                    <a:pt x="1090" y="164"/>
                  </a:lnTo>
                  <a:lnTo>
                    <a:pt x="1090" y="169"/>
                  </a:lnTo>
                  <a:lnTo>
                    <a:pt x="1090" y="176"/>
                  </a:lnTo>
                  <a:lnTo>
                    <a:pt x="1089" y="182"/>
                  </a:lnTo>
                  <a:lnTo>
                    <a:pt x="1088" y="187"/>
                  </a:lnTo>
                  <a:lnTo>
                    <a:pt x="1087" y="193"/>
                  </a:lnTo>
                  <a:lnTo>
                    <a:pt x="1085" y="198"/>
                  </a:lnTo>
                  <a:lnTo>
                    <a:pt x="1083" y="202"/>
                  </a:lnTo>
                  <a:lnTo>
                    <a:pt x="1080" y="206"/>
                  </a:lnTo>
                  <a:lnTo>
                    <a:pt x="1077" y="211"/>
                  </a:lnTo>
                  <a:lnTo>
                    <a:pt x="1073" y="214"/>
                  </a:lnTo>
                  <a:lnTo>
                    <a:pt x="1070" y="217"/>
                  </a:lnTo>
                  <a:lnTo>
                    <a:pt x="1068" y="218"/>
                  </a:lnTo>
                  <a:lnTo>
                    <a:pt x="1066" y="219"/>
                  </a:lnTo>
                  <a:lnTo>
                    <a:pt x="1061" y="221"/>
                  </a:lnTo>
                  <a:lnTo>
                    <a:pt x="1056" y="222"/>
                  </a:lnTo>
                  <a:lnTo>
                    <a:pt x="1051" y="223"/>
                  </a:lnTo>
                  <a:lnTo>
                    <a:pt x="1044" y="224"/>
                  </a:lnTo>
                  <a:lnTo>
                    <a:pt x="1038" y="224"/>
                  </a:lnTo>
                  <a:lnTo>
                    <a:pt x="1033" y="224"/>
                  </a:lnTo>
                  <a:lnTo>
                    <a:pt x="1026" y="223"/>
                  </a:lnTo>
                  <a:lnTo>
                    <a:pt x="1021" y="222"/>
                  </a:lnTo>
                  <a:lnTo>
                    <a:pt x="1016" y="221"/>
                  </a:lnTo>
                  <a:lnTo>
                    <a:pt x="1012" y="219"/>
                  </a:lnTo>
                  <a:lnTo>
                    <a:pt x="1007" y="217"/>
                  </a:lnTo>
                  <a:lnTo>
                    <a:pt x="1003" y="214"/>
                  </a:lnTo>
                  <a:lnTo>
                    <a:pt x="1000" y="211"/>
                  </a:lnTo>
                  <a:lnTo>
                    <a:pt x="997" y="206"/>
                  </a:lnTo>
                  <a:lnTo>
                    <a:pt x="995" y="202"/>
                  </a:lnTo>
                  <a:lnTo>
                    <a:pt x="993" y="198"/>
                  </a:lnTo>
                  <a:lnTo>
                    <a:pt x="991" y="193"/>
                  </a:lnTo>
                  <a:lnTo>
                    <a:pt x="989" y="187"/>
                  </a:lnTo>
                  <a:lnTo>
                    <a:pt x="988" y="182"/>
                  </a:lnTo>
                  <a:lnTo>
                    <a:pt x="987" y="176"/>
                  </a:lnTo>
                  <a:lnTo>
                    <a:pt x="987" y="169"/>
                  </a:lnTo>
                  <a:lnTo>
                    <a:pt x="987" y="156"/>
                  </a:lnTo>
                  <a:lnTo>
                    <a:pt x="1020" y="156"/>
                  </a:lnTo>
                  <a:lnTo>
                    <a:pt x="1020" y="171"/>
                  </a:lnTo>
                  <a:lnTo>
                    <a:pt x="1020" y="177"/>
                  </a:lnTo>
                  <a:lnTo>
                    <a:pt x="1021" y="182"/>
                  </a:lnTo>
                  <a:lnTo>
                    <a:pt x="1021" y="183"/>
                  </a:lnTo>
                  <a:lnTo>
                    <a:pt x="1022" y="185"/>
                  </a:lnTo>
                  <a:lnTo>
                    <a:pt x="1024" y="188"/>
                  </a:lnTo>
                  <a:lnTo>
                    <a:pt x="1028" y="190"/>
                  </a:lnTo>
                  <a:lnTo>
                    <a:pt x="1031" y="191"/>
                  </a:lnTo>
                  <a:lnTo>
                    <a:pt x="1034" y="193"/>
                  </a:lnTo>
                  <a:lnTo>
                    <a:pt x="1038" y="193"/>
                  </a:lnTo>
                  <a:lnTo>
                    <a:pt x="1041" y="193"/>
                  </a:lnTo>
                  <a:lnTo>
                    <a:pt x="1046" y="191"/>
                  </a:lnTo>
                  <a:lnTo>
                    <a:pt x="1048" y="190"/>
                  </a:lnTo>
                  <a:lnTo>
                    <a:pt x="1051" y="188"/>
                  </a:lnTo>
                  <a:lnTo>
                    <a:pt x="1053" y="185"/>
                  </a:lnTo>
                  <a:lnTo>
                    <a:pt x="1054" y="182"/>
                  </a:lnTo>
                  <a:lnTo>
                    <a:pt x="1055" y="177"/>
                  </a:lnTo>
                  <a:lnTo>
                    <a:pt x="1055" y="171"/>
                  </a:lnTo>
                  <a:lnTo>
                    <a:pt x="1055" y="167"/>
                  </a:lnTo>
                  <a:lnTo>
                    <a:pt x="1055" y="164"/>
                  </a:lnTo>
                  <a:lnTo>
                    <a:pt x="1053" y="157"/>
                  </a:lnTo>
                  <a:lnTo>
                    <a:pt x="1051" y="152"/>
                  </a:lnTo>
                  <a:lnTo>
                    <a:pt x="1050" y="149"/>
                  </a:lnTo>
                  <a:lnTo>
                    <a:pt x="1044" y="143"/>
                  </a:lnTo>
                  <a:lnTo>
                    <a:pt x="1040" y="138"/>
                  </a:lnTo>
                  <a:lnTo>
                    <a:pt x="1034" y="131"/>
                  </a:lnTo>
                  <a:lnTo>
                    <a:pt x="1022" y="120"/>
                  </a:lnTo>
                  <a:lnTo>
                    <a:pt x="1010" y="108"/>
                  </a:lnTo>
                  <a:lnTo>
                    <a:pt x="1003" y="101"/>
                  </a:lnTo>
                  <a:lnTo>
                    <a:pt x="999" y="93"/>
                  </a:lnTo>
                  <a:lnTo>
                    <a:pt x="995" y="86"/>
                  </a:lnTo>
                  <a:lnTo>
                    <a:pt x="991" y="76"/>
                  </a:lnTo>
                  <a:lnTo>
                    <a:pt x="988" y="67"/>
                  </a:lnTo>
                  <a:lnTo>
                    <a:pt x="988" y="61"/>
                  </a:lnTo>
                  <a:lnTo>
                    <a:pt x="988" y="55"/>
                  </a:lnTo>
                  <a:lnTo>
                    <a:pt x="988" y="49"/>
                  </a:lnTo>
                  <a:lnTo>
                    <a:pt x="988" y="43"/>
                  </a:lnTo>
                  <a:lnTo>
                    <a:pt x="989" y="37"/>
                  </a:lnTo>
                  <a:lnTo>
                    <a:pt x="992" y="32"/>
                  </a:lnTo>
                  <a:lnTo>
                    <a:pt x="993" y="28"/>
                  </a:lnTo>
                  <a:lnTo>
                    <a:pt x="996" y="22"/>
                  </a:lnTo>
                  <a:lnTo>
                    <a:pt x="998" y="18"/>
                  </a:lnTo>
                  <a:lnTo>
                    <a:pt x="1001" y="15"/>
                  </a:lnTo>
                  <a:lnTo>
                    <a:pt x="1004" y="12"/>
                  </a:lnTo>
                  <a:lnTo>
                    <a:pt x="1008" y="9"/>
                  </a:lnTo>
                  <a:lnTo>
                    <a:pt x="1011" y="7"/>
                  </a:lnTo>
                  <a:lnTo>
                    <a:pt x="1013" y="6"/>
                  </a:lnTo>
                  <a:lnTo>
                    <a:pt x="1017" y="4"/>
                  </a:lnTo>
                  <a:lnTo>
                    <a:pt x="1022" y="2"/>
                  </a:lnTo>
                  <a:lnTo>
                    <a:pt x="1028" y="1"/>
                  </a:lnTo>
                  <a:lnTo>
                    <a:pt x="1033" y="0"/>
                  </a:lnTo>
                  <a:lnTo>
                    <a:pt x="1039" y="0"/>
                  </a:lnTo>
                  <a:close/>
                  <a:moveTo>
                    <a:pt x="904" y="95"/>
                  </a:moveTo>
                  <a:lnTo>
                    <a:pt x="951" y="95"/>
                  </a:lnTo>
                  <a:lnTo>
                    <a:pt x="951" y="127"/>
                  </a:lnTo>
                  <a:lnTo>
                    <a:pt x="904" y="127"/>
                  </a:lnTo>
                  <a:lnTo>
                    <a:pt x="904" y="190"/>
                  </a:lnTo>
                  <a:lnTo>
                    <a:pt x="963" y="190"/>
                  </a:lnTo>
                  <a:lnTo>
                    <a:pt x="963" y="222"/>
                  </a:lnTo>
                  <a:lnTo>
                    <a:pt x="870" y="222"/>
                  </a:lnTo>
                  <a:lnTo>
                    <a:pt x="870" y="3"/>
                  </a:lnTo>
                  <a:lnTo>
                    <a:pt x="963" y="3"/>
                  </a:lnTo>
                  <a:lnTo>
                    <a:pt x="963" y="34"/>
                  </a:lnTo>
                  <a:lnTo>
                    <a:pt x="904" y="34"/>
                  </a:lnTo>
                  <a:lnTo>
                    <a:pt x="904" y="95"/>
                  </a:lnTo>
                  <a:close/>
                  <a:moveTo>
                    <a:pt x="759" y="64"/>
                  </a:moveTo>
                  <a:lnTo>
                    <a:pt x="759" y="222"/>
                  </a:lnTo>
                  <a:lnTo>
                    <a:pt x="727" y="222"/>
                  </a:lnTo>
                  <a:lnTo>
                    <a:pt x="727" y="3"/>
                  </a:lnTo>
                  <a:lnTo>
                    <a:pt x="771" y="3"/>
                  </a:lnTo>
                  <a:lnTo>
                    <a:pt x="807" y="134"/>
                  </a:lnTo>
                  <a:lnTo>
                    <a:pt x="807" y="3"/>
                  </a:lnTo>
                  <a:lnTo>
                    <a:pt x="837" y="3"/>
                  </a:lnTo>
                  <a:lnTo>
                    <a:pt x="837" y="222"/>
                  </a:lnTo>
                  <a:lnTo>
                    <a:pt x="801" y="222"/>
                  </a:lnTo>
                  <a:lnTo>
                    <a:pt x="759" y="64"/>
                  </a:lnTo>
                  <a:close/>
                  <a:moveTo>
                    <a:pt x="628" y="171"/>
                  </a:moveTo>
                  <a:lnTo>
                    <a:pt x="628" y="177"/>
                  </a:lnTo>
                  <a:lnTo>
                    <a:pt x="629" y="182"/>
                  </a:lnTo>
                  <a:lnTo>
                    <a:pt x="630" y="184"/>
                  </a:lnTo>
                  <a:lnTo>
                    <a:pt x="630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8" y="193"/>
                  </a:lnTo>
                  <a:lnTo>
                    <a:pt x="642" y="193"/>
                  </a:lnTo>
                  <a:lnTo>
                    <a:pt x="646" y="194"/>
                  </a:lnTo>
                  <a:lnTo>
                    <a:pt x="649" y="193"/>
                  </a:lnTo>
                  <a:lnTo>
                    <a:pt x="653" y="193"/>
                  </a:lnTo>
                  <a:lnTo>
                    <a:pt x="656" y="190"/>
                  </a:lnTo>
                  <a:lnTo>
                    <a:pt x="658" y="188"/>
                  </a:lnTo>
                  <a:lnTo>
                    <a:pt x="661" y="185"/>
                  </a:lnTo>
                  <a:lnTo>
                    <a:pt x="662" y="182"/>
                  </a:lnTo>
                  <a:lnTo>
                    <a:pt x="663" y="177"/>
                  </a:lnTo>
                  <a:lnTo>
                    <a:pt x="664" y="171"/>
                  </a:lnTo>
                  <a:lnTo>
                    <a:pt x="664" y="53"/>
                  </a:lnTo>
                  <a:lnTo>
                    <a:pt x="663" y="48"/>
                  </a:lnTo>
                  <a:lnTo>
                    <a:pt x="662" y="43"/>
                  </a:lnTo>
                  <a:lnTo>
                    <a:pt x="662" y="41"/>
                  </a:lnTo>
                  <a:lnTo>
                    <a:pt x="661" y="39"/>
                  </a:lnTo>
                  <a:lnTo>
                    <a:pt x="658" y="36"/>
                  </a:lnTo>
                  <a:lnTo>
                    <a:pt x="656" y="34"/>
                  </a:lnTo>
                  <a:lnTo>
                    <a:pt x="653" y="33"/>
                  </a:lnTo>
                  <a:lnTo>
                    <a:pt x="649" y="32"/>
                  </a:lnTo>
                  <a:lnTo>
                    <a:pt x="646" y="32"/>
                  </a:lnTo>
                  <a:lnTo>
                    <a:pt x="642" y="32"/>
                  </a:lnTo>
                  <a:lnTo>
                    <a:pt x="638" y="33"/>
                  </a:lnTo>
                  <a:lnTo>
                    <a:pt x="635" y="34"/>
                  </a:lnTo>
                  <a:lnTo>
                    <a:pt x="632" y="36"/>
                  </a:lnTo>
                  <a:lnTo>
                    <a:pt x="630" y="39"/>
                  </a:lnTo>
                  <a:lnTo>
                    <a:pt x="629" y="43"/>
                  </a:lnTo>
                  <a:lnTo>
                    <a:pt x="628" y="48"/>
                  </a:lnTo>
                  <a:lnTo>
                    <a:pt x="628" y="53"/>
                  </a:lnTo>
                  <a:lnTo>
                    <a:pt x="628" y="171"/>
                  </a:lnTo>
                  <a:close/>
                  <a:moveTo>
                    <a:pt x="593" y="55"/>
                  </a:moveTo>
                  <a:lnTo>
                    <a:pt x="593" y="49"/>
                  </a:lnTo>
                  <a:lnTo>
                    <a:pt x="594" y="43"/>
                  </a:lnTo>
                  <a:lnTo>
                    <a:pt x="595" y="37"/>
                  </a:lnTo>
                  <a:lnTo>
                    <a:pt x="596" y="35"/>
                  </a:lnTo>
                  <a:lnTo>
                    <a:pt x="597" y="32"/>
                  </a:lnTo>
                  <a:lnTo>
                    <a:pt x="598" y="28"/>
                  </a:lnTo>
                  <a:lnTo>
                    <a:pt x="601" y="22"/>
                  </a:lnTo>
                  <a:lnTo>
                    <a:pt x="603" y="18"/>
                  </a:lnTo>
                  <a:lnTo>
                    <a:pt x="607" y="15"/>
                  </a:lnTo>
                  <a:lnTo>
                    <a:pt x="610" y="12"/>
                  </a:lnTo>
                  <a:lnTo>
                    <a:pt x="614" y="9"/>
                  </a:lnTo>
                  <a:lnTo>
                    <a:pt x="618" y="6"/>
                  </a:lnTo>
                  <a:lnTo>
                    <a:pt x="624" y="4"/>
                  </a:lnTo>
                  <a:lnTo>
                    <a:pt x="628" y="2"/>
                  </a:lnTo>
                  <a:lnTo>
                    <a:pt x="633" y="1"/>
                  </a:lnTo>
                  <a:lnTo>
                    <a:pt x="639" y="0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7" y="1"/>
                  </a:lnTo>
                  <a:lnTo>
                    <a:pt x="663" y="2"/>
                  </a:lnTo>
                  <a:lnTo>
                    <a:pt x="668" y="4"/>
                  </a:lnTo>
                  <a:lnTo>
                    <a:pt x="672" y="6"/>
                  </a:lnTo>
                  <a:lnTo>
                    <a:pt x="676" y="9"/>
                  </a:lnTo>
                  <a:lnTo>
                    <a:pt x="681" y="12"/>
                  </a:lnTo>
                  <a:lnTo>
                    <a:pt x="684" y="15"/>
                  </a:lnTo>
                  <a:lnTo>
                    <a:pt x="687" y="18"/>
                  </a:lnTo>
                  <a:lnTo>
                    <a:pt x="690" y="22"/>
                  </a:lnTo>
                  <a:lnTo>
                    <a:pt x="692" y="28"/>
                  </a:lnTo>
                  <a:lnTo>
                    <a:pt x="694" y="32"/>
                  </a:lnTo>
                  <a:lnTo>
                    <a:pt x="695" y="37"/>
                  </a:lnTo>
                  <a:lnTo>
                    <a:pt x="697" y="43"/>
                  </a:lnTo>
                  <a:lnTo>
                    <a:pt x="698" y="49"/>
                  </a:lnTo>
                  <a:lnTo>
                    <a:pt x="698" y="55"/>
                  </a:lnTo>
                  <a:lnTo>
                    <a:pt x="698" y="169"/>
                  </a:lnTo>
                  <a:lnTo>
                    <a:pt x="698" y="176"/>
                  </a:lnTo>
                  <a:lnTo>
                    <a:pt x="697" y="182"/>
                  </a:lnTo>
                  <a:lnTo>
                    <a:pt x="695" y="187"/>
                  </a:lnTo>
                  <a:lnTo>
                    <a:pt x="695" y="190"/>
                  </a:lnTo>
                  <a:lnTo>
                    <a:pt x="694" y="193"/>
                  </a:lnTo>
                  <a:lnTo>
                    <a:pt x="692" y="198"/>
                  </a:lnTo>
                  <a:lnTo>
                    <a:pt x="690" y="202"/>
                  </a:lnTo>
                  <a:lnTo>
                    <a:pt x="687" y="206"/>
                  </a:lnTo>
                  <a:lnTo>
                    <a:pt x="684" y="211"/>
                  </a:lnTo>
                  <a:lnTo>
                    <a:pt x="681" y="214"/>
                  </a:lnTo>
                  <a:lnTo>
                    <a:pt x="676" y="217"/>
                  </a:lnTo>
                  <a:lnTo>
                    <a:pt x="672" y="219"/>
                  </a:lnTo>
                  <a:lnTo>
                    <a:pt x="668" y="221"/>
                  </a:lnTo>
                  <a:lnTo>
                    <a:pt x="663" y="222"/>
                  </a:lnTo>
                  <a:lnTo>
                    <a:pt x="657" y="223"/>
                  </a:lnTo>
                  <a:lnTo>
                    <a:pt x="652" y="224"/>
                  </a:lnTo>
                  <a:lnTo>
                    <a:pt x="646" y="224"/>
                  </a:lnTo>
                  <a:lnTo>
                    <a:pt x="639" y="224"/>
                  </a:lnTo>
                  <a:lnTo>
                    <a:pt x="633" y="223"/>
                  </a:lnTo>
                  <a:lnTo>
                    <a:pt x="628" y="222"/>
                  </a:lnTo>
                  <a:lnTo>
                    <a:pt x="624" y="221"/>
                  </a:lnTo>
                  <a:lnTo>
                    <a:pt x="618" y="219"/>
                  </a:lnTo>
                  <a:lnTo>
                    <a:pt x="614" y="217"/>
                  </a:lnTo>
                  <a:lnTo>
                    <a:pt x="610" y="214"/>
                  </a:lnTo>
                  <a:lnTo>
                    <a:pt x="607" y="211"/>
                  </a:lnTo>
                  <a:lnTo>
                    <a:pt x="603" y="206"/>
                  </a:lnTo>
                  <a:lnTo>
                    <a:pt x="601" y="202"/>
                  </a:lnTo>
                  <a:lnTo>
                    <a:pt x="598" y="198"/>
                  </a:lnTo>
                  <a:lnTo>
                    <a:pt x="597" y="193"/>
                  </a:lnTo>
                  <a:lnTo>
                    <a:pt x="595" y="187"/>
                  </a:lnTo>
                  <a:lnTo>
                    <a:pt x="594" y="182"/>
                  </a:lnTo>
                  <a:lnTo>
                    <a:pt x="593" y="176"/>
                  </a:lnTo>
                  <a:lnTo>
                    <a:pt x="593" y="169"/>
                  </a:lnTo>
                  <a:lnTo>
                    <a:pt x="593" y="55"/>
                  </a:lnTo>
                  <a:close/>
                  <a:moveTo>
                    <a:pt x="467" y="3"/>
                  </a:moveTo>
                  <a:lnTo>
                    <a:pt x="573" y="3"/>
                  </a:lnTo>
                  <a:lnTo>
                    <a:pt x="573" y="34"/>
                  </a:lnTo>
                  <a:lnTo>
                    <a:pt x="537" y="34"/>
                  </a:lnTo>
                  <a:lnTo>
                    <a:pt x="537" y="222"/>
                  </a:lnTo>
                  <a:lnTo>
                    <a:pt x="503" y="222"/>
                  </a:lnTo>
                  <a:lnTo>
                    <a:pt x="503" y="34"/>
                  </a:lnTo>
                  <a:lnTo>
                    <a:pt x="467" y="34"/>
                  </a:lnTo>
                  <a:lnTo>
                    <a:pt x="467" y="3"/>
                  </a:lnTo>
                  <a:close/>
                  <a:moveTo>
                    <a:pt x="348" y="3"/>
                  </a:moveTo>
                  <a:lnTo>
                    <a:pt x="454" y="3"/>
                  </a:lnTo>
                  <a:lnTo>
                    <a:pt x="454" y="34"/>
                  </a:lnTo>
                  <a:lnTo>
                    <a:pt x="417" y="34"/>
                  </a:lnTo>
                  <a:lnTo>
                    <a:pt x="417" y="222"/>
                  </a:lnTo>
                  <a:lnTo>
                    <a:pt x="383" y="222"/>
                  </a:lnTo>
                  <a:lnTo>
                    <a:pt x="383" y="34"/>
                  </a:lnTo>
                  <a:lnTo>
                    <a:pt x="348" y="34"/>
                  </a:lnTo>
                  <a:lnTo>
                    <a:pt x="348" y="3"/>
                  </a:lnTo>
                  <a:close/>
                  <a:moveTo>
                    <a:pt x="259" y="3"/>
                  </a:moveTo>
                  <a:lnTo>
                    <a:pt x="294" y="3"/>
                  </a:lnTo>
                  <a:lnTo>
                    <a:pt x="294" y="190"/>
                  </a:lnTo>
                  <a:lnTo>
                    <a:pt x="350" y="190"/>
                  </a:lnTo>
                  <a:lnTo>
                    <a:pt x="350" y="222"/>
                  </a:lnTo>
                  <a:lnTo>
                    <a:pt x="259" y="222"/>
                  </a:lnTo>
                  <a:lnTo>
                    <a:pt x="259" y="3"/>
                  </a:lnTo>
                  <a:close/>
                  <a:moveTo>
                    <a:pt x="159" y="171"/>
                  </a:moveTo>
                  <a:lnTo>
                    <a:pt x="159" y="177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1" y="185"/>
                  </a:lnTo>
                  <a:lnTo>
                    <a:pt x="164" y="188"/>
                  </a:lnTo>
                  <a:lnTo>
                    <a:pt x="167" y="190"/>
                  </a:lnTo>
                  <a:lnTo>
                    <a:pt x="169" y="193"/>
                  </a:lnTo>
                  <a:lnTo>
                    <a:pt x="173" y="193"/>
                  </a:lnTo>
                  <a:lnTo>
                    <a:pt x="176" y="194"/>
                  </a:lnTo>
                  <a:lnTo>
                    <a:pt x="180" y="193"/>
                  </a:lnTo>
                  <a:lnTo>
                    <a:pt x="184" y="193"/>
                  </a:lnTo>
                  <a:lnTo>
                    <a:pt x="187" y="190"/>
                  </a:lnTo>
                  <a:lnTo>
                    <a:pt x="190" y="188"/>
                  </a:lnTo>
                  <a:lnTo>
                    <a:pt x="192" y="185"/>
                  </a:lnTo>
                  <a:lnTo>
                    <a:pt x="193" y="182"/>
                  </a:lnTo>
                  <a:lnTo>
                    <a:pt x="194" y="177"/>
                  </a:lnTo>
                  <a:lnTo>
                    <a:pt x="194" y="171"/>
                  </a:lnTo>
                  <a:lnTo>
                    <a:pt x="194" y="53"/>
                  </a:lnTo>
                  <a:lnTo>
                    <a:pt x="194" y="48"/>
                  </a:lnTo>
                  <a:lnTo>
                    <a:pt x="193" y="43"/>
                  </a:lnTo>
                  <a:lnTo>
                    <a:pt x="192" y="41"/>
                  </a:lnTo>
                  <a:lnTo>
                    <a:pt x="192" y="39"/>
                  </a:lnTo>
                  <a:lnTo>
                    <a:pt x="190" y="36"/>
                  </a:lnTo>
                  <a:lnTo>
                    <a:pt x="187" y="34"/>
                  </a:lnTo>
                  <a:lnTo>
                    <a:pt x="184" y="33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3" y="32"/>
                  </a:lnTo>
                  <a:lnTo>
                    <a:pt x="169" y="33"/>
                  </a:lnTo>
                  <a:lnTo>
                    <a:pt x="167" y="34"/>
                  </a:lnTo>
                  <a:lnTo>
                    <a:pt x="164" y="36"/>
                  </a:lnTo>
                  <a:lnTo>
                    <a:pt x="161" y="39"/>
                  </a:lnTo>
                  <a:lnTo>
                    <a:pt x="160" y="43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9" y="171"/>
                  </a:lnTo>
                  <a:close/>
                  <a:moveTo>
                    <a:pt x="124" y="55"/>
                  </a:moveTo>
                  <a:lnTo>
                    <a:pt x="124" y="49"/>
                  </a:lnTo>
                  <a:lnTo>
                    <a:pt x="125" y="43"/>
                  </a:lnTo>
                  <a:lnTo>
                    <a:pt x="127" y="37"/>
                  </a:lnTo>
                  <a:lnTo>
                    <a:pt x="127" y="35"/>
                  </a:lnTo>
                  <a:lnTo>
                    <a:pt x="128" y="32"/>
                  </a:lnTo>
                  <a:lnTo>
                    <a:pt x="130" y="28"/>
                  </a:lnTo>
                  <a:lnTo>
                    <a:pt x="132" y="22"/>
                  </a:lnTo>
                  <a:lnTo>
                    <a:pt x="135" y="18"/>
                  </a:lnTo>
                  <a:lnTo>
                    <a:pt x="138" y="15"/>
                  </a:lnTo>
                  <a:lnTo>
                    <a:pt x="141" y="12"/>
                  </a:lnTo>
                  <a:lnTo>
                    <a:pt x="146" y="9"/>
                  </a:lnTo>
                  <a:lnTo>
                    <a:pt x="150" y="6"/>
                  </a:lnTo>
                  <a:lnTo>
                    <a:pt x="154" y="4"/>
                  </a:lnTo>
                  <a:lnTo>
                    <a:pt x="159" y="2"/>
                  </a:lnTo>
                  <a:lnTo>
                    <a:pt x="165" y="1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3" y="0"/>
                  </a:lnTo>
                  <a:lnTo>
                    <a:pt x="189" y="1"/>
                  </a:lnTo>
                  <a:lnTo>
                    <a:pt x="194" y="2"/>
                  </a:lnTo>
                  <a:lnTo>
                    <a:pt x="199" y="4"/>
                  </a:lnTo>
                  <a:lnTo>
                    <a:pt x="204" y="6"/>
                  </a:lnTo>
                  <a:lnTo>
                    <a:pt x="208" y="9"/>
                  </a:lnTo>
                  <a:lnTo>
                    <a:pt x="212" y="12"/>
                  </a:lnTo>
                  <a:lnTo>
                    <a:pt x="215" y="15"/>
                  </a:lnTo>
                  <a:lnTo>
                    <a:pt x="219" y="18"/>
                  </a:lnTo>
                  <a:lnTo>
                    <a:pt x="222" y="22"/>
                  </a:lnTo>
                  <a:lnTo>
                    <a:pt x="224" y="28"/>
                  </a:lnTo>
                  <a:lnTo>
                    <a:pt x="226" y="32"/>
                  </a:lnTo>
                  <a:lnTo>
                    <a:pt x="227" y="37"/>
                  </a:lnTo>
                  <a:lnTo>
                    <a:pt x="228" y="43"/>
                  </a:lnTo>
                  <a:lnTo>
                    <a:pt x="229" y="49"/>
                  </a:lnTo>
                  <a:lnTo>
                    <a:pt x="229" y="55"/>
                  </a:lnTo>
                  <a:lnTo>
                    <a:pt x="229" y="169"/>
                  </a:lnTo>
                  <a:lnTo>
                    <a:pt x="229" y="176"/>
                  </a:lnTo>
                  <a:lnTo>
                    <a:pt x="228" y="182"/>
                  </a:lnTo>
                  <a:lnTo>
                    <a:pt x="227" y="187"/>
                  </a:lnTo>
                  <a:lnTo>
                    <a:pt x="226" y="190"/>
                  </a:lnTo>
                  <a:lnTo>
                    <a:pt x="226" y="193"/>
                  </a:lnTo>
                  <a:lnTo>
                    <a:pt x="224" y="198"/>
                  </a:lnTo>
                  <a:lnTo>
                    <a:pt x="222" y="202"/>
                  </a:lnTo>
                  <a:lnTo>
                    <a:pt x="219" y="206"/>
                  </a:lnTo>
                  <a:lnTo>
                    <a:pt x="215" y="211"/>
                  </a:lnTo>
                  <a:lnTo>
                    <a:pt x="212" y="214"/>
                  </a:lnTo>
                  <a:lnTo>
                    <a:pt x="208" y="217"/>
                  </a:lnTo>
                  <a:lnTo>
                    <a:pt x="204" y="219"/>
                  </a:lnTo>
                  <a:lnTo>
                    <a:pt x="199" y="221"/>
                  </a:lnTo>
                  <a:lnTo>
                    <a:pt x="194" y="222"/>
                  </a:lnTo>
                  <a:lnTo>
                    <a:pt x="189" y="223"/>
                  </a:lnTo>
                  <a:lnTo>
                    <a:pt x="183" y="224"/>
                  </a:lnTo>
                  <a:lnTo>
                    <a:pt x="176" y="224"/>
                  </a:lnTo>
                  <a:lnTo>
                    <a:pt x="171" y="224"/>
                  </a:lnTo>
                  <a:lnTo>
                    <a:pt x="165" y="223"/>
                  </a:lnTo>
                  <a:lnTo>
                    <a:pt x="159" y="222"/>
                  </a:lnTo>
                  <a:lnTo>
                    <a:pt x="154" y="221"/>
                  </a:lnTo>
                  <a:lnTo>
                    <a:pt x="150" y="219"/>
                  </a:lnTo>
                  <a:lnTo>
                    <a:pt x="146" y="217"/>
                  </a:lnTo>
                  <a:lnTo>
                    <a:pt x="141" y="214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32" y="202"/>
                  </a:lnTo>
                  <a:lnTo>
                    <a:pt x="130" y="198"/>
                  </a:lnTo>
                  <a:lnTo>
                    <a:pt x="128" y="193"/>
                  </a:lnTo>
                  <a:lnTo>
                    <a:pt x="127" y="187"/>
                  </a:lnTo>
                  <a:lnTo>
                    <a:pt x="125" y="182"/>
                  </a:lnTo>
                  <a:lnTo>
                    <a:pt x="124" y="176"/>
                  </a:lnTo>
                  <a:lnTo>
                    <a:pt x="124" y="169"/>
                  </a:lnTo>
                  <a:lnTo>
                    <a:pt x="124" y="55"/>
                  </a:lnTo>
                  <a:close/>
                  <a:moveTo>
                    <a:pt x="35" y="34"/>
                  </a:moveTo>
                  <a:lnTo>
                    <a:pt x="35" y="108"/>
                  </a:lnTo>
                  <a:lnTo>
                    <a:pt x="50" y="108"/>
                  </a:lnTo>
                  <a:lnTo>
                    <a:pt x="55" y="108"/>
                  </a:lnTo>
                  <a:lnTo>
                    <a:pt x="58" y="107"/>
                  </a:lnTo>
                  <a:lnTo>
                    <a:pt x="61" y="106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66" y="97"/>
                  </a:lnTo>
                  <a:lnTo>
                    <a:pt x="67" y="93"/>
                  </a:lnTo>
                  <a:lnTo>
                    <a:pt x="67" y="88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6" y="44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1" y="36"/>
                  </a:lnTo>
                  <a:lnTo>
                    <a:pt x="58" y="35"/>
                  </a:lnTo>
                  <a:lnTo>
                    <a:pt x="55" y="34"/>
                  </a:lnTo>
                  <a:lnTo>
                    <a:pt x="50" y="34"/>
                  </a:lnTo>
                  <a:lnTo>
                    <a:pt x="35" y="34"/>
                  </a:lnTo>
                  <a:close/>
                  <a:moveTo>
                    <a:pt x="102" y="57"/>
                  </a:moveTo>
                  <a:lnTo>
                    <a:pt x="102" y="86"/>
                  </a:lnTo>
                  <a:lnTo>
                    <a:pt x="101" y="92"/>
                  </a:lnTo>
                  <a:lnTo>
                    <a:pt x="101" y="97"/>
                  </a:lnTo>
                  <a:lnTo>
                    <a:pt x="100" y="104"/>
                  </a:lnTo>
                  <a:lnTo>
                    <a:pt x="99" y="109"/>
                  </a:lnTo>
                  <a:lnTo>
                    <a:pt x="97" y="113"/>
                  </a:lnTo>
                  <a:lnTo>
                    <a:pt x="95" y="118"/>
                  </a:lnTo>
                  <a:lnTo>
                    <a:pt x="92" y="122"/>
                  </a:lnTo>
                  <a:lnTo>
                    <a:pt x="89" y="126"/>
                  </a:lnTo>
                  <a:lnTo>
                    <a:pt x="85" y="129"/>
                  </a:lnTo>
                  <a:lnTo>
                    <a:pt x="82" y="132"/>
                  </a:lnTo>
                  <a:lnTo>
                    <a:pt x="78" y="134"/>
                  </a:lnTo>
                  <a:lnTo>
                    <a:pt x="73" y="136"/>
                  </a:lnTo>
                  <a:lnTo>
                    <a:pt x="68" y="138"/>
                  </a:lnTo>
                  <a:lnTo>
                    <a:pt x="62" y="139"/>
                  </a:lnTo>
                  <a:lnTo>
                    <a:pt x="57" y="140"/>
                  </a:lnTo>
                  <a:lnTo>
                    <a:pt x="50" y="140"/>
                  </a:lnTo>
                  <a:lnTo>
                    <a:pt x="35" y="140"/>
                  </a:lnTo>
                  <a:lnTo>
                    <a:pt x="35" y="222"/>
                  </a:lnTo>
                  <a:lnTo>
                    <a:pt x="0" y="222"/>
                  </a:lnTo>
                  <a:lnTo>
                    <a:pt x="0" y="3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2" y="3"/>
                  </a:lnTo>
                  <a:lnTo>
                    <a:pt x="68" y="4"/>
                  </a:lnTo>
                  <a:lnTo>
                    <a:pt x="73" y="6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9" y="17"/>
                  </a:lnTo>
                  <a:lnTo>
                    <a:pt x="92" y="20"/>
                  </a:lnTo>
                  <a:lnTo>
                    <a:pt x="95" y="24"/>
                  </a:lnTo>
                  <a:lnTo>
                    <a:pt x="97" y="29"/>
                  </a:lnTo>
                  <a:lnTo>
                    <a:pt x="99" y="34"/>
                  </a:lnTo>
                  <a:lnTo>
                    <a:pt x="100" y="39"/>
                  </a:lnTo>
                  <a:lnTo>
                    <a:pt x="101" y="44"/>
                  </a:lnTo>
                  <a:lnTo>
                    <a:pt x="101" y="51"/>
                  </a:lnTo>
                  <a:lnTo>
                    <a:pt x="10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64097250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382F47-9B5F-4EC1-ACBD-AA182C5E96DA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686644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1133F2-ADA8-4615-A086-39564A0CCCC8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06342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204F9-6B75-4326-AE11-BBF3F6C4ABC4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640376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117D30-A47B-45CC-901E-9DF9DD5E7785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8445086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D3E04-E63D-4FB1-9BA6-0A7D9AD04F7F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6121746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8A2A84-4AF0-4EF7-8B7B-058BEC5B43B3}" type="datetime1">
              <a:rPr lang="fi-FI" smtClean="0"/>
              <a:t>28.2.2018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4094734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BD03FD-9E9E-4B81-B83C-02824E12256F}" type="datetime1">
              <a:rPr lang="fi-FI" smtClean="0"/>
              <a:t>28.2.2018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76870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A9BBA07-5AE4-4835-BDC9-104D44A6E5CC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93075305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EF673-9D1A-4249-AAFF-C3CDF46094FD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387951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39CD645-DFAA-4D99-A7C7-E26B0318F28E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0"/>
            <p:cNvSpPr>
              <a:spLocks noEditPoints="1"/>
            </p:cNvSpPr>
            <p:nvPr userDrawn="1"/>
          </p:nvSpPr>
          <p:spPr bwMode="auto">
            <a:xfrm>
              <a:off x="9094170" y="6475574"/>
              <a:ext cx="1502915" cy="209315"/>
            </a:xfrm>
            <a:custGeom>
              <a:avLst/>
              <a:gdLst>
                <a:gd name="T0" fmla="*/ 1559 w 1594"/>
                <a:gd name="T1" fmla="*/ 219 h 222"/>
                <a:gd name="T2" fmla="*/ 1559 w 1594"/>
                <a:gd name="T3" fmla="*/ 0 h 222"/>
                <a:gd name="T4" fmla="*/ 1418 w 1594"/>
                <a:gd name="T5" fmla="*/ 104 h 222"/>
                <a:gd name="T6" fmla="*/ 1427 w 1594"/>
                <a:gd name="T7" fmla="*/ 85 h 222"/>
                <a:gd name="T8" fmla="*/ 1421 w 1594"/>
                <a:gd name="T9" fmla="*/ 33 h 222"/>
                <a:gd name="T10" fmla="*/ 1462 w 1594"/>
                <a:gd name="T11" fmla="*/ 83 h 222"/>
                <a:gd name="T12" fmla="*/ 1455 w 1594"/>
                <a:gd name="T13" fmla="*/ 115 h 222"/>
                <a:gd name="T14" fmla="*/ 1432 w 1594"/>
                <a:gd name="T15" fmla="*/ 133 h 222"/>
                <a:gd name="T16" fmla="*/ 1394 w 1594"/>
                <a:gd name="T17" fmla="*/ 219 h 222"/>
                <a:gd name="T18" fmla="*/ 1428 w 1594"/>
                <a:gd name="T19" fmla="*/ 1 h 222"/>
                <a:gd name="T20" fmla="*/ 1451 w 1594"/>
                <a:gd name="T21" fmla="*/ 17 h 222"/>
                <a:gd name="T22" fmla="*/ 1461 w 1594"/>
                <a:gd name="T23" fmla="*/ 48 h 222"/>
                <a:gd name="T24" fmla="*/ 1290 w 1594"/>
                <a:gd name="T25" fmla="*/ 104 h 222"/>
                <a:gd name="T26" fmla="*/ 1300 w 1594"/>
                <a:gd name="T27" fmla="*/ 85 h 222"/>
                <a:gd name="T28" fmla="*/ 1293 w 1594"/>
                <a:gd name="T29" fmla="*/ 33 h 222"/>
                <a:gd name="T30" fmla="*/ 1334 w 1594"/>
                <a:gd name="T31" fmla="*/ 83 h 222"/>
                <a:gd name="T32" fmla="*/ 1327 w 1594"/>
                <a:gd name="T33" fmla="*/ 115 h 222"/>
                <a:gd name="T34" fmla="*/ 1305 w 1594"/>
                <a:gd name="T35" fmla="*/ 133 h 222"/>
                <a:gd name="T36" fmla="*/ 1266 w 1594"/>
                <a:gd name="T37" fmla="*/ 219 h 222"/>
                <a:gd name="T38" fmla="*/ 1300 w 1594"/>
                <a:gd name="T39" fmla="*/ 1 h 222"/>
                <a:gd name="T40" fmla="*/ 1324 w 1594"/>
                <a:gd name="T41" fmla="*/ 17 h 222"/>
                <a:gd name="T42" fmla="*/ 1334 w 1594"/>
                <a:gd name="T43" fmla="*/ 48 h 222"/>
                <a:gd name="T44" fmla="*/ 1134 w 1594"/>
                <a:gd name="T45" fmla="*/ 181 h 222"/>
                <a:gd name="T46" fmla="*/ 1150 w 1594"/>
                <a:gd name="T47" fmla="*/ 191 h 222"/>
                <a:gd name="T48" fmla="*/ 1167 w 1594"/>
                <a:gd name="T49" fmla="*/ 179 h 222"/>
                <a:gd name="T50" fmla="*/ 1201 w 1594"/>
                <a:gd name="T51" fmla="*/ 173 h 222"/>
                <a:gd name="T52" fmla="*/ 1191 w 1594"/>
                <a:gd name="T53" fmla="*/ 203 h 222"/>
                <a:gd name="T54" fmla="*/ 1171 w 1594"/>
                <a:gd name="T55" fmla="*/ 218 h 222"/>
                <a:gd name="T56" fmla="*/ 1137 w 1594"/>
                <a:gd name="T57" fmla="*/ 221 h 222"/>
                <a:gd name="T58" fmla="*/ 1111 w 1594"/>
                <a:gd name="T59" fmla="*/ 208 h 222"/>
                <a:gd name="T60" fmla="*/ 1099 w 1594"/>
                <a:gd name="T61" fmla="*/ 179 h 222"/>
                <a:gd name="T62" fmla="*/ 1030 w 1594"/>
                <a:gd name="T63" fmla="*/ 149 h 222"/>
                <a:gd name="T64" fmla="*/ 992 w 1594"/>
                <a:gd name="T65" fmla="*/ 179 h 222"/>
                <a:gd name="T66" fmla="*/ 872 w 1594"/>
                <a:gd name="T67" fmla="*/ 131 h 222"/>
                <a:gd name="T68" fmla="*/ 861 w 1594"/>
                <a:gd name="T69" fmla="*/ 95 h 222"/>
                <a:gd name="T70" fmla="*/ 872 w 1594"/>
                <a:gd name="T71" fmla="*/ 131 h 222"/>
                <a:gd name="T72" fmla="*/ 733 w 1594"/>
                <a:gd name="T73" fmla="*/ 219 h 222"/>
                <a:gd name="T74" fmla="*/ 666 w 1594"/>
                <a:gd name="T75" fmla="*/ 124 h 222"/>
                <a:gd name="T76" fmla="*/ 584 w 1594"/>
                <a:gd name="T77" fmla="*/ 0 h 222"/>
                <a:gd name="T78" fmla="*/ 482 w 1594"/>
                <a:gd name="T79" fmla="*/ 151 h 222"/>
                <a:gd name="T80" fmla="*/ 526 w 1594"/>
                <a:gd name="T81" fmla="*/ 0 h 222"/>
                <a:gd name="T82" fmla="*/ 347 w 1594"/>
                <a:gd name="T83" fmla="*/ 31 h 222"/>
                <a:gd name="T84" fmla="*/ 375 w 1594"/>
                <a:gd name="T85" fmla="*/ 94 h 222"/>
                <a:gd name="T86" fmla="*/ 381 w 1594"/>
                <a:gd name="T87" fmla="*/ 53 h 222"/>
                <a:gd name="T88" fmla="*/ 374 w 1594"/>
                <a:gd name="T89" fmla="*/ 33 h 222"/>
                <a:gd name="T90" fmla="*/ 384 w 1594"/>
                <a:gd name="T91" fmla="*/ 215 h 222"/>
                <a:gd name="T92" fmla="*/ 381 w 1594"/>
                <a:gd name="T93" fmla="*/ 145 h 222"/>
                <a:gd name="T94" fmla="*/ 365 w 1594"/>
                <a:gd name="T95" fmla="*/ 130 h 222"/>
                <a:gd name="T96" fmla="*/ 365 w 1594"/>
                <a:gd name="T97" fmla="*/ 0 h 222"/>
                <a:gd name="T98" fmla="*/ 397 w 1594"/>
                <a:gd name="T99" fmla="*/ 7 h 222"/>
                <a:gd name="T100" fmla="*/ 413 w 1594"/>
                <a:gd name="T101" fmla="*/ 28 h 222"/>
                <a:gd name="T102" fmla="*/ 416 w 1594"/>
                <a:gd name="T103" fmla="*/ 75 h 222"/>
                <a:gd name="T104" fmla="*/ 405 w 1594"/>
                <a:gd name="T105" fmla="*/ 103 h 222"/>
                <a:gd name="T106" fmla="*/ 402 w 1594"/>
                <a:gd name="T107" fmla="*/ 117 h 222"/>
                <a:gd name="T108" fmla="*/ 416 w 1594"/>
                <a:gd name="T109" fmla="*/ 146 h 222"/>
                <a:gd name="T110" fmla="*/ 418 w 1594"/>
                <a:gd name="T111" fmla="*/ 213 h 222"/>
                <a:gd name="T112" fmla="*/ 227 w 1594"/>
                <a:gd name="T113" fmla="*/ 38 h 222"/>
                <a:gd name="T114" fmla="*/ 200 w 1594"/>
                <a:gd name="T115" fmla="*/ 219 h 222"/>
                <a:gd name="T116" fmla="*/ 97 w 1594"/>
                <a:gd name="T117" fmla="*/ 0 h 222"/>
                <a:gd name="T118" fmla="*/ 55 w 1594"/>
                <a:gd name="T119" fmla="*/ 219 h 222"/>
                <a:gd name="T120" fmla="*/ 73 w 1594"/>
                <a:gd name="T121" fmla="*/ 15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94" h="222">
                  <a:moveTo>
                    <a:pt x="1516" y="149"/>
                  </a:moveTo>
                  <a:lnTo>
                    <a:pt x="1549" y="149"/>
                  </a:lnTo>
                  <a:lnTo>
                    <a:pt x="1533" y="38"/>
                  </a:lnTo>
                  <a:lnTo>
                    <a:pt x="1516" y="149"/>
                  </a:lnTo>
                  <a:close/>
                  <a:moveTo>
                    <a:pt x="1594" y="219"/>
                  </a:moveTo>
                  <a:lnTo>
                    <a:pt x="1559" y="219"/>
                  </a:lnTo>
                  <a:lnTo>
                    <a:pt x="1554" y="179"/>
                  </a:lnTo>
                  <a:lnTo>
                    <a:pt x="1512" y="179"/>
                  </a:lnTo>
                  <a:lnTo>
                    <a:pt x="1505" y="219"/>
                  </a:lnTo>
                  <a:lnTo>
                    <a:pt x="1474" y="219"/>
                  </a:lnTo>
                  <a:lnTo>
                    <a:pt x="1508" y="0"/>
                  </a:lnTo>
                  <a:lnTo>
                    <a:pt x="1559" y="0"/>
                  </a:lnTo>
                  <a:lnTo>
                    <a:pt x="1594" y="219"/>
                  </a:lnTo>
                  <a:close/>
                  <a:moveTo>
                    <a:pt x="1394" y="31"/>
                  </a:moveTo>
                  <a:lnTo>
                    <a:pt x="1394" y="105"/>
                  </a:lnTo>
                  <a:lnTo>
                    <a:pt x="1410" y="105"/>
                  </a:lnTo>
                  <a:lnTo>
                    <a:pt x="1414" y="105"/>
                  </a:lnTo>
                  <a:lnTo>
                    <a:pt x="1418" y="104"/>
                  </a:lnTo>
                  <a:lnTo>
                    <a:pt x="1421" y="103"/>
                  </a:lnTo>
                  <a:lnTo>
                    <a:pt x="1423" y="101"/>
                  </a:lnTo>
                  <a:lnTo>
                    <a:pt x="1425" y="99"/>
                  </a:lnTo>
                  <a:lnTo>
                    <a:pt x="1426" y="94"/>
                  </a:lnTo>
                  <a:lnTo>
                    <a:pt x="1427" y="90"/>
                  </a:lnTo>
                  <a:lnTo>
                    <a:pt x="1427" y="85"/>
                  </a:lnTo>
                  <a:lnTo>
                    <a:pt x="1427" y="52"/>
                  </a:lnTo>
                  <a:lnTo>
                    <a:pt x="1427" y="47"/>
                  </a:lnTo>
                  <a:lnTo>
                    <a:pt x="1426" y="41"/>
                  </a:lnTo>
                  <a:lnTo>
                    <a:pt x="1425" y="38"/>
                  </a:lnTo>
                  <a:lnTo>
                    <a:pt x="1423" y="35"/>
                  </a:lnTo>
                  <a:lnTo>
                    <a:pt x="1421" y="33"/>
                  </a:lnTo>
                  <a:lnTo>
                    <a:pt x="1418" y="32"/>
                  </a:lnTo>
                  <a:lnTo>
                    <a:pt x="1414" y="31"/>
                  </a:lnTo>
                  <a:lnTo>
                    <a:pt x="1410" y="31"/>
                  </a:lnTo>
                  <a:lnTo>
                    <a:pt x="1394" y="31"/>
                  </a:lnTo>
                  <a:close/>
                  <a:moveTo>
                    <a:pt x="1462" y="54"/>
                  </a:moveTo>
                  <a:lnTo>
                    <a:pt x="1462" y="83"/>
                  </a:lnTo>
                  <a:lnTo>
                    <a:pt x="1461" y="89"/>
                  </a:lnTo>
                  <a:lnTo>
                    <a:pt x="1461" y="94"/>
                  </a:lnTo>
                  <a:lnTo>
                    <a:pt x="1460" y="101"/>
                  </a:lnTo>
                  <a:lnTo>
                    <a:pt x="1459" y="106"/>
                  </a:lnTo>
                  <a:lnTo>
                    <a:pt x="1457" y="110"/>
                  </a:lnTo>
                  <a:lnTo>
                    <a:pt x="1455" y="115"/>
                  </a:lnTo>
                  <a:lnTo>
                    <a:pt x="1451" y="119"/>
                  </a:lnTo>
                  <a:lnTo>
                    <a:pt x="1449" y="123"/>
                  </a:lnTo>
                  <a:lnTo>
                    <a:pt x="1445" y="126"/>
                  </a:lnTo>
                  <a:lnTo>
                    <a:pt x="1442" y="129"/>
                  </a:lnTo>
                  <a:lnTo>
                    <a:pt x="1438" y="131"/>
                  </a:lnTo>
                  <a:lnTo>
                    <a:pt x="1432" y="133"/>
                  </a:lnTo>
                  <a:lnTo>
                    <a:pt x="1428" y="135"/>
                  </a:lnTo>
                  <a:lnTo>
                    <a:pt x="1423" y="136"/>
                  </a:lnTo>
                  <a:lnTo>
                    <a:pt x="1416" y="137"/>
                  </a:lnTo>
                  <a:lnTo>
                    <a:pt x="1410" y="137"/>
                  </a:lnTo>
                  <a:lnTo>
                    <a:pt x="1394" y="137"/>
                  </a:lnTo>
                  <a:lnTo>
                    <a:pt x="1394" y="219"/>
                  </a:lnTo>
                  <a:lnTo>
                    <a:pt x="1359" y="219"/>
                  </a:lnTo>
                  <a:lnTo>
                    <a:pt x="1359" y="0"/>
                  </a:lnTo>
                  <a:lnTo>
                    <a:pt x="1410" y="0"/>
                  </a:lnTo>
                  <a:lnTo>
                    <a:pt x="1416" y="0"/>
                  </a:lnTo>
                  <a:lnTo>
                    <a:pt x="1423" y="0"/>
                  </a:lnTo>
                  <a:lnTo>
                    <a:pt x="1428" y="1"/>
                  </a:lnTo>
                  <a:lnTo>
                    <a:pt x="1432" y="3"/>
                  </a:lnTo>
                  <a:lnTo>
                    <a:pt x="1438" y="6"/>
                  </a:lnTo>
                  <a:lnTo>
                    <a:pt x="1442" y="8"/>
                  </a:lnTo>
                  <a:lnTo>
                    <a:pt x="1445" y="11"/>
                  </a:lnTo>
                  <a:lnTo>
                    <a:pt x="1449" y="14"/>
                  </a:lnTo>
                  <a:lnTo>
                    <a:pt x="1451" y="17"/>
                  </a:lnTo>
                  <a:lnTo>
                    <a:pt x="1455" y="21"/>
                  </a:lnTo>
                  <a:lnTo>
                    <a:pt x="1457" y="26"/>
                  </a:lnTo>
                  <a:lnTo>
                    <a:pt x="1459" y="31"/>
                  </a:lnTo>
                  <a:lnTo>
                    <a:pt x="1460" y="36"/>
                  </a:lnTo>
                  <a:lnTo>
                    <a:pt x="1461" y="41"/>
                  </a:lnTo>
                  <a:lnTo>
                    <a:pt x="1461" y="48"/>
                  </a:lnTo>
                  <a:lnTo>
                    <a:pt x="1462" y="54"/>
                  </a:lnTo>
                  <a:close/>
                  <a:moveTo>
                    <a:pt x="1266" y="31"/>
                  </a:moveTo>
                  <a:lnTo>
                    <a:pt x="1266" y="105"/>
                  </a:lnTo>
                  <a:lnTo>
                    <a:pt x="1283" y="105"/>
                  </a:lnTo>
                  <a:lnTo>
                    <a:pt x="1286" y="105"/>
                  </a:lnTo>
                  <a:lnTo>
                    <a:pt x="1290" y="104"/>
                  </a:lnTo>
                  <a:lnTo>
                    <a:pt x="1293" y="103"/>
                  </a:lnTo>
                  <a:lnTo>
                    <a:pt x="1295" y="101"/>
                  </a:lnTo>
                  <a:lnTo>
                    <a:pt x="1297" y="99"/>
                  </a:lnTo>
                  <a:lnTo>
                    <a:pt x="1298" y="94"/>
                  </a:lnTo>
                  <a:lnTo>
                    <a:pt x="1299" y="90"/>
                  </a:lnTo>
                  <a:lnTo>
                    <a:pt x="1300" y="85"/>
                  </a:lnTo>
                  <a:lnTo>
                    <a:pt x="1300" y="52"/>
                  </a:lnTo>
                  <a:lnTo>
                    <a:pt x="1299" y="47"/>
                  </a:lnTo>
                  <a:lnTo>
                    <a:pt x="1298" y="41"/>
                  </a:lnTo>
                  <a:lnTo>
                    <a:pt x="1297" y="38"/>
                  </a:lnTo>
                  <a:lnTo>
                    <a:pt x="1295" y="35"/>
                  </a:lnTo>
                  <a:lnTo>
                    <a:pt x="1293" y="33"/>
                  </a:lnTo>
                  <a:lnTo>
                    <a:pt x="1290" y="32"/>
                  </a:lnTo>
                  <a:lnTo>
                    <a:pt x="1286" y="31"/>
                  </a:lnTo>
                  <a:lnTo>
                    <a:pt x="1283" y="31"/>
                  </a:lnTo>
                  <a:lnTo>
                    <a:pt x="1266" y="31"/>
                  </a:lnTo>
                  <a:close/>
                  <a:moveTo>
                    <a:pt x="1334" y="54"/>
                  </a:moveTo>
                  <a:lnTo>
                    <a:pt x="1334" y="83"/>
                  </a:lnTo>
                  <a:lnTo>
                    <a:pt x="1334" y="89"/>
                  </a:lnTo>
                  <a:lnTo>
                    <a:pt x="1333" y="94"/>
                  </a:lnTo>
                  <a:lnTo>
                    <a:pt x="1332" y="101"/>
                  </a:lnTo>
                  <a:lnTo>
                    <a:pt x="1331" y="106"/>
                  </a:lnTo>
                  <a:lnTo>
                    <a:pt x="1329" y="110"/>
                  </a:lnTo>
                  <a:lnTo>
                    <a:pt x="1327" y="115"/>
                  </a:lnTo>
                  <a:lnTo>
                    <a:pt x="1324" y="119"/>
                  </a:lnTo>
                  <a:lnTo>
                    <a:pt x="1321" y="123"/>
                  </a:lnTo>
                  <a:lnTo>
                    <a:pt x="1318" y="126"/>
                  </a:lnTo>
                  <a:lnTo>
                    <a:pt x="1314" y="129"/>
                  </a:lnTo>
                  <a:lnTo>
                    <a:pt x="1310" y="131"/>
                  </a:lnTo>
                  <a:lnTo>
                    <a:pt x="1305" y="133"/>
                  </a:lnTo>
                  <a:lnTo>
                    <a:pt x="1300" y="135"/>
                  </a:lnTo>
                  <a:lnTo>
                    <a:pt x="1295" y="136"/>
                  </a:lnTo>
                  <a:lnTo>
                    <a:pt x="1289" y="137"/>
                  </a:lnTo>
                  <a:lnTo>
                    <a:pt x="1283" y="137"/>
                  </a:lnTo>
                  <a:lnTo>
                    <a:pt x="1266" y="137"/>
                  </a:lnTo>
                  <a:lnTo>
                    <a:pt x="1266" y="219"/>
                  </a:lnTo>
                  <a:lnTo>
                    <a:pt x="1232" y="219"/>
                  </a:lnTo>
                  <a:lnTo>
                    <a:pt x="1232" y="0"/>
                  </a:lnTo>
                  <a:lnTo>
                    <a:pt x="1283" y="0"/>
                  </a:lnTo>
                  <a:lnTo>
                    <a:pt x="1289" y="0"/>
                  </a:lnTo>
                  <a:lnTo>
                    <a:pt x="1295" y="0"/>
                  </a:lnTo>
                  <a:lnTo>
                    <a:pt x="1300" y="1"/>
                  </a:lnTo>
                  <a:lnTo>
                    <a:pt x="1305" y="3"/>
                  </a:lnTo>
                  <a:lnTo>
                    <a:pt x="1310" y="6"/>
                  </a:lnTo>
                  <a:lnTo>
                    <a:pt x="1314" y="8"/>
                  </a:lnTo>
                  <a:lnTo>
                    <a:pt x="1318" y="11"/>
                  </a:lnTo>
                  <a:lnTo>
                    <a:pt x="1321" y="14"/>
                  </a:lnTo>
                  <a:lnTo>
                    <a:pt x="1324" y="17"/>
                  </a:lnTo>
                  <a:lnTo>
                    <a:pt x="1327" y="21"/>
                  </a:lnTo>
                  <a:lnTo>
                    <a:pt x="1329" y="26"/>
                  </a:lnTo>
                  <a:lnTo>
                    <a:pt x="1331" y="31"/>
                  </a:lnTo>
                  <a:lnTo>
                    <a:pt x="1332" y="36"/>
                  </a:lnTo>
                  <a:lnTo>
                    <a:pt x="1333" y="41"/>
                  </a:lnTo>
                  <a:lnTo>
                    <a:pt x="1334" y="48"/>
                  </a:lnTo>
                  <a:lnTo>
                    <a:pt x="1334" y="54"/>
                  </a:lnTo>
                  <a:close/>
                  <a:moveTo>
                    <a:pt x="1132" y="0"/>
                  </a:moveTo>
                  <a:lnTo>
                    <a:pt x="1132" y="169"/>
                  </a:lnTo>
                  <a:lnTo>
                    <a:pt x="1133" y="175"/>
                  </a:lnTo>
                  <a:lnTo>
                    <a:pt x="1134" y="179"/>
                  </a:lnTo>
                  <a:lnTo>
                    <a:pt x="1134" y="181"/>
                  </a:lnTo>
                  <a:lnTo>
                    <a:pt x="1135" y="182"/>
                  </a:lnTo>
                  <a:lnTo>
                    <a:pt x="1137" y="185"/>
                  </a:lnTo>
                  <a:lnTo>
                    <a:pt x="1139" y="187"/>
                  </a:lnTo>
                  <a:lnTo>
                    <a:pt x="1143" y="190"/>
                  </a:lnTo>
                  <a:lnTo>
                    <a:pt x="1147" y="190"/>
                  </a:lnTo>
                  <a:lnTo>
                    <a:pt x="1150" y="191"/>
                  </a:lnTo>
                  <a:lnTo>
                    <a:pt x="1154" y="190"/>
                  </a:lnTo>
                  <a:lnTo>
                    <a:pt x="1157" y="190"/>
                  </a:lnTo>
                  <a:lnTo>
                    <a:pt x="1161" y="187"/>
                  </a:lnTo>
                  <a:lnTo>
                    <a:pt x="1164" y="185"/>
                  </a:lnTo>
                  <a:lnTo>
                    <a:pt x="1166" y="182"/>
                  </a:lnTo>
                  <a:lnTo>
                    <a:pt x="1167" y="179"/>
                  </a:lnTo>
                  <a:lnTo>
                    <a:pt x="1168" y="175"/>
                  </a:lnTo>
                  <a:lnTo>
                    <a:pt x="1168" y="169"/>
                  </a:lnTo>
                  <a:lnTo>
                    <a:pt x="1168" y="0"/>
                  </a:lnTo>
                  <a:lnTo>
                    <a:pt x="1201" y="0"/>
                  </a:lnTo>
                  <a:lnTo>
                    <a:pt x="1201" y="166"/>
                  </a:lnTo>
                  <a:lnTo>
                    <a:pt x="1201" y="173"/>
                  </a:lnTo>
                  <a:lnTo>
                    <a:pt x="1200" y="179"/>
                  </a:lnTo>
                  <a:lnTo>
                    <a:pt x="1199" y="185"/>
                  </a:lnTo>
                  <a:lnTo>
                    <a:pt x="1198" y="191"/>
                  </a:lnTo>
                  <a:lnTo>
                    <a:pt x="1195" y="195"/>
                  </a:lnTo>
                  <a:lnTo>
                    <a:pt x="1193" y="200"/>
                  </a:lnTo>
                  <a:lnTo>
                    <a:pt x="1191" y="203"/>
                  </a:lnTo>
                  <a:lnTo>
                    <a:pt x="1188" y="208"/>
                  </a:lnTo>
                  <a:lnTo>
                    <a:pt x="1184" y="211"/>
                  </a:lnTo>
                  <a:lnTo>
                    <a:pt x="1181" y="214"/>
                  </a:lnTo>
                  <a:lnTo>
                    <a:pt x="1179" y="215"/>
                  </a:lnTo>
                  <a:lnTo>
                    <a:pt x="1176" y="216"/>
                  </a:lnTo>
                  <a:lnTo>
                    <a:pt x="1171" y="218"/>
                  </a:lnTo>
                  <a:lnTo>
                    <a:pt x="1167" y="220"/>
                  </a:lnTo>
                  <a:lnTo>
                    <a:pt x="1162" y="221"/>
                  </a:lnTo>
                  <a:lnTo>
                    <a:pt x="1155" y="221"/>
                  </a:lnTo>
                  <a:lnTo>
                    <a:pt x="1149" y="222"/>
                  </a:lnTo>
                  <a:lnTo>
                    <a:pt x="1144" y="221"/>
                  </a:lnTo>
                  <a:lnTo>
                    <a:pt x="1137" y="221"/>
                  </a:lnTo>
                  <a:lnTo>
                    <a:pt x="1132" y="220"/>
                  </a:lnTo>
                  <a:lnTo>
                    <a:pt x="1127" y="218"/>
                  </a:lnTo>
                  <a:lnTo>
                    <a:pt x="1122" y="216"/>
                  </a:lnTo>
                  <a:lnTo>
                    <a:pt x="1118" y="214"/>
                  </a:lnTo>
                  <a:lnTo>
                    <a:pt x="1114" y="211"/>
                  </a:lnTo>
                  <a:lnTo>
                    <a:pt x="1111" y="208"/>
                  </a:lnTo>
                  <a:lnTo>
                    <a:pt x="1108" y="203"/>
                  </a:lnTo>
                  <a:lnTo>
                    <a:pt x="1106" y="200"/>
                  </a:lnTo>
                  <a:lnTo>
                    <a:pt x="1103" y="195"/>
                  </a:lnTo>
                  <a:lnTo>
                    <a:pt x="1101" y="191"/>
                  </a:lnTo>
                  <a:lnTo>
                    <a:pt x="1100" y="185"/>
                  </a:lnTo>
                  <a:lnTo>
                    <a:pt x="1099" y="179"/>
                  </a:lnTo>
                  <a:lnTo>
                    <a:pt x="1098" y="173"/>
                  </a:lnTo>
                  <a:lnTo>
                    <a:pt x="1098" y="166"/>
                  </a:lnTo>
                  <a:lnTo>
                    <a:pt x="1098" y="0"/>
                  </a:lnTo>
                  <a:lnTo>
                    <a:pt x="1132" y="0"/>
                  </a:lnTo>
                  <a:close/>
                  <a:moveTo>
                    <a:pt x="997" y="149"/>
                  </a:moveTo>
                  <a:lnTo>
                    <a:pt x="1030" y="149"/>
                  </a:lnTo>
                  <a:lnTo>
                    <a:pt x="1014" y="38"/>
                  </a:lnTo>
                  <a:lnTo>
                    <a:pt x="997" y="149"/>
                  </a:lnTo>
                  <a:close/>
                  <a:moveTo>
                    <a:pt x="1076" y="219"/>
                  </a:moveTo>
                  <a:lnTo>
                    <a:pt x="1041" y="219"/>
                  </a:lnTo>
                  <a:lnTo>
                    <a:pt x="1035" y="179"/>
                  </a:lnTo>
                  <a:lnTo>
                    <a:pt x="992" y="179"/>
                  </a:lnTo>
                  <a:lnTo>
                    <a:pt x="987" y="219"/>
                  </a:lnTo>
                  <a:lnTo>
                    <a:pt x="955" y="219"/>
                  </a:lnTo>
                  <a:lnTo>
                    <a:pt x="990" y="0"/>
                  </a:lnTo>
                  <a:lnTo>
                    <a:pt x="1041" y="0"/>
                  </a:lnTo>
                  <a:lnTo>
                    <a:pt x="1076" y="219"/>
                  </a:lnTo>
                  <a:close/>
                  <a:moveTo>
                    <a:pt x="872" y="131"/>
                  </a:moveTo>
                  <a:lnTo>
                    <a:pt x="861" y="151"/>
                  </a:lnTo>
                  <a:lnTo>
                    <a:pt x="861" y="219"/>
                  </a:lnTo>
                  <a:lnTo>
                    <a:pt x="826" y="219"/>
                  </a:lnTo>
                  <a:lnTo>
                    <a:pt x="826" y="0"/>
                  </a:lnTo>
                  <a:lnTo>
                    <a:pt x="861" y="0"/>
                  </a:lnTo>
                  <a:lnTo>
                    <a:pt x="861" y="95"/>
                  </a:lnTo>
                  <a:lnTo>
                    <a:pt x="907" y="0"/>
                  </a:lnTo>
                  <a:lnTo>
                    <a:pt x="941" y="0"/>
                  </a:lnTo>
                  <a:lnTo>
                    <a:pt x="893" y="98"/>
                  </a:lnTo>
                  <a:lnTo>
                    <a:pt x="941" y="219"/>
                  </a:lnTo>
                  <a:lnTo>
                    <a:pt x="906" y="219"/>
                  </a:lnTo>
                  <a:lnTo>
                    <a:pt x="872" y="131"/>
                  </a:lnTo>
                  <a:close/>
                  <a:moveTo>
                    <a:pt x="697" y="0"/>
                  </a:moveTo>
                  <a:lnTo>
                    <a:pt x="804" y="0"/>
                  </a:lnTo>
                  <a:lnTo>
                    <a:pt x="804" y="31"/>
                  </a:lnTo>
                  <a:lnTo>
                    <a:pt x="768" y="31"/>
                  </a:lnTo>
                  <a:lnTo>
                    <a:pt x="768" y="219"/>
                  </a:lnTo>
                  <a:lnTo>
                    <a:pt x="733" y="219"/>
                  </a:lnTo>
                  <a:lnTo>
                    <a:pt x="733" y="31"/>
                  </a:lnTo>
                  <a:lnTo>
                    <a:pt x="697" y="31"/>
                  </a:lnTo>
                  <a:lnTo>
                    <a:pt x="697" y="0"/>
                  </a:lnTo>
                  <a:close/>
                  <a:moveTo>
                    <a:pt x="619" y="92"/>
                  </a:moveTo>
                  <a:lnTo>
                    <a:pt x="666" y="92"/>
                  </a:lnTo>
                  <a:lnTo>
                    <a:pt x="666" y="124"/>
                  </a:lnTo>
                  <a:lnTo>
                    <a:pt x="619" y="124"/>
                  </a:lnTo>
                  <a:lnTo>
                    <a:pt x="619" y="187"/>
                  </a:lnTo>
                  <a:lnTo>
                    <a:pt x="678" y="187"/>
                  </a:lnTo>
                  <a:lnTo>
                    <a:pt x="678" y="219"/>
                  </a:lnTo>
                  <a:lnTo>
                    <a:pt x="584" y="219"/>
                  </a:lnTo>
                  <a:lnTo>
                    <a:pt x="584" y="0"/>
                  </a:lnTo>
                  <a:lnTo>
                    <a:pt x="678" y="0"/>
                  </a:lnTo>
                  <a:lnTo>
                    <a:pt x="678" y="31"/>
                  </a:lnTo>
                  <a:lnTo>
                    <a:pt x="619" y="31"/>
                  </a:lnTo>
                  <a:lnTo>
                    <a:pt x="619" y="92"/>
                  </a:lnTo>
                  <a:close/>
                  <a:moveTo>
                    <a:pt x="492" y="131"/>
                  </a:moveTo>
                  <a:lnTo>
                    <a:pt x="482" y="151"/>
                  </a:lnTo>
                  <a:lnTo>
                    <a:pt x="482" y="219"/>
                  </a:lnTo>
                  <a:lnTo>
                    <a:pt x="447" y="219"/>
                  </a:lnTo>
                  <a:lnTo>
                    <a:pt x="447" y="0"/>
                  </a:lnTo>
                  <a:lnTo>
                    <a:pt x="482" y="0"/>
                  </a:lnTo>
                  <a:lnTo>
                    <a:pt x="482" y="95"/>
                  </a:lnTo>
                  <a:lnTo>
                    <a:pt x="526" y="0"/>
                  </a:lnTo>
                  <a:lnTo>
                    <a:pt x="561" y="0"/>
                  </a:lnTo>
                  <a:lnTo>
                    <a:pt x="513" y="98"/>
                  </a:lnTo>
                  <a:lnTo>
                    <a:pt x="561" y="219"/>
                  </a:lnTo>
                  <a:lnTo>
                    <a:pt x="525" y="219"/>
                  </a:lnTo>
                  <a:lnTo>
                    <a:pt x="492" y="131"/>
                  </a:lnTo>
                  <a:close/>
                  <a:moveTo>
                    <a:pt x="347" y="31"/>
                  </a:moveTo>
                  <a:lnTo>
                    <a:pt x="347" y="99"/>
                  </a:lnTo>
                  <a:lnTo>
                    <a:pt x="361" y="99"/>
                  </a:lnTo>
                  <a:lnTo>
                    <a:pt x="365" y="99"/>
                  </a:lnTo>
                  <a:lnTo>
                    <a:pt x="370" y="98"/>
                  </a:lnTo>
                  <a:lnTo>
                    <a:pt x="373" y="95"/>
                  </a:lnTo>
                  <a:lnTo>
                    <a:pt x="375" y="94"/>
                  </a:lnTo>
                  <a:lnTo>
                    <a:pt x="376" y="93"/>
                  </a:lnTo>
                  <a:lnTo>
                    <a:pt x="378" y="90"/>
                  </a:lnTo>
                  <a:lnTo>
                    <a:pt x="380" y="86"/>
                  </a:lnTo>
                  <a:lnTo>
                    <a:pt x="381" y="82"/>
                  </a:lnTo>
                  <a:lnTo>
                    <a:pt x="381" y="75"/>
                  </a:lnTo>
                  <a:lnTo>
                    <a:pt x="381" y="53"/>
                  </a:lnTo>
                  <a:lnTo>
                    <a:pt x="381" y="48"/>
                  </a:lnTo>
                  <a:lnTo>
                    <a:pt x="381" y="44"/>
                  </a:lnTo>
                  <a:lnTo>
                    <a:pt x="379" y="39"/>
                  </a:lnTo>
                  <a:lnTo>
                    <a:pt x="378" y="36"/>
                  </a:lnTo>
                  <a:lnTo>
                    <a:pt x="375" y="34"/>
                  </a:lnTo>
                  <a:lnTo>
                    <a:pt x="374" y="33"/>
                  </a:lnTo>
                  <a:lnTo>
                    <a:pt x="372" y="32"/>
                  </a:lnTo>
                  <a:lnTo>
                    <a:pt x="368" y="31"/>
                  </a:lnTo>
                  <a:lnTo>
                    <a:pt x="364" y="31"/>
                  </a:lnTo>
                  <a:lnTo>
                    <a:pt x="347" y="31"/>
                  </a:lnTo>
                  <a:close/>
                  <a:moveTo>
                    <a:pt x="385" y="219"/>
                  </a:moveTo>
                  <a:lnTo>
                    <a:pt x="384" y="215"/>
                  </a:lnTo>
                  <a:lnTo>
                    <a:pt x="383" y="211"/>
                  </a:lnTo>
                  <a:lnTo>
                    <a:pt x="382" y="203"/>
                  </a:lnTo>
                  <a:lnTo>
                    <a:pt x="382" y="192"/>
                  </a:lnTo>
                  <a:lnTo>
                    <a:pt x="382" y="158"/>
                  </a:lnTo>
                  <a:lnTo>
                    <a:pt x="381" y="150"/>
                  </a:lnTo>
                  <a:lnTo>
                    <a:pt x="381" y="145"/>
                  </a:lnTo>
                  <a:lnTo>
                    <a:pt x="379" y="140"/>
                  </a:lnTo>
                  <a:lnTo>
                    <a:pt x="377" y="136"/>
                  </a:lnTo>
                  <a:lnTo>
                    <a:pt x="375" y="135"/>
                  </a:lnTo>
                  <a:lnTo>
                    <a:pt x="374" y="133"/>
                  </a:lnTo>
                  <a:lnTo>
                    <a:pt x="370" y="131"/>
                  </a:lnTo>
                  <a:lnTo>
                    <a:pt x="365" y="130"/>
                  </a:lnTo>
                  <a:lnTo>
                    <a:pt x="359" y="129"/>
                  </a:lnTo>
                  <a:lnTo>
                    <a:pt x="347" y="129"/>
                  </a:lnTo>
                  <a:lnTo>
                    <a:pt x="347" y="219"/>
                  </a:lnTo>
                  <a:lnTo>
                    <a:pt x="313" y="219"/>
                  </a:lnTo>
                  <a:lnTo>
                    <a:pt x="313" y="0"/>
                  </a:lnTo>
                  <a:lnTo>
                    <a:pt x="365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83" y="1"/>
                  </a:lnTo>
                  <a:lnTo>
                    <a:pt x="389" y="2"/>
                  </a:lnTo>
                  <a:lnTo>
                    <a:pt x="393" y="4"/>
                  </a:lnTo>
                  <a:lnTo>
                    <a:pt x="397" y="7"/>
                  </a:lnTo>
                  <a:lnTo>
                    <a:pt x="400" y="10"/>
                  </a:lnTo>
                  <a:lnTo>
                    <a:pt x="404" y="12"/>
                  </a:lnTo>
                  <a:lnTo>
                    <a:pt x="407" y="16"/>
                  </a:lnTo>
                  <a:lnTo>
                    <a:pt x="410" y="19"/>
                  </a:lnTo>
                  <a:lnTo>
                    <a:pt x="412" y="23"/>
                  </a:lnTo>
                  <a:lnTo>
                    <a:pt x="413" y="28"/>
                  </a:lnTo>
                  <a:lnTo>
                    <a:pt x="414" y="33"/>
                  </a:lnTo>
                  <a:lnTo>
                    <a:pt x="415" y="38"/>
                  </a:lnTo>
                  <a:lnTo>
                    <a:pt x="416" y="44"/>
                  </a:lnTo>
                  <a:lnTo>
                    <a:pt x="416" y="50"/>
                  </a:lnTo>
                  <a:lnTo>
                    <a:pt x="416" y="68"/>
                  </a:lnTo>
                  <a:lnTo>
                    <a:pt x="416" y="75"/>
                  </a:lnTo>
                  <a:lnTo>
                    <a:pt x="415" y="83"/>
                  </a:lnTo>
                  <a:lnTo>
                    <a:pt x="413" y="89"/>
                  </a:lnTo>
                  <a:lnTo>
                    <a:pt x="411" y="95"/>
                  </a:lnTo>
                  <a:lnTo>
                    <a:pt x="409" y="99"/>
                  </a:lnTo>
                  <a:lnTo>
                    <a:pt x="408" y="101"/>
                  </a:lnTo>
                  <a:lnTo>
                    <a:pt x="405" y="103"/>
                  </a:lnTo>
                  <a:lnTo>
                    <a:pt x="403" y="105"/>
                  </a:lnTo>
                  <a:lnTo>
                    <a:pt x="399" y="109"/>
                  </a:lnTo>
                  <a:lnTo>
                    <a:pt x="394" y="112"/>
                  </a:lnTo>
                  <a:lnTo>
                    <a:pt x="397" y="113"/>
                  </a:lnTo>
                  <a:lnTo>
                    <a:pt x="399" y="115"/>
                  </a:lnTo>
                  <a:lnTo>
                    <a:pt x="402" y="117"/>
                  </a:lnTo>
                  <a:lnTo>
                    <a:pt x="404" y="119"/>
                  </a:lnTo>
                  <a:lnTo>
                    <a:pt x="409" y="124"/>
                  </a:lnTo>
                  <a:lnTo>
                    <a:pt x="412" y="129"/>
                  </a:lnTo>
                  <a:lnTo>
                    <a:pt x="414" y="136"/>
                  </a:lnTo>
                  <a:lnTo>
                    <a:pt x="415" y="143"/>
                  </a:lnTo>
                  <a:lnTo>
                    <a:pt x="416" y="146"/>
                  </a:lnTo>
                  <a:lnTo>
                    <a:pt x="416" y="150"/>
                  </a:lnTo>
                  <a:lnTo>
                    <a:pt x="416" y="159"/>
                  </a:lnTo>
                  <a:lnTo>
                    <a:pt x="416" y="193"/>
                  </a:lnTo>
                  <a:lnTo>
                    <a:pt x="416" y="200"/>
                  </a:lnTo>
                  <a:lnTo>
                    <a:pt x="417" y="206"/>
                  </a:lnTo>
                  <a:lnTo>
                    <a:pt x="418" y="213"/>
                  </a:lnTo>
                  <a:lnTo>
                    <a:pt x="419" y="216"/>
                  </a:lnTo>
                  <a:lnTo>
                    <a:pt x="420" y="219"/>
                  </a:lnTo>
                  <a:lnTo>
                    <a:pt x="385" y="219"/>
                  </a:lnTo>
                  <a:close/>
                  <a:moveTo>
                    <a:pt x="211" y="149"/>
                  </a:moveTo>
                  <a:lnTo>
                    <a:pt x="244" y="149"/>
                  </a:lnTo>
                  <a:lnTo>
                    <a:pt x="227" y="38"/>
                  </a:lnTo>
                  <a:lnTo>
                    <a:pt x="211" y="149"/>
                  </a:lnTo>
                  <a:close/>
                  <a:moveTo>
                    <a:pt x="289" y="219"/>
                  </a:moveTo>
                  <a:lnTo>
                    <a:pt x="254" y="219"/>
                  </a:lnTo>
                  <a:lnTo>
                    <a:pt x="249" y="179"/>
                  </a:lnTo>
                  <a:lnTo>
                    <a:pt x="207" y="179"/>
                  </a:lnTo>
                  <a:lnTo>
                    <a:pt x="200" y="219"/>
                  </a:lnTo>
                  <a:lnTo>
                    <a:pt x="169" y="219"/>
                  </a:lnTo>
                  <a:lnTo>
                    <a:pt x="203" y="0"/>
                  </a:lnTo>
                  <a:lnTo>
                    <a:pt x="254" y="0"/>
                  </a:lnTo>
                  <a:lnTo>
                    <a:pt x="289" y="219"/>
                  </a:lnTo>
                  <a:close/>
                  <a:moveTo>
                    <a:pt x="73" y="156"/>
                  </a:moveTo>
                  <a:lnTo>
                    <a:pt x="97" y="0"/>
                  </a:lnTo>
                  <a:lnTo>
                    <a:pt x="145" y="0"/>
                  </a:lnTo>
                  <a:lnTo>
                    <a:pt x="145" y="219"/>
                  </a:lnTo>
                  <a:lnTo>
                    <a:pt x="113" y="219"/>
                  </a:lnTo>
                  <a:lnTo>
                    <a:pt x="113" y="62"/>
                  </a:lnTo>
                  <a:lnTo>
                    <a:pt x="88" y="219"/>
                  </a:lnTo>
                  <a:lnTo>
                    <a:pt x="55" y="219"/>
                  </a:lnTo>
                  <a:lnTo>
                    <a:pt x="30" y="64"/>
                  </a:lnTo>
                  <a:lnTo>
                    <a:pt x="30" y="219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48" y="0"/>
                  </a:lnTo>
                  <a:lnTo>
                    <a:pt x="73" y="1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66525057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03225-885B-45B7-B205-9FC8C07455D5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0"/>
            <p:cNvSpPr>
              <a:spLocks noEditPoints="1"/>
            </p:cNvSpPr>
            <p:nvPr userDrawn="1"/>
          </p:nvSpPr>
          <p:spPr bwMode="auto">
            <a:xfrm>
              <a:off x="9094170" y="6475574"/>
              <a:ext cx="1502915" cy="209315"/>
            </a:xfrm>
            <a:custGeom>
              <a:avLst/>
              <a:gdLst>
                <a:gd name="T0" fmla="*/ 1559 w 1594"/>
                <a:gd name="T1" fmla="*/ 219 h 222"/>
                <a:gd name="T2" fmla="*/ 1559 w 1594"/>
                <a:gd name="T3" fmla="*/ 0 h 222"/>
                <a:gd name="T4" fmla="*/ 1418 w 1594"/>
                <a:gd name="T5" fmla="*/ 104 h 222"/>
                <a:gd name="T6" fmla="*/ 1427 w 1594"/>
                <a:gd name="T7" fmla="*/ 85 h 222"/>
                <a:gd name="T8" fmla="*/ 1421 w 1594"/>
                <a:gd name="T9" fmla="*/ 33 h 222"/>
                <a:gd name="T10" fmla="*/ 1462 w 1594"/>
                <a:gd name="T11" fmla="*/ 83 h 222"/>
                <a:gd name="T12" fmla="*/ 1455 w 1594"/>
                <a:gd name="T13" fmla="*/ 115 h 222"/>
                <a:gd name="T14" fmla="*/ 1432 w 1594"/>
                <a:gd name="T15" fmla="*/ 133 h 222"/>
                <a:gd name="T16" fmla="*/ 1394 w 1594"/>
                <a:gd name="T17" fmla="*/ 219 h 222"/>
                <a:gd name="T18" fmla="*/ 1428 w 1594"/>
                <a:gd name="T19" fmla="*/ 1 h 222"/>
                <a:gd name="T20" fmla="*/ 1451 w 1594"/>
                <a:gd name="T21" fmla="*/ 17 h 222"/>
                <a:gd name="T22" fmla="*/ 1461 w 1594"/>
                <a:gd name="T23" fmla="*/ 48 h 222"/>
                <a:gd name="T24" fmla="*/ 1290 w 1594"/>
                <a:gd name="T25" fmla="*/ 104 h 222"/>
                <a:gd name="T26" fmla="*/ 1300 w 1594"/>
                <a:gd name="T27" fmla="*/ 85 h 222"/>
                <a:gd name="T28" fmla="*/ 1293 w 1594"/>
                <a:gd name="T29" fmla="*/ 33 h 222"/>
                <a:gd name="T30" fmla="*/ 1334 w 1594"/>
                <a:gd name="T31" fmla="*/ 83 h 222"/>
                <a:gd name="T32" fmla="*/ 1327 w 1594"/>
                <a:gd name="T33" fmla="*/ 115 h 222"/>
                <a:gd name="T34" fmla="*/ 1305 w 1594"/>
                <a:gd name="T35" fmla="*/ 133 h 222"/>
                <a:gd name="T36" fmla="*/ 1266 w 1594"/>
                <a:gd name="T37" fmla="*/ 219 h 222"/>
                <a:gd name="T38" fmla="*/ 1300 w 1594"/>
                <a:gd name="T39" fmla="*/ 1 h 222"/>
                <a:gd name="T40" fmla="*/ 1324 w 1594"/>
                <a:gd name="T41" fmla="*/ 17 h 222"/>
                <a:gd name="T42" fmla="*/ 1334 w 1594"/>
                <a:gd name="T43" fmla="*/ 48 h 222"/>
                <a:gd name="T44" fmla="*/ 1134 w 1594"/>
                <a:gd name="T45" fmla="*/ 181 h 222"/>
                <a:gd name="T46" fmla="*/ 1150 w 1594"/>
                <a:gd name="T47" fmla="*/ 191 h 222"/>
                <a:gd name="T48" fmla="*/ 1167 w 1594"/>
                <a:gd name="T49" fmla="*/ 179 h 222"/>
                <a:gd name="T50" fmla="*/ 1201 w 1594"/>
                <a:gd name="T51" fmla="*/ 173 h 222"/>
                <a:gd name="T52" fmla="*/ 1191 w 1594"/>
                <a:gd name="T53" fmla="*/ 203 h 222"/>
                <a:gd name="T54" fmla="*/ 1171 w 1594"/>
                <a:gd name="T55" fmla="*/ 218 h 222"/>
                <a:gd name="T56" fmla="*/ 1137 w 1594"/>
                <a:gd name="T57" fmla="*/ 221 h 222"/>
                <a:gd name="T58" fmla="*/ 1111 w 1594"/>
                <a:gd name="T59" fmla="*/ 208 h 222"/>
                <a:gd name="T60" fmla="*/ 1099 w 1594"/>
                <a:gd name="T61" fmla="*/ 179 h 222"/>
                <a:gd name="T62" fmla="*/ 1030 w 1594"/>
                <a:gd name="T63" fmla="*/ 149 h 222"/>
                <a:gd name="T64" fmla="*/ 992 w 1594"/>
                <a:gd name="T65" fmla="*/ 179 h 222"/>
                <a:gd name="T66" fmla="*/ 872 w 1594"/>
                <a:gd name="T67" fmla="*/ 131 h 222"/>
                <a:gd name="T68" fmla="*/ 861 w 1594"/>
                <a:gd name="T69" fmla="*/ 95 h 222"/>
                <a:gd name="T70" fmla="*/ 872 w 1594"/>
                <a:gd name="T71" fmla="*/ 131 h 222"/>
                <a:gd name="T72" fmla="*/ 733 w 1594"/>
                <a:gd name="T73" fmla="*/ 219 h 222"/>
                <a:gd name="T74" fmla="*/ 666 w 1594"/>
                <a:gd name="T75" fmla="*/ 124 h 222"/>
                <a:gd name="T76" fmla="*/ 584 w 1594"/>
                <a:gd name="T77" fmla="*/ 0 h 222"/>
                <a:gd name="T78" fmla="*/ 482 w 1594"/>
                <a:gd name="T79" fmla="*/ 151 h 222"/>
                <a:gd name="T80" fmla="*/ 526 w 1594"/>
                <a:gd name="T81" fmla="*/ 0 h 222"/>
                <a:gd name="T82" fmla="*/ 347 w 1594"/>
                <a:gd name="T83" fmla="*/ 31 h 222"/>
                <a:gd name="T84" fmla="*/ 375 w 1594"/>
                <a:gd name="T85" fmla="*/ 94 h 222"/>
                <a:gd name="T86" fmla="*/ 381 w 1594"/>
                <a:gd name="T87" fmla="*/ 53 h 222"/>
                <a:gd name="T88" fmla="*/ 374 w 1594"/>
                <a:gd name="T89" fmla="*/ 33 h 222"/>
                <a:gd name="T90" fmla="*/ 384 w 1594"/>
                <a:gd name="T91" fmla="*/ 215 h 222"/>
                <a:gd name="T92" fmla="*/ 381 w 1594"/>
                <a:gd name="T93" fmla="*/ 145 h 222"/>
                <a:gd name="T94" fmla="*/ 365 w 1594"/>
                <a:gd name="T95" fmla="*/ 130 h 222"/>
                <a:gd name="T96" fmla="*/ 365 w 1594"/>
                <a:gd name="T97" fmla="*/ 0 h 222"/>
                <a:gd name="T98" fmla="*/ 397 w 1594"/>
                <a:gd name="T99" fmla="*/ 7 h 222"/>
                <a:gd name="T100" fmla="*/ 413 w 1594"/>
                <a:gd name="T101" fmla="*/ 28 h 222"/>
                <a:gd name="T102" fmla="*/ 416 w 1594"/>
                <a:gd name="T103" fmla="*/ 75 h 222"/>
                <a:gd name="T104" fmla="*/ 405 w 1594"/>
                <a:gd name="T105" fmla="*/ 103 h 222"/>
                <a:gd name="T106" fmla="*/ 402 w 1594"/>
                <a:gd name="T107" fmla="*/ 117 h 222"/>
                <a:gd name="T108" fmla="*/ 416 w 1594"/>
                <a:gd name="T109" fmla="*/ 146 h 222"/>
                <a:gd name="T110" fmla="*/ 418 w 1594"/>
                <a:gd name="T111" fmla="*/ 213 h 222"/>
                <a:gd name="T112" fmla="*/ 227 w 1594"/>
                <a:gd name="T113" fmla="*/ 38 h 222"/>
                <a:gd name="T114" fmla="*/ 200 w 1594"/>
                <a:gd name="T115" fmla="*/ 219 h 222"/>
                <a:gd name="T116" fmla="*/ 97 w 1594"/>
                <a:gd name="T117" fmla="*/ 0 h 222"/>
                <a:gd name="T118" fmla="*/ 55 w 1594"/>
                <a:gd name="T119" fmla="*/ 219 h 222"/>
                <a:gd name="T120" fmla="*/ 73 w 1594"/>
                <a:gd name="T121" fmla="*/ 15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94" h="222">
                  <a:moveTo>
                    <a:pt x="1516" y="149"/>
                  </a:moveTo>
                  <a:lnTo>
                    <a:pt x="1549" y="149"/>
                  </a:lnTo>
                  <a:lnTo>
                    <a:pt x="1533" y="38"/>
                  </a:lnTo>
                  <a:lnTo>
                    <a:pt x="1516" y="149"/>
                  </a:lnTo>
                  <a:close/>
                  <a:moveTo>
                    <a:pt x="1594" y="219"/>
                  </a:moveTo>
                  <a:lnTo>
                    <a:pt x="1559" y="219"/>
                  </a:lnTo>
                  <a:lnTo>
                    <a:pt x="1554" y="179"/>
                  </a:lnTo>
                  <a:lnTo>
                    <a:pt x="1512" y="179"/>
                  </a:lnTo>
                  <a:lnTo>
                    <a:pt x="1505" y="219"/>
                  </a:lnTo>
                  <a:lnTo>
                    <a:pt x="1474" y="219"/>
                  </a:lnTo>
                  <a:lnTo>
                    <a:pt x="1508" y="0"/>
                  </a:lnTo>
                  <a:lnTo>
                    <a:pt x="1559" y="0"/>
                  </a:lnTo>
                  <a:lnTo>
                    <a:pt x="1594" y="219"/>
                  </a:lnTo>
                  <a:close/>
                  <a:moveTo>
                    <a:pt x="1394" y="31"/>
                  </a:moveTo>
                  <a:lnTo>
                    <a:pt x="1394" y="105"/>
                  </a:lnTo>
                  <a:lnTo>
                    <a:pt x="1410" y="105"/>
                  </a:lnTo>
                  <a:lnTo>
                    <a:pt x="1414" y="105"/>
                  </a:lnTo>
                  <a:lnTo>
                    <a:pt x="1418" y="104"/>
                  </a:lnTo>
                  <a:lnTo>
                    <a:pt x="1421" y="103"/>
                  </a:lnTo>
                  <a:lnTo>
                    <a:pt x="1423" y="101"/>
                  </a:lnTo>
                  <a:lnTo>
                    <a:pt x="1425" y="99"/>
                  </a:lnTo>
                  <a:lnTo>
                    <a:pt x="1426" y="94"/>
                  </a:lnTo>
                  <a:lnTo>
                    <a:pt x="1427" y="90"/>
                  </a:lnTo>
                  <a:lnTo>
                    <a:pt x="1427" y="85"/>
                  </a:lnTo>
                  <a:lnTo>
                    <a:pt x="1427" y="52"/>
                  </a:lnTo>
                  <a:lnTo>
                    <a:pt x="1427" y="47"/>
                  </a:lnTo>
                  <a:lnTo>
                    <a:pt x="1426" y="41"/>
                  </a:lnTo>
                  <a:lnTo>
                    <a:pt x="1425" y="38"/>
                  </a:lnTo>
                  <a:lnTo>
                    <a:pt x="1423" y="35"/>
                  </a:lnTo>
                  <a:lnTo>
                    <a:pt x="1421" y="33"/>
                  </a:lnTo>
                  <a:lnTo>
                    <a:pt x="1418" y="32"/>
                  </a:lnTo>
                  <a:lnTo>
                    <a:pt x="1414" y="31"/>
                  </a:lnTo>
                  <a:lnTo>
                    <a:pt x="1410" y="31"/>
                  </a:lnTo>
                  <a:lnTo>
                    <a:pt x="1394" y="31"/>
                  </a:lnTo>
                  <a:close/>
                  <a:moveTo>
                    <a:pt x="1462" y="54"/>
                  </a:moveTo>
                  <a:lnTo>
                    <a:pt x="1462" y="83"/>
                  </a:lnTo>
                  <a:lnTo>
                    <a:pt x="1461" y="89"/>
                  </a:lnTo>
                  <a:lnTo>
                    <a:pt x="1461" y="94"/>
                  </a:lnTo>
                  <a:lnTo>
                    <a:pt x="1460" y="101"/>
                  </a:lnTo>
                  <a:lnTo>
                    <a:pt x="1459" y="106"/>
                  </a:lnTo>
                  <a:lnTo>
                    <a:pt x="1457" y="110"/>
                  </a:lnTo>
                  <a:lnTo>
                    <a:pt x="1455" y="115"/>
                  </a:lnTo>
                  <a:lnTo>
                    <a:pt x="1451" y="119"/>
                  </a:lnTo>
                  <a:lnTo>
                    <a:pt x="1449" y="123"/>
                  </a:lnTo>
                  <a:lnTo>
                    <a:pt x="1445" y="126"/>
                  </a:lnTo>
                  <a:lnTo>
                    <a:pt x="1442" y="129"/>
                  </a:lnTo>
                  <a:lnTo>
                    <a:pt x="1438" y="131"/>
                  </a:lnTo>
                  <a:lnTo>
                    <a:pt x="1432" y="133"/>
                  </a:lnTo>
                  <a:lnTo>
                    <a:pt x="1428" y="135"/>
                  </a:lnTo>
                  <a:lnTo>
                    <a:pt x="1423" y="136"/>
                  </a:lnTo>
                  <a:lnTo>
                    <a:pt x="1416" y="137"/>
                  </a:lnTo>
                  <a:lnTo>
                    <a:pt x="1410" y="137"/>
                  </a:lnTo>
                  <a:lnTo>
                    <a:pt x="1394" y="137"/>
                  </a:lnTo>
                  <a:lnTo>
                    <a:pt x="1394" y="219"/>
                  </a:lnTo>
                  <a:lnTo>
                    <a:pt x="1359" y="219"/>
                  </a:lnTo>
                  <a:lnTo>
                    <a:pt x="1359" y="0"/>
                  </a:lnTo>
                  <a:lnTo>
                    <a:pt x="1410" y="0"/>
                  </a:lnTo>
                  <a:lnTo>
                    <a:pt x="1416" y="0"/>
                  </a:lnTo>
                  <a:lnTo>
                    <a:pt x="1423" y="0"/>
                  </a:lnTo>
                  <a:lnTo>
                    <a:pt x="1428" y="1"/>
                  </a:lnTo>
                  <a:lnTo>
                    <a:pt x="1432" y="3"/>
                  </a:lnTo>
                  <a:lnTo>
                    <a:pt x="1438" y="6"/>
                  </a:lnTo>
                  <a:lnTo>
                    <a:pt x="1442" y="8"/>
                  </a:lnTo>
                  <a:lnTo>
                    <a:pt x="1445" y="11"/>
                  </a:lnTo>
                  <a:lnTo>
                    <a:pt x="1449" y="14"/>
                  </a:lnTo>
                  <a:lnTo>
                    <a:pt x="1451" y="17"/>
                  </a:lnTo>
                  <a:lnTo>
                    <a:pt x="1455" y="21"/>
                  </a:lnTo>
                  <a:lnTo>
                    <a:pt x="1457" y="26"/>
                  </a:lnTo>
                  <a:lnTo>
                    <a:pt x="1459" y="31"/>
                  </a:lnTo>
                  <a:lnTo>
                    <a:pt x="1460" y="36"/>
                  </a:lnTo>
                  <a:lnTo>
                    <a:pt x="1461" y="41"/>
                  </a:lnTo>
                  <a:lnTo>
                    <a:pt x="1461" y="48"/>
                  </a:lnTo>
                  <a:lnTo>
                    <a:pt x="1462" y="54"/>
                  </a:lnTo>
                  <a:close/>
                  <a:moveTo>
                    <a:pt x="1266" y="31"/>
                  </a:moveTo>
                  <a:lnTo>
                    <a:pt x="1266" y="105"/>
                  </a:lnTo>
                  <a:lnTo>
                    <a:pt x="1283" y="105"/>
                  </a:lnTo>
                  <a:lnTo>
                    <a:pt x="1286" y="105"/>
                  </a:lnTo>
                  <a:lnTo>
                    <a:pt x="1290" y="104"/>
                  </a:lnTo>
                  <a:lnTo>
                    <a:pt x="1293" y="103"/>
                  </a:lnTo>
                  <a:lnTo>
                    <a:pt x="1295" y="101"/>
                  </a:lnTo>
                  <a:lnTo>
                    <a:pt x="1297" y="99"/>
                  </a:lnTo>
                  <a:lnTo>
                    <a:pt x="1298" y="94"/>
                  </a:lnTo>
                  <a:lnTo>
                    <a:pt x="1299" y="90"/>
                  </a:lnTo>
                  <a:lnTo>
                    <a:pt x="1300" y="85"/>
                  </a:lnTo>
                  <a:lnTo>
                    <a:pt x="1300" y="52"/>
                  </a:lnTo>
                  <a:lnTo>
                    <a:pt x="1299" y="47"/>
                  </a:lnTo>
                  <a:lnTo>
                    <a:pt x="1298" y="41"/>
                  </a:lnTo>
                  <a:lnTo>
                    <a:pt x="1297" y="38"/>
                  </a:lnTo>
                  <a:lnTo>
                    <a:pt x="1295" y="35"/>
                  </a:lnTo>
                  <a:lnTo>
                    <a:pt x="1293" y="33"/>
                  </a:lnTo>
                  <a:lnTo>
                    <a:pt x="1290" y="32"/>
                  </a:lnTo>
                  <a:lnTo>
                    <a:pt x="1286" y="31"/>
                  </a:lnTo>
                  <a:lnTo>
                    <a:pt x="1283" y="31"/>
                  </a:lnTo>
                  <a:lnTo>
                    <a:pt x="1266" y="31"/>
                  </a:lnTo>
                  <a:close/>
                  <a:moveTo>
                    <a:pt x="1334" y="54"/>
                  </a:moveTo>
                  <a:lnTo>
                    <a:pt x="1334" y="83"/>
                  </a:lnTo>
                  <a:lnTo>
                    <a:pt x="1334" y="89"/>
                  </a:lnTo>
                  <a:lnTo>
                    <a:pt x="1333" y="94"/>
                  </a:lnTo>
                  <a:lnTo>
                    <a:pt x="1332" y="101"/>
                  </a:lnTo>
                  <a:lnTo>
                    <a:pt x="1331" y="106"/>
                  </a:lnTo>
                  <a:lnTo>
                    <a:pt x="1329" y="110"/>
                  </a:lnTo>
                  <a:lnTo>
                    <a:pt x="1327" y="115"/>
                  </a:lnTo>
                  <a:lnTo>
                    <a:pt x="1324" y="119"/>
                  </a:lnTo>
                  <a:lnTo>
                    <a:pt x="1321" y="123"/>
                  </a:lnTo>
                  <a:lnTo>
                    <a:pt x="1318" y="126"/>
                  </a:lnTo>
                  <a:lnTo>
                    <a:pt x="1314" y="129"/>
                  </a:lnTo>
                  <a:lnTo>
                    <a:pt x="1310" y="131"/>
                  </a:lnTo>
                  <a:lnTo>
                    <a:pt x="1305" y="133"/>
                  </a:lnTo>
                  <a:lnTo>
                    <a:pt x="1300" y="135"/>
                  </a:lnTo>
                  <a:lnTo>
                    <a:pt x="1295" y="136"/>
                  </a:lnTo>
                  <a:lnTo>
                    <a:pt x="1289" y="137"/>
                  </a:lnTo>
                  <a:lnTo>
                    <a:pt x="1283" y="137"/>
                  </a:lnTo>
                  <a:lnTo>
                    <a:pt x="1266" y="137"/>
                  </a:lnTo>
                  <a:lnTo>
                    <a:pt x="1266" y="219"/>
                  </a:lnTo>
                  <a:lnTo>
                    <a:pt x="1232" y="219"/>
                  </a:lnTo>
                  <a:lnTo>
                    <a:pt x="1232" y="0"/>
                  </a:lnTo>
                  <a:lnTo>
                    <a:pt x="1283" y="0"/>
                  </a:lnTo>
                  <a:lnTo>
                    <a:pt x="1289" y="0"/>
                  </a:lnTo>
                  <a:lnTo>
                    <a:pt x="1295" y="0"/>
                  </a:lnTo>
                  <a:lnTo>
                    <a:pt x="1300" y="1"/>
                  </a:lnTo>
                  <a:lnTo>
                    <a:pt x="1305" y="3"/>
                  </a:lnTo>
                  <a:lnTo>
                    <a:pt x="1310" y="6"/>
                  </a:lnTo>
                  <a:lnTo>
                    <a:pt x="1314" y="8"/>
                  </a:lnTo>
                  <a:lnTo>
                    <a:pt x="1318" y="11"/>
                  </a:lnTo>
                  <a:lnTo>
                    <a:pt x="1321" y="14"/>
                  </a:lnTo>
                  <a:lnTo>
                    <a:pt x="1324" y="17"/>
                  </a:lnTo>
                  <a:lnTo>
                    <a:pt x="1327" y="21"/>
                  </a:lnTo>
                  <a:lnTo>
                    <a:pt x="1329" y="26"/>
                  </a:lnTo>
                  <a:lnTo>
                    <a:pt x="1331" y="31"/>
                  </a:lnTo>
                  <a:lnTo>
                    <a:pt x="1332" y="36"/>
                  </a:lnTo>
                  <a:lnTo>
                    <a:pt x="1333" y="41"/>
                  </a:lnTo>
                  <a:lnTo>
                    <a:pt x="1334" y="48"/>
                  </a:lnTo>
                  <a:lnTo>
                    <a:pt x="1334" y="54"/>
                  </a:lnTo>
                  <a:close/>
                  <a:moveTo>
                    <a:pt x="1132" y="0"/>
                  </a:moveTo>
                  <a:lnTo>
                    <a:pt x="1132" y="169"/>
                  </a:lnTo>
                  <a:lnTo>
                    <a:pt x="1133" y="175"/>
                  </a:lnTo>
                  <a:lnTo>
                    <a:pt x="1134" y="179"/>
                  </a:lnTo>
                  <a:lnTo>
                    <a:pt x="1134" y="181"/>
                  </a:lnTo>
                  <a:lnTo>
                    <a:pt x="1135" y="182"/>
                  </a:lnTo>
                  <a:lnTo>
                    <a:pt x="1137" y="185"/>
                  </a:lnTo>
                  <a:lnTo>
                    <a:pt x="1139" y="187"/>
                  </a:lnTo>
                  <a:lnTo>
                    <a:pt x="1143" y="190"/>
                  </a:lnTo>
                  <a:lnTo>
                    <a:pt x="1147" y="190"/>
                  </a:lnTo>
                  <a:lnTo>
                    <a:pt x="1150" y="191"/>
                  </a:lnTo>
                  <a:lnTo>
                    <a:pt x="1154" y="190"/>
                  </a:lnTo>
                  <a:lnTo>
                    <a:pt x="1157" y="190"/>
                  </a:lnTo>
                  <a:lnTo>
                    <a:pt x="1161" y="187"/>
                  </a:lnTo>
                  <a:lnTo>
                    <a:pt x="1164" y="185"/>
                  </a:lnTo>
                  <a:lnTo>
                    <a:pt x="1166" y="182"/>
                  </a:lnTo>
                  <a:lnTo>
                    <a:pt x="1167" y="179"/>
                  </a:lnTo>
                  <a:lnTo>
                    <a:pt x="1168" y="175"/>
                  </a:lnTo>
                  <a:lnTo>
                    <a:pt x="1168" y="169"/>
                  </a:lnTo>
                  <a:lnTo>
                    <a:pt x="1168" y="0"/>
                  </a:lnTo>
                  <a:lnTo>
                    <a:pt x="1201" y="0"/>
                  </a:lnTo>
                  <a:lnTo>
                    <a:pt x="1201" y="166"/>
                  </a:lnTo>
                  <a:lnTo>
                    <a:pt x="1201" y="173"/>
                  </a:lnTo>
                  <a:lnTo>
                    <a:pt x="1200" y="179"/>
                  </a:lnTo>
                  <a:lnTo>
                    <a:pt x="1199" y="185"/>
                  </a:lnTo>
                  <a:lnTo>
                    <a:pt x="1198" y="191"/>
                  </a:lnTo>
                  <a:lnTo>
                    <a:pt x="1195" y="195"/>
                  </a:lnTo>
                  <a:lnTo>
                    <a:pt x="1193" y="200"/>
                  </a:lnTo>
                  <a:lnTo>
                    <a:pt x="1191" y="203"/>
                  </a:lnTo>
                  <a:lnTo>
                    <a:pt x="1188" y="208"/>
                  </a:lnTo>
                  <a:lnTo>
                    <a:pt x="1184" y="211"/>
                  </a:lnTo>
                  <a:lnTo>
                    <a:pt x="1181" y="214"/>
                  </a:lnTo>
                  <a:lnTo>
                    <a:pt x="1179" y="215"/>
                  </a:lnTo>
                  <a:lnTo>
                    <a:pt x="1176" y="216"/>
                  </a:lnTo>
                  <a:lnTo>
                    <a:pt x="1171" y="218"/>
                  </a:lnTo>
                  <a:lnTo>
                    <a:pt x="1167" y="220"/>
                  </a:lnTo>
                  <a:lnTo>
                    <a:pt x="1162" y="221"/>
                  </a:lnTo>
                  <a:lnTo>
                    <a:pt x="1155" y="221"/>
                  </a:lnTo>
                  <a:lnTo>
                    <a:pt x="1149" y="222"/>
                  </a:lnTo>
                  <a:lnTo>
                    <a:pt x="1144" y="221"/>
                  </a:lnTo>
                  <a:lnTo>
                    <a:pt x="1137" y="221"/>
                  </a:lnTo>
                  <a:lnTo>
                    <a:pt x="1132" y="220"/>
                  </a:lnTo>
                  <a:lnTo>
                    <a:pt x="1127" y="218"/>
                  </a:lnTo>
                  <a:lnTo>
                    <a:pt x="1122" y="216"/>
                  </a:lnTo>
                  <a:lnTo>
                    <a:pt x="1118" y="214"/>
                  </a:lnTo>
                  <a:lnTo>
                    <a:pt x="1114" y="211"/>
                  </a:lnTo>
                  <a:lnTo>
                    <a:pt x="1111" y="208"/>
                  </a:lnTo>
                  <a:lnTo>
                    <a:pt x="1108" y="203"/>
                  </a:lnTo>
                  <a:lnTo>
                    <a:pt x="1106" y="200"/>
                  </a:lnTo>
                  <a:lnTo>
                    <a:pt x="1103" y="195"/>
                  </a:lnTo>
                  <a:lnTo>
                    <a:pt x="1101" y="191"/>
                  </a:lnTo>
                  <a:lnTo>
                    <a:pt x="1100" y="185"/>
                  </a:lnTo>
                  <a:lnTo>
                    <a:pt x="1099" y="179"/>
                  </a:lnTo>
                  <a:lnTo>
                    <a:pt x="1098" y="173"/>
                  </a:lnTo>
                  <a:lnTo>
                    <a:pt x="1098" y="166"/>
                  </a:lnTo>
                  <a:lnTo>
                    <a:pt x="1098" y="0"/>
                  </a:lnTo>
                  <a:lnTo>
                    <a:pt x="1132" y="0"/>
                  </a:lnTo>
                  <a:close/>
                  <a:moveTo>
                    <a:pt x="997" y="149"/>
                  </a:moveTo>
                  <a:lnTo>
                    <a:pt x="1030" y="149"/>
                  </a:lnTo>
                  <a:lnTo>
                    <a:pt x="1014" y="38"/>
                  </a:lnTo>
                  <a:lnTo>
                    <a:pt x="997" y="149"/>
                  </a:lnTo>
                  <a:close/>
                  <a:moveTo>
                    <a:pt x="1076" y="219"/>
                  </a:moveTo>
                  <a:lnTo>
                    <a:pt x="1041" y="219"/>
                  </a:lnTo>
                  <a:lnTo>
                    <a:pt x="1035" y="179"/>
                  </a:lnTo>
                  <a:lnTo>
                    <a:pt x="992" y="179"/>
                  </a:lnTo>
                  <a:lnTo>
                    <a:pt x="987" y="219"/>
                  </a:lnTo>
                  <a:lnTo>
                    <a:pt x="955" y="219"/>
                  </a:lnTo>
                  <a:lnTo>
                    <a:pt x="990" y="0"/>
                  </a:lnTo>
                  <a:lnTo>
                    <a:pt x="1041" y="0"/>
                  </a:lnTo>
                  <a:lnTo>
                    <a:pt x="1076" y="219"/>
                  </a:lnTo>
                  <a:close/>
                  <a:moveTo>
                    <a:pt x="872" y="131"/>
                  </a:moveTo>
                  <a:lnTo>
                    <a:pt x="861" y="151"/>
                  </a:lnTo>
                  <a:lnTo>
                    <a:pt x="861" y="219"/>
                  </a:lnTo>
                  <a:lnTo>
                    <a:pt x="826" y="219"/>
                  </a:lnTo>
                  <a:lnTo>
                    <a:pt x="826" y="0"/>
                  </a:lnTo>
                  <a:lnTo>
                    <a:pt x="861" y="0"/>
                  </a:lnTo>
                  <a:lnTo>
                    <a:pt x="861" y="95"/>
                  </a:lnTo>
                  <a:lnTo>
                    <a:pt x="907" y="0"/>
                  </a:lnTo>
                  <a:lnTo>
                    <a:pt x="941" y="0"/>
                  </a:lnTo>
                  <a:lnTo>
                    <a:pt x="893" y="98"/>
                  </a:lnTo>
                  <a:lnTo>
                    <a:pt x="941" y="219"/>
                  </a:lnTo>
                  <a:lnTo>
                    <a:pt x="906" y="219"/>
                  </a:lnTo>
                  <a:lnTo>
                    <a:pt x="872" y="131"/>
                  </a:lnTo>
                  <a:close/>
                  <a:moveTo>
                    <a:pt x="697" y="0"/>
                  </a:moveTo>
                  <a:lnTo>
                    <a:pt x="804" y="0"/>
                  </a:lnTo>
                  <a:lnTo>
                    <a:pt x="804" y="31"/>
                  </a:lnTo>
                  <a:lnTo>
                    <a:pt x="768" y="31"/>
                  </a:lnTo>
                  <a:lnTo>
                    <a:pt x="768" y="219"/>
                  </a:lnTo>
                  <a:lnTo>
                    <a:pt x="733" y="219"/>
                  </a:lnTo>
                  <a:lnTo>
                    <a:pt x="733" y="31"/>
                  </a:lnTo>
                  <a:lnTo>
                    <a:pt x="697" y="31"/>
                  </a:lnTo>
                  <a:lnTo>
                    <a:pt x="697" y="0"/>
                  </a:lnTo>
                  <a:close/>
                  <a:moveTo>
                    <a:pt x="619" y="92"/>
                  </a:moveTo>
                  <a:lnTo>
                    <a:pt x="666" y="92"/>
                  </a:lnTo>
                  <a:lnTo>
                    <a:pt x="666" y="124"/>
                  </a:lnTo>
                  <a:lnTo>
                    <a:pt x="619" y="124"/>
                  </a:lnTo>
                  <a:lnTo>
                    <a:pt x="619" y="187"/>
                  </a:lnTo>
                  <a:lnTo>
                    <a:pt x="678" y="187"/>
                  </a:lnTo>
                  <a:lnTo>
                    <a:pt x="678" y="219"/>
                  </a:lnTo>
                  <a:lnTo>
                    <a:pt x="584" y="219"/>
                  </a:lnTo>
                  <a:lnTo>
                    <a:pt x="584" y="0"/>
                  </a:lnTo>
                  <a:lnTo>
                    <a:pt x="678" y="0"/>
                  </a:lnTo>
                  <a:lnTo>
                    <a:pt x="678" y="31"/>
                  </a:lnTo>
                  <a:lnTo>
                    <a:pt x="619" y="31"/>
                  </a:lnTo>
                  <a:lnTo>
                    <a:pt x="619" y="92"/>
                  </a:lnTo>
                  <a:close/>
                  <a:moveTo>
                    <a:pt x="492" y="131"/>
                  </a:moveTo>
                  <a:lnTo>
                    <a:pt x="482" y="151"/>
                  </a:lnTo>
                  <a:lnTo>
                    <a:pt x="482" y="219"/>
                  </a:lnTo>
                  <a:lnTo>
                    <a:pt x="447" y="219"/>
                  </a:lnTo>
                  <a:lnTo>
                    <a:pt x="447" y="0"/>
                  </a:lnTo>
                  <a:lnTo>
                    <a:pt x="482" y="0"/>
                  </a:lnTo>
                  <a:lnTo>
                    <a:pt x="482" y="95"/>
                  </a:lnTo>
                  <a:lnTo>
                    <a:pt x="526" y="0"/>
                  </a:lnTo>
                  <a:lnTo>
                    <a:pt x="561" y="0"/>
                  </a:lnTo>
                  <a:lnTo>
                    <a:pt x="513" y="98"/>
                  </a:lnTo>
                  <a:lnTo>
                    <a:pt x="561" y="219"/>
                  </a:lnTo>
                  <a:lnTo>
                    <a:pt x="525" y="219"/>
                  </a:lnTo>
                  <a:lnTo>
                    <a:pt x="492" y="131"/>
                  </a:lnTo>
                  <a:close/>
                  <a:moveTo>
                    <a:pt x="347" y="31"/>
                  </a:moveTo>
                  <a:lnTo>
                    <a:pt x="347" y="99"/>
                  </a:lnTo>
                  <a:lnTo>
                    <a:pt x="361" y="99"/>
                  </a:lnTo>
                  <a:lnTo>
                    <a:pt x="365" y="99"/>
                  </a:lnTo>
                  <a:lnTo>
                    <a:pt x="370" y="98"/>
                  </a:lnTo>
                  <a:lnTo>
                    <a:pt x="373" y="95"/>
                  </a:lnTo>
                  <a:lnTo>
                    <a:pt x="375" y="94"/>
                  </a:lnTo>
                  <a:lnTo>
                    <a:pt x="376" y="93"/>
                  </a:lnTo>
                  <a:lnTo>
                    <a:pt x="378" y="90"/>
                  </a:lnTo>
                  <a:lnTo>
                    <a:pt x="380" y="86"/>
                  </a:lnTo>
                  <a:lnTo>
                    <a:pt x="381" y="82"/>
                  </a:lnTo>
                  <a:lnTo>
                    <a:pt x="381" y="75"/>
                  </a:lnTo>
                  <a:lnTo>
                    <a:pt x="381" y="53"/>
                  </a:lnTo>
                  <a:lnTo>
                    <a:pt x="381" y="48"/>
                  </a:lnTo>
                  <a:lnTo>
                    <a:pt x="381" y="44"/>
                  </a:lnTo>
                  <a:lnTo>
                    <a:pt x="379" y="39"/>
                  </a:lnTo>
                  <a:lnTo>
                    <a:pt x="378" y="36"/>
                  </a:lnTo>
                  <a:lnTo>
                    <a:pt x="375" y="34"/>
                  </a:lnTo>
                  <a:lnTo>
                    <a:pt x="374" y="33"/>
                  </a:lnTo>
                  <a:lnTo>
                    <a:pt x="372" y="32"/>
                  </a:lnTo>
                  <a:lnTo>
                    <a:pt x="368" y="31"/>
                  </a:lnTo>
                  <a:lnTo>
                    <a:pt x="364" y="31"/>
                  </a:lnTo>
                  <a:lnTo>
                    <a:pt x="347" y="31"/>
                  </a:lnTo>
                  <a:close/>
                  <a:moveTo>
                    <a:pt x="385" y="219"/>
                  </a:moveTo>
                  <a:lnTo>
                    <a:pt x="384" y="215"/>
                  </a:lnTo>
                  <a:lnTo>
                    <a:pt x="383" y="211"/>
                  </a:lnTo>
                  <a:lnTo>
                    <a:pt x="382" y="203"/>
                  </a:lnTo>
                  <a:lnTo>
                    <a:pt x="382" y="192"/>
                  </a:lnTo>
                  <a:lnTo>
                    <a:pt x="382" y="158"/>
                  </a:lnTo>
                  <a:lnTo>
                    <a:pt x="381" y="150"/>
                  </a:lnTo>
                  <a:lnTo>
                    <a:pt x="381" y="145"/>
                  </a:lnTo>
                  <a:lnTo>
                    <a:pt x="379" y="140"/>
                  </a:lnTo>
                  <a:lnTo>
                    <a:pt x="377" y="136"/>
                  </a:lnTo>
                  <a:lnTo>
                    <a:pt x="375" y="135"/>
                  </a:lnTo>
                  <a:lnTo>
                    <a:pt x="374" y="133"/>
                  </a:lnTo>
                  <a:lnTo>
                    <a:pt x="370" y="131"/>
                  </a:lnTo>
                  <a:lnTo>
                    <a:pt x="365" y="130"/>
                  </a:lnTo>
                  <a:lnTo>
                    <a:pt x="359" y="129"/>
                  </a:lnTo>
                  <a:lnTo>
                    <a:pt x="347" y="129"/>
                  </a:lnTo>
                  <a:lnTo>
                    <a:pt x="347" y="219"/>
                  </a:lnTo>
                  <a:lnTo>
                    <a:pt x="313" y="219"/>
                  </a:lnTo>
                  <a:lnTo>
                    <a:pt x="313" y="0"/>
                  </a:lnTo>
                  <a:lnTo>
                    <a:pt x="365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83" y="1"/>
                  </a:lnTo>
                  <a:lnTo>
                    <a:pt x="389" y="2"/>
                  </a:lnTo>
                  <a:lnTo>
                    <a:pt x="393" y="4"/>
                  </a:lnTo>
                  <a:lnTo>
                    <a:pt x="397" y="7"/>
                  </a:lnTo>
                  <a:lnTo>
                    <a:pt x="400" y="10"/>
                  </a:lnTo>
                  <a:lnTo>
                    <a:pt x="404" y="12"/>
                  </a:lnTo>
                  <a:lnTo>
                    <a:pt x="407" y="16"/>
                  </a:lnTo>
                  <a:lnTo>
                    <a:pt x="410" y="19"/>
                  </a:lnTo>
                  <a:lnTo>
                    <a:pt x="412" y="23"/>
                  </a:lnTo>
                  <a:lnTo>
                    <a:pt x="413" y="28"/>
                  </a:lnTo>
                  <a:lnTo>
                    <a:pt x="414" y="33"/>
                  </a:lnTo>
                  <a:lnTo>
                    <a:pt x="415" y="38"/>
                  </a:lnTo>
                  <a:lnTo>
                    <a:pt x="416" y="44"/>
                  </a:lnTo>
                  <a:lnTo>
                    <a:pt x="416" y="50"/>
                  </a:lnTo>
                  <a:lnTo>
                    <a:pt x="416" y="68"/>
                  </a:lnTo>
                  <a:lnTo>
                    <a:pt x="416" y="75"/>
                  </a:lnTo>
                  <a:lnTo>
                    <a:pt x="415" y="83"/>
                  </a:lnTo>
                  <a:lnTo>
                    <a:pt x="413" y="89"/>
                  </a:lnTo>
                  <a:lnTo>
                    <a:pt x="411" y="95"/>
                  </a:lnTo>
                  <a:lnTo>
                    <a:pt x="409" y="99"/>
                  </a:lnTo>
                  <a:lnTo>
                    <a:pt x="408" y="101"/>
                  </a:lnTo>
                  <a:lnTo>
                    <a:pt x="405" y="103"/>
                  </a:lnTo>
                  <a:lnTo>
                    <a:pt x="403" y="105"/>
                  </a:lnTo>
                  <a:lnTo>
                    <a:pt x="399" y="109"/>
                  </a:lnTo>
                  <a:lnTo>
                    <a:pt x="394" y="112"/>
                  </a:lnTo>
                  <a:lnTo>
                    <a:pt x="397" y="113"/>
                  </a:lnTo>
                  <a:lnTo>
                    <a:pt x="399" y="115"/>
                  </a:lnTo>
                  <a:lnTo>
                    <a:pt x="402" y="117"/>
                  </a:lnTo>
                  <a:lnTo>
                    <a:pt x="404" y="119"/>
                  </a:lnTo>
                  <a:lnTo>
                    <a:pt x="409" y="124"/>
                  </a:lnTo>
                  <a:lnTo>
                    <a:pt x="412" y="129"/>
                  </a:lnTo>
                  <a:lnTo>
                    <a:pt x="414" y="136"/>
                  </a:lnTo>
                  <a:lnTo>
                    <a:pt x="415" y="143"/>
                  </a:lnTo>
                  <a:lnTo>
                    <a:pt x="416" y="146"/>
                  </a:lnTo>
                  <a:lnTo>
                    <a:pt x="416" y="150"/>
                  </a:lnTo>
                  <a:lnTo>
                    <a:pt x="416" y="159"/>
                  </a:lnTo>
                  <a:lnTo>
                    <a:pt x="416" y="193"/>
                  </a:lnTo>
                  <a:lnTo>
                    <a:pt x="416" y="200"/>
                  </a:lnTo>
                  <a:lnTo>
                    <a:pt x="417" y="206"/>
                  </a:lnTo>
                  <a:lnTo>
                    <a:pt x="418" y="213"/>
                  </a:lnTo>
                  <a:lnTo>
                    <a:pt x="419" y="216"/>
                  </a:lnTo>
                  <a:lnTo>
                    <a:pt x="420" y="219"/>
                  </a:lnTo>
                  <a:lnTo>
                    <a:pt x="385" y="219"/>
                  </a:lnTo>
                  <a:close/>
                  <a:moveTo>
                    <a:pt x="211" y="149"/>
                  </a:moveTo>
                  <a:lnTo>
                    <a:pt x="244" y="149"/>
                  </a:lnTo>
                  <a:lnTo>
                    <a:pt x="227" y="38"/>
                  </a:lnTo>
                  <a:lnTo>
                    <a:pt x="211" y="149"/>
                  </a:lnTo>
                  <a:close/>
                  <a:moveTo>
                    <a:pt x="289" y="219"/>
                  </a:moveTo>
                  <a:lnTo>
                    <a:pt x="254" y="219"/>
                  </a:lnTo>
                  <a:lnTo>
                    <a:pt x="249" y="179"/>
                  </a:lnTo>
                  <a:lnTo>
                    <a:pt x="207" y="179"/>
                  </a:lnTo>
                  <a:lnTo>
                    <a:pt x="200" y="219"/>
                  </a:lnTo>
                  <a:lnTo>
                    <a:pt x="169" y="219"/>
                  </a:lnTo>
                  <a:lnTo>
                    <a:pt x="203" y="0"/>
                  </a:lnTo>
                  <a:lnTo>
                    <a:pt x="254" y="0"/>
                  </a:lnTo>
                  <a:lnTo>
                    <a:pt x="289" y="219"/>
                  </a:lnTo>
                  <a:close/>
                  <a:moveTo>
                    <a:pt x="73" y="156"/>
                  </a:moveTo>
                  <a:lnTo>
                    <a:pt x="97" y="0"/>
                  </a:lnTo>
                  <a:lnTo>
                    <a:pt x="145" y="0"/>
                  </a:lnTo>
                  <a:lnTo>
                    <a:pt x="145" y="219"/>
                  </a:lnTo>
                  <a:lnTo>
                    <a:pt x="113" y="219"/>
                  </a:lnTo>
                  <a:lnTo>
                    <a:pt x="113" y="62"/>
                  </a:lnTo>
                  <a:lnTo>
                    <a:pt x="88" y="219"/>
                  </a:lnTo>
                  <a:lnTo>
                    <a:pt x="55" y="219"/>
                  </a:lnTo>
                  <a:lnTo>
                    <a:pt x="30" y="64"/>
                  </a:lnTo>
                  <a:lnTo>
                    <a:pt x="30" y="219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48" y="0"/>
                  </a:lnTo>
                  <a:lnTo>
                    <a:pt x="73" y="1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83626568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D6DA9A-CBF8-46F6-A62D-E7FD4E3D6F9E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0"/>
            <p:cNvSpPr>
              <a:spLocks noEditPoints="1"/>
            </p:cNvSpPr>
            <p:nvPr userDrawn="1"/>
          </p:nvSpPr>
          <p:spPr bwMode="auto">
            <a:xfrm>
              <a:off x="9094170" y="6475574"/>
              <a:ext cx="1502915" cy="209315"/>
            </a:xfrm>
            <a:custGeom>
              <a:avLst/>
              <a:gdLst>
                <a:gd name="T0" fmla="*/ 1559 w 1594"/>
                <a:gd name="T1" fmla="*/ 219 h 222"/>
                <a:gd name="T2" fmla="*/ 1559 w 1594"/>
                <a:gd name="T3" fmla="*/ 0 h 222"/>
                <a:gd name="T4" fmla="*/ 1418 w 1594"/>
                <a:gd name="T5" fmla="*/ 104 h 222"/>
                <a:gd name="T6" fmla="*/ 1427 w 1594"/>
                <a:gd name="T7" fmla="*/ 85 h 222"/>
                <a:gd name="T8" fmla="*/ 1421 w 1594"/>
                <a:gd name="T9" fmla="*/ 33 h 222"/>
                <a:gd name="T10" fmla="*/ 1462 w 1594"/>
                <a:gd name="T11" fmla="*/ 83 h 222"/>
                <a:gd name="T12" fmla="*/ 1455 w 1594"/>
                <a:gd name="T13" fmla="*/ 115 h 222"/>
                <a:gd name="T14" fmla="*/ 1432 w 1594"/>
                <a:gd name="T15" fmla="*/ 133 h 222"/>
                <a:gd name="T16" fmla="*/ 1394 w 1594"/>
                <a:gd name="T17" fmla="*/ 219 h 222"/>
                <a:gd name="T18" fmla="*/ 1428 w 1594"/>
                <a:gd name="T19" fmla="*/ 1 h 222"/>
                <a:gd name="T20" fmla="*/ 1451 w 1594"/>
                <a:gd name="T21" fmla="*/ 17 h 222"/>
                <a:gd name="T22" fmla="*/ 1461 w 1594"/>
                <a:gd name="T23" fmla="*/ 48 h 222"/>
                <a:gd name="T24" fmla="*/ 1290 w 1594"/>
                <a:gd name="T25" fmla="*/ 104 h 222"/>
                <a:gd name="T26" fmla="*/ 1300 w 1594"/>
                <a:gd name="T27" fmla="*/ 85 h 222"/>
                <a:gd name="T28" fmla="*/ 1293 w 1594"/>
                <a:gd name="T29" fmla="*/ 33 h 222"/>
                <a:gd name="T30" fmla="*/ 1334 w 1594"/>
                <a:gd name="T31" fmla="*/ 83 h 222"/>
                <a:gd name="T32" fmla="*/ 1327 w 1594"/>
                <a:gd name="T33" fmla="*/ 115 h 222"/>
                <a:gd name="T34" fmla="*/ 1305 w 1594"/>
                <a:gd name="T35" fmla="*/ 133 h 222"/>
                <a:gd name="T36" fmla="*/ 1266 w 1594"/>
                <a:gd name="T37" fmla="*/ 219 h 222"/>
                <a:gd name="T38" fmla="*/ 1300 w 1594"/>
                <a:gd name="T39" fmla="*/ 1 h 222"/>
                <a:gd name="T40" fmla="*/ 1324 w 1594"/>
                <a:gd name="T41" fmla="*/ 17 h 222"/>
                <a:gd name="T42" fmla="*/ 1334 w 1594"/>
                <a:gd name="T43" fmla="*/ 48 h 222"/>
                <a:gd name="T44" fmla="*/ 1134 w 1594"/>
                <a:gd name="T45" fmla="*/ 181 h 222"/>
                <a:gd name="T46" fmla="*/ 1150 w 1594"/>
                <a:gd name="T47" fmla="*/ 191 h 222"/>
                <a:gd name="T48" fmla="*/ 1167 w 1594"/>
                <a:gd name="T49" fmla="*/ 179 h 222"/>
                <a:gd name="T50" fmla="*/ 1201 w 1594"/>
                <a:gd name="T51" fmla="*/ 173 h 222"/>
                <a:gd name="T52" fmla="*/ 1191 w 1594"/>
                <a:gd name="T53" fmla="*/ 203 h 222"/>
                <a:gd name="T54" fmla="*/ 1171 w 1594"/>
                <a:gd name="T55" fmla="*/ 218 h 222"/>
                <a:gd name="T56" fmla="*/ 1137 w 1594"/>
                <a:gd name="T57" fmla="*/ 221 h 222"/>
                <a:gd name="T58" fmla="*/ 1111 w 1594"/>
                <a:gd name="T59" fmla="*/ 208 h 222"/>
                <a:gd name="T60" fmla="*/ 1099 w 1594"/>
                <a:gd name="T61" fmla="*/ 179 h 222"/>
                <a:gd name="T62" fmla="*/ 1030 w 1594"/>
                <a:gd name="T63" fmla="*/ 149 h 222"/>
                <a:gd name="T64" fmla="*/ 992 w 1594"/>
                <a:gd name="T65" fmla="*/ 179 h 222"/>
                <a:gd name="T66" fmla="*/ 872 w 1594"/>
                <a:gd name="T67" fmla="*/ 131 h 222"/>
                <a:gd name="T68" fmla="*/ 861 w 1594"/>
                <a:gd name="T69" fmla="*/ 95 h 222"/>
                <a:gd name="T70" fmla="*/ 872 w 1594"/>
                <a:gd name="T71" fmla="*/ 131 h 222"/>
                <a:gd name="T72" fmla="*/ 733 w 1594"/>
                <a:gd name="T73" fmla="*/ 219 h 222"/>
                <a:gd name="T74" fmla="*/ 666 w 1594"/>
                <a:gd name="T75" fmla="*/ 124 h 222"/>
                <a:gd name="T76" fmla="*/ 584 w 1594"/>
                <a:gd name="T77" fmla="*/ 0 h 222"/>
                <a:gd name="T78" fmla="*/ 482 w 1594"/>
                <a:gd name="T79" fmla="*/ 151 h 222"/>
                <a:gd name="T80" fmla="*/ 526 w 1594"/>
                <a:gd name="T81" fmla="*/ 0 h 222"/>
                <a:gd name="T82" fmla="*/ 347 w 1594"/>
                <a:gd name="T83" fmla="*/ 31 h 222"/>
                <a:gd name="T84" fmla="*/ 375 w 1594"/>
                <a:gd name="T85" fmla="*/ 94 h 222"/>
                <a:gd name="T86" fmla="*/ 381 w 1594"/>
                <a:gd name="T87" fmla="*/ 53 h 222"/>
                <a:gd name="T88" fmla="*/ 374 w 1594"/>
                <a:gd name="T89" fmla="*/ 33 h 222"/>
                <a:gd name="T90" fmla="*/ 384 w 1594"/>
                <a:gd name="T91" fmla="*/ 215 h 222"/>
                <a:gd name="T92" fmla="*/ 381 w 1594"/>
                <a:gd name="T93" fmla="*/ 145 h 222"/>
                <a:gd name="T94" fmla="*/ 365 w 1594"/>
                <a:gd name="T95" fmla="*/ 130 h 222"/>
                <a:gd name="T96" fmla="*/ 365 w 1594"/>
                <a:gd name="T97" fmla="*/ 0 h 222"/>
                <a:gd name="T98" fmla="*/ 397 w 1594"/>
                <a:gd name="T99" fmla="*/ 7 h 222"/>
                <a:gd name="T100" fmla="*/ 413 w 1594"/>
                <a:gd name="T101" fmla="*/ 28 h 222"/>
                <a:gd name="T102" fmla="*/ 416 w 1594"/>
                <a:gd name="T103" fmla="*/ 75 h 222"/>
                <a:gd name="T104" fmla="*/ 405 w 1594"/>
                <a:gd name="T105" fmla="*/ 103 h 222"/>
                <a:gd name="T106" fmla="*/ 402 w 1594"/>
                <a:gd name="T107" fmla="*/ 117 h 222"/>
                <a:gd name="T108" fmla="*/ 416 w 1594"/>
                <a:gd name="T109" fmla="*/ 146 h 222"/>
                <a:gd name="T110" fmla="*/ 418 w 1594"/>
                <a:gd name="T111" fmla="*/ 213 h 222"/>
                <a:gd name="T112" fmla="*/ 227 w 1594"/>
                <a:gd name="T113" fmla="*/ 38 h 222"/>
                <a:gd name="T114" fmla="*/ 200 w 1594"/>
                <a:gd name="T115" fmla="*/ 219 h 222"/>
                <a:gd name="T116" fmla="*/ 97 w 1594"/>
                <a:gd name="T117" fmla="*/ 0 h 222"/>
                <a:gd name="T118" fmla="*/ 55 w 1594"/>
                <a:gd name="T119" fmla="*/ 219 h 222"/>
                <a:gd name="T120" fmla="*/ 73 w 1594"/>
                <a:gd name="T121" fmla="*/ 15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94" h="222">
                  <a:moveTo>
                    <a:pt x="1516" y="149"/>
                  </a:moveTo>
                  <a:lnTo>
                    <a:pt x="1549" y="149"/>
                  </a:lnTo>
                  <a:lnTo>
                    <a:pt x="1533" y="38"/>
                  </a:lnTo>
                  <a:lnTo>
                    <a:pt x="1516" y="149"/>
                  </a:lnTo>
                  <a:close/>
                  <a:moveTo>
                    <a:pt x="1594" y="219"/>
                  </a:moveTo>
                  <a:lnTo>
                    <a:pt x="1559" y="219"/>
                  </a:lnTo>
                  <a:lnTo>
                    <a:pt x="1554" y="179"/>
                  </a:lnTo>
                  <a:lnTo>
                    <a:pt x="1512" y="179"/>
                  </a:lnTo>
                  <a:lnTo>
                    <a:pt x="1505" y="219"/>
                  </a:lnTo>
                  <a:lnTo>
                    <a:pt x="1474" y="219"/>
                  </a:lnTo>
                  <a:lnTo>
                    <a:pt x="1508" y="0"/>
                  </a:lnTo>
                  <a:lnTo>
                    <a:pt x="1559" y="0"/>
                  </a:lnTo>
                  <a:lnTo>
                    <a:pt x="1594" y="219"/>
                  </a:lnTo>
                  <a:close/>
                  <a:moveTo>
                    <a:pt x="1394" y="31"/>
                  </a:moveTo>
                  <a:lnTo>
                    <a:pt x="1394" y="105"/>
                  </a:lnTo>
                  <a:lnTo>
                    <a:pt x="1410" y="105"/>
                  </a:lnTo>
                  <a:lnTo>
                    <a:pt x="1414" y="105"/>
                  </a:lnTo>
                  <a:lnTo>
                    <a:pt x="1418" y="104"/>
                  </a:lnTo>
                  <a:lnTo>
                    <a:pt x="1421" y="103"/>
                  </a:lnTo>
                  <a:lnTo>
                    <a:pt x="1423" y="101"/>
                  </a:lnTo>
                  <a:lnTo>
                    <a:pt x="1425" y="99"/>
                  </a:lnTo>
                  <a:lnTo>
                    <a:pt x="1426" y="94"/>
                  </a:lnTo>
                  <a:lnTo>
                    <a:pt x="1427" y="90"/>
                  </a:lnTo>
                  <a:lnTo>
                    <a:pt x="1427" y="85"/>
                  </a:lnTo>
                  <a:lnTo>
                    <a:pt x="1427" y="52"/>
                  </a:lnTo>
                  <a:lnTo>
                    <a:pt x="1427" y="47"/>
                  </a:lnTo>
                  <a:lnTo>
                    <a:pt x="1426" y="41"/>
                  </a:lnTo>
                  <a:lnTo>
                    <a:pt x="1425" y="38"/>
                  </a:lnTo>
                  <a:lnTo>
                    <a:pt x="1423" y="35"/>
                  </a:lnTo>
                  <a:lnTo>
                    <a:pt x="1421" y="33"/>
                  </a:lnTo>
                  <a:lnTo>
                    <a:pt x="1418" y="32"/>
                  </a:lnTo>
                  <a:lnTo>
                    <a:pt x="1414" y="31"/>
                  </a:lnTo>
                  <a:lnTo>
                    <a:pt x="1410" y="31"/>
                  </a:lnTo>
                  <a:lnTo>
                    <a:pt x="1394" y="31"/>
                  </a:lnTo>
                  <a:close/>
                  <a:moveTo>
                    <a:pt x="1462" y="54"/>
                  </a:moveTo>
                  <a:lnTo>
                    <a:pt x="1462" y="83"/>
                  </a:lnTo>
                  <a:lnTo>
                    <a:pt x="1461" y="89"/>
                  </a:lnTo>
                  <a:lnTo>
                    <a:pt x="1461" y="94"/>
                  </a:lnTo>
                  <a:lnTo>
                    <a:pt x="1460" y="101"/>
                  </a:lnTo>
                  <a:lnTo>
                    <a:pt x="1459" y="106"/>
                  </a:lnTo>
                  <a:lnTo>
                    <a:pt x="1457" y="110"/>
                  </a:lnTo>
                  <a:lnTo>
                    <a:pt x="1455" y="115"/>
                  </a:lnTo>
                  <a:lnTo>
                    <a:pt x="1451" y="119"/>
                  </a:lnTo>
                  <a:lnTo>
                    <a:pt x="1449" y="123"/>
                  </a:lnTo>
                  <a:lnTo>
                    <a:pt x="1445" y="126"/>
                  </a:lnTo>
                  <a:lnTo>
                    <a:pt x="1442" y="129"/>
                  </a:lnTo>
                  <a:lnTo>
                    <a:pt x="1438" y="131"/>
                  </a:lnTo>
                  <a:lnTo>
                    <a:pt x="1432" y="133"/>
                  </a:lnTo>
                  <a:lnTo>
                    <a:pt x="1428" y="135"/>
                  </a:lnTo>
                  <a:lnTo>
                    <a:pt x="1423" y="136"/>
                  </a:lnTo>
                  <a:lnTo>
                    <a:pt x="1416" y="137"/>
                  </a:lnTo>
                  <a:lnTo>
                    <a:pt x="1410" y="137"/>
                  </a:lnTo>
                  <a:lnTo>
                    <a:pt x="1394" y="137"/>
                  </a:lnTo>
                  <a:lnTo>
                    <a:pt x="1394" y="219"/>
                  </a:lnTo>
                  <a:lnTo>
                    <a:pt x="1359" y="219"/>
                  </a:lnTo>
                  <a:lnTo>
                    <a:pt x="1359" y="0"/>
                  </a:lnTo>
                  <a:lnTo>
                    <a:pt x="1410" y="0"/>
                  </a:lnTo>
                  <a:lnTo>
                    <a:pt x="1416" y="0"/>
                  </a:lnTo>
                  <a:lnTo>
                    <a:pt x="1423" y="0"/>
                  </a:lnTo>
                  <a:lnTo>
                    <a:pt x="1428" y="1"/>
                  </a:lnTo>
                  <a:lnTo>
                    <a:pt x="1432" y="3"/>
                  </a:lnTo>
                  <a:lnTo>
                    <a:pt x="1438" y="6"/>
                  </a:lnTo>
                  <a:lnTo>
                    <a:pt x="1442" y="8"/>
                  </a:lnTo>
                  <a:lnTo>
                    <a:pt x="1445" y="11"/>
                  </a:lnTo>
                  <a:lnTo>
                    <a:pt x="1449" y="14"/>
                  </a:lnTo>
                  <a:lnTo>
                    <a:pt x="1451" y="17"/>
                  </a:lnTo>
                  <a:lnTo>
                    <a:pt x="1455" y="21"/>
                  </a:lnTo>
                  <a:lnTo>
                    <a:pt x="1457" y="26"/>
                  </a:lnTo>
                  <a:lnTo>
                    <a:pt x="1459" y="31"/>
                  </a:lnTo>
                  <a:lnTo>
                    <a:pt x="1460" y="36"/>
                  </a:lnTo>
                  <a:lnTo>
                    <a:pt x="1461" y="41"/>
                  </a:lnTo>
                  <a:lnTo>
                    <a:pt x="1461" y="48"/>
                  </a:lnTo>
                  <a:lnTo>
                    <a:pt x="1462" y="54"/>
                  </a:lnTo>
                  <a:close/>
                  <a:moveTo>
                    <a:pt x="1266" y="31"/>
                  </a:moveTo>
                  <a:lnTo>
                    <a:pt x="1266" y="105"/>
                  </a:lnTo>
                  <a:lnTo>
                    <a:pt x="1283" y="105"/>
                  </a:lnTo>
                  <a:lnTo>
                    <a:pt x="1286" y="105"/>
                  </a:lnTo>
                  <a:lnTo>
                    <a:pt x="1290" y="104"/>
                  </a:lnTo>
                  <a:lnTo>
                    <a:pt x="1293" y="103"/>
                  </a:lnTo>
                  <a:lnTo>
                    <a:pt x="1295" y="101"/>
                  </a:lnTo>
                  <a:lnTo>
                    <a:pt x="1297" y="99"/>
                  </a:lnTo>
                  <a:lnTo>
                    <a:pt x="1298" y="94"/>
                  </a:lnTo>
                  <a:lnTo>
                    <a:pt x="1299" y="90"/>
                  </a:lnTo>
                  <a:lnTo>
                    <a:pt x="1300" y="85"/>
                  </a:lnTo>
                  <a:lnTo>
                    <a:pt x="1300" y="52"/>
                  </a:lnTo>
                  <a:lnTo>
                    <a:pt x="1299" y="47"/>
                  </a:lnTo>
                  <a:lnTo>
                    <a:pt x="1298" y="41"/>
                  </a:lnTo>
                  <a:lnTo>
                    <a:pt x="1297" y="38"/>
                  </a:lnTo>
                  <a:lnTo>
                    <a:pt x="1295" y="35"/>
                  </a:lnTo>
                  <a:lnTo>
                    <a:pt x="1293" y="33"/>
                  </a:lnTo>
                  <a:lnTo>
                    <a:pt x="1290" y="32"/>
                  </a:lnTo>
                  <a:lnTo>
                    <a:pt x="1286" y="31"/>
                  </a:lnTo>
                  <a:lnTo>
                    <a:pt x="1283" y="31"/>
                  </a:lnTo>
                  <a:lnTo>
                    <a:pt x="1266" y="31"/>
                  </a:lnTo>
                  <a:close/>
                  <a:moveTo>
                    <a:pt x="1334" y="54"/>
                  </a:moveTo>
                  <a:lnTo>
                    <a:pt x="1334" y="83"/>
                  </a:lnTo>
                  <a:lnTo>
                    <a:pt x="1334" y="89"/>
                  </a:lnTo>
                  <a:lnTo>
                    <a:pt x="1333" y="94"/>
                  </a:lnTo>
                  <a:lnTo>
                    <a:pt x="1332" y="101"/>
                  </a:lnTo>
                  <a:lnTo>
                    <a:pt x="1331" y="106"/>
                  </a:lnTo>
                  <a:lnTo>
                    <a:pt x="1329" y="110"/>
                  </a:lnTo>
                  <a:lnTo>
                    <a:pt x="1327" y="115"/>
                  </a:lnTo>
                  <a:lnTo>
                    <a:pt x="1324" y="119"/>
                  </a:lnTo>
                  <a:lnTo>
                    <a:pt x="1321" y="123"/>
                  </a:lnTo>
                  <a:lnTo>
                    <a:pt x="1318" y="126"/>
                  </a:lnTo>
                  <a:lnTo>
                    <a:pt x="1314" y="129"/>
                  </a:lnTo>
                  <a:lnTo>
                    <a:pt x="1310" y="131"/>
                  </a:lnTo>
                  <a:lnTo>
                    <a:pt x="1305" y="133"/>
                  </a:lnTo>
                  <a:lnTo>
                    <a:pt x="1300" y="135"/>
                  </a:lnTo>
                  <a:lnTo>
                    <a:pt x="1295" y="136"/>
                  </a:lnTo>
                  <a:lnTo>
                    <a:pt x="1289" y="137"/>
                  </a:lnTo>
                  <a:lnTo>
                    <a:pt x="1283" y="137"/>
                  </a:lnTo>
                  <a:lnTo>
                    <a:pt x="1266" y="137"/>
                  </a:lnTo>
                  <a:lnTo>
                    <a:pt x="1266" y="219"/>
                  </a:lnTo>
                  <a:lnTo>
                    <a:pt x="1232" y="219"/>
                  </a:lnTo>
                  <a:lnTo>
                    <a:pt x="1232" y="0"/>
                  </a:lnTo>
                  <a:lnTo>
                    <a:pt x="1283" y="0"/>
                  </a:lnTo>
                  <a:lnTo>
                    <a:pt x="1289" y="0"/>
                  </a:lnTo>
                  <a:lnTo>
                    <a:pt x="1295" y="0"/>
                  </a:lnTo>
                  <a:lnTo>
                    <a:pt x="1300" y="1"/>
                  </a:lnTo>
                  <a:lnTo>
                    <a:pt x="1305" y="3"/>
                  </a:lnTo>
                  <a:lnTo>
                    <a:pt x="1310" y="6"/>
                  </a:lnTo>
                  <a:lnTo>
                    <a:pt x="1314" y="8"/>
                  </a:lnTo>
                  <a:lnTo>
                    <a:pt x="1318" y="11"/>
                  </a:lnTo>
                  <a:lnTo>
                    <a:pt x="1321" y="14"/>
                  </a:lnTo>
                  <a:lnTo>
                    <a:pt x="1324" y="17"/>
                  </a:lnTo>
                  <a:lnTo>
                    <a:pt x="1327" y="21"/>
                  </a:lnTo>
                  <a:lnTo>
                    <a:pt x="1329" y="26"/>
                  </a:lnTo>
                  <a:lnTo>
                    <a:pt x="1331" y="31"/>
                  </a:lnTo>
                  <a:lnTo>
                    <a:pt x="1332" y="36"/>
                  </a:lnTo>
                  <a:lnTo>
                    <a:pt x="1333" y="41"/>
                  </a:lnTo>
                  <a:lnTo>
                    <a:pt x="1334" y="48"/>
                  </a:lnTo>
                  <a:lnTo>
                    <a:pt x="1334" y="54"/>
                  </a:lnTo>
                  <a:close/>
                  <a:moveTo>
                    <a:pt x="1132" y="0"/>
                  </a:moveTo>
                  <a:lnTo>
                    <a:pt x="1132" y="169"/>
                  </a:lnTo>
                  <a:lnTo>
                    <a:pt x="1133" y="175"/>
                  </a:lnTo>
                  <a:lnTo>
                    <a:pt x="1134" y="179"/>
                  </a:lnTo>
                  <a:lnTo>
                    <a:pt x="1134" y="181"/>
                  </a:lnTo>
                  <a:lnTo>
                    <a:pt x="1135" y="182"/>
                  </a:lnTo>
                  <a:lnTo>
                    <a:pt x="1137" y="185"/>
                  </a:lnTo>
                  <a:lnTo>
                    <a:pt x="1139" y="187"/>
                  </a:lnTo>
                  <a:lnTo>
                    <a:pt x="1143" y="190"/>
                  </a:lnTo>
                  <a:lnTo>
                    <a:pt x="1147" y="190"/>
                  </a:lnTo>
                  <a:lnTo>
                    <a:pt x="1150" y="191"/>
                  </a:lnTo>
                  <a:lnTo>
                    <a:pt x="1154" y="190"/>
                  </a:lnTo>
                  <a:lnTo>
                    <a:pt x="1157" y="190"/>
                  </a:lnTo>
                  <a:lnTo>
                    <a:pt x="1161" y="187"/>
                  </a:lnTo>
                  <a:lnTo>
                    <a:pt x="1164" y="185"/>
                  </a:lnTo>
                  <a:lnTo>
                    <a:pt x="1166" y="182"/>
                  </a:lnTo>
                  <a:lnTo>
                    <a:pt x="1167" y="179"/>
                  </a:lnTo>
                  <a:lnTo>
                    <a:pt x="1168" y="175"/>
                  </a:lnTo>
                  <a:lnTo>
                    <a:pt x="1168" y="169"/>
                  </a:lnTo>
                  <a:lnTo>
                    <a:pt x="1168" y="0"/>
                  </a:lnTo>
                  <a:lnTo>
                    <a:pt x="1201" y="0"/>
                  </a:lnTo>
                  <a:lnTo>
                    <a:pt x="1201" y="166"/>
                  </a:lnTo>
                  <a:lnTo>
                    <a:pt x="1201" y="173"/>
                  </a:lnTo>
                  <a:lnTo>
                    <a:pt x="1200" y="179"/>
                  </a:lnTo>
                  <a:lnTo>
                    <a:pt x="1199" y="185"/>
                  </a:lnTo>
                  <a:lnTo>
                    <a:pt x="1198" y="191"/>
                  </a:lnTo>
                  <a:lnTo>
                    <a:pt x="1195" y="195"/>
                  </a:lnTo>
                  <a:lnTo>
                    <a:pt x="1193" y="200"/>
                  </a:lnTo>
                  <a:lnTo>
                    <a:pt x="1191" y="203"/>
                  </a:lnTo>
                  <a:lnTo>
                    <a:pt x="1188" y="208"/>
                  </a:lnTo>
                  <a:lnTo>
                    <a:pt x="1184" y="211"/>
                  </a:lnTo>
                  <a:lnTo>
                    <a:pt x="1181" y="214"/>
                  </a:lnTo>
                  <a:lnTo>
                    <a:pt x="1179" y="215"/>
                  </a:lnTo>
                  <a:lnTo>
                    <a:pt x="1176" y="216"/>
                  </a:lnTo>
                  <a:lnTo>
                    <a:pt x="1171" y="218"/>
                  </a:lnTo>
                  <a:lnTo>
                    <a:pt x="1167" y="220"/>
                  </a:lnTo>
                  <a:lnTo>
                    <a:pt x="1162" y="221"/>
                  </a:lnTo>
                  <a:lnTo>
                    <a:pt x="1155" y="221"/>
                  </a:lnTo>
                  <a:lnTo>
                    <a:pt x="1149" y="222"/>
                  </a:lnTo>
                  <a:lnTo>
                    <a:pt x="1144" y="221"/>
                  </a:lnTo>
                  <a:lnTo>
                    <a:pt x="1137" y="221"/>
                  </a:lnTo>
                  <a:lnTo>
                    <a:pt x="1132" y="220"/>
                  </a:lnTo>
                  <a:lnTo>
                    <a:pt x="1127" y="218"/>
                  </a:lnTo>
                  <a:lnTo>
                    <a:pt x="1122" y="216"/>
                  </a:lnTo>
                  <a:lnTo>
                    <a:pt x="1118" y="214"/>
                  </a:lnTo>
                  <a:lnTo>
                    <a:pt x="1114" y="211"/>
                  </a:lnTo>
                  <a:lnTo>
                    <a:pt x="1111" y="208"/>
                  </a:lnTo>
                  <a:lnTo>
                    <a:pt x="1108" y="203"/>
                  </a:lnTo>
                  <a:lnTo>
                    <a:pt x="1106" y="200"/>
                  </a:lnTo>
                  <a:lnTo>
                    <a:pt x="1103" y="195"/>
                  </a:lnTo>
                  <a:lnTo>
                    <a:pt x="1101" y="191"/>
                  </a:lnTo>
                  <a:lnTo>
                    <a:pt x="1100" y="185"/>
                  </a:lnTo>
                  <a:lnTo>
                    <a:pt x="1099" y="179"/>
                  </a:lnTo>
                  <a:lnTo>
                    <a:pt x="1098" y="173"/>
                  </a:lnTo>
                  <a:lnTo>
                    <a:pt x="1098" y="166"/>
                  </a:lnTo>
                  <a:lnTo>
                    <a:pt x="1098" y="0"/>
                  </a:lnTo>
                  <a:lnTo>
                    <a:pt x="1132" y="0"/>
                  </a:lnTo>
                  <a:close/>
                  <a:moveTo>
                    <a:pt x="997" y="149"/>
                  </a:moveTo>
                  <a:lnTo>
                    <a:pt x="1030" y="149"/>
                  </a:lnTo>
                  <a:lnTo>
                    <a:pt x="1014" y="38"/>
                  </a:lnTo>
                  <a:lnTo>
                    <a:pt x="997" y="149"/>
                  </a:lnTo>
                  <a:close/>
                  <a:moveTo>
                    <a:pt x="1076" y="219"/>
                  </a:moveTo>
                  <a:lnTo>
                    <a:pt x="1041" y="219"/>
                  </a:lnTo>
                  <a:lnTo>
                    <a:pt x="1035" y="179"/>
                  </a:lnTo>
                  <a:lnTo>
                    <a:pt x="992" y="179"/>
                  </a:lnTo>
                  <a:lnTo>
                    <a:pt x="987" y="219"/>
                  </a:lnTo>
                  <a:lnTo>
                    <a:pt x="955" y="219"/>
                  </a:lnTo>
                  <a:lnTo>
                    <a:pt x="990" y="0"/>
                  </a:lnTo>
                  <a:lnTo>
                    <a:pt x="1041" y="0"/>
                  </a:lnTo>
                  <a:lnTo>
                    <a:pt x="1076" y="219"/>
                  </a:lnTo>
                  <a:close/>
                  <a:moveTo>
                    <a:pt x="872" y="131"/>
                  </a:moveTo>
                  <a:lnTo>
                    <a:pt x="861" y="151"/>
                  </a:lnTo>
                  <a:lnTo>
                    <a:pt x="861" y="219"/>
                  </a:lnTo>
                  <a:lnTo>
                    <a:pt x="826" y="219"/>
                  </a:lnTo>
                  <a:lnTo>
                    <a:pt x="826" y="0"/>
                  </a:lnTo>
                  <a:lnTo>
                    <a:pt x="861" y="0"/>
                  </a:lnTo>
                  <a:lnTo>
                    <a:pt x="861" y="95"/>
                  </a:lnTo>
                  <a:lnTo>
                    <a:pt x="907" y="0"/>
                  </a:lnTo>
                  <a:lnTo>
                    <a:pt x="941" y="0"/>
                  </a:lnTo>
                  <a:lnTo>
                    <a:pt x="893" y="98"/>
                  </a:lnTo>
                  <a:lnTo>
                    <a:pt x="941" y="219"/>
                  </a:lnTo>
                  <a:lnTo>
                    <a:pt x="906" y="219"/>
                  </a:lnTo>
                  <a:lnTo>
                    <a:pt x="872" y="131"/>
                  </a:lnTo>
                  <a:close/>
                  <a:moveTo>
                    <a:pt x="697" y="0"/>
                  </a:moveTo>
                  <a:lnTo>
                    <a:pt x="804" y="0"/>
                  </a:lnTo>
                  <a:lnTo>
                    <a:pt x="804" y="31"/>
                  </a:lnTo>
                  <a:lnTo>
                    <a:pt x="768" y="31"/>
                  </a:lnTo>
                  <a:lnTo>
                    <a:pt x="768" y="219"/>
                  </a:lnTo>
                  <a:lnTo>
                    <a:pt x="733" y="219"/>
                  </a:lnTo>
                  <a:lnTo>
                    <a:pt x="733" y="31"/>
                  </a:lnTo>
                  <a:lnTo>
                    <a:pt x="697" y="31"/>
                  </a:lnTo>
                  <a:lnTo>
                    <a:pt x="697" y="0"/>
                  </a:lnTo>
                  <a:close/>
                  <a:moveTo>
                    <a:pt x="619" y="92"/>
                  </a:moveTo>
                  <a:lnTo>
                    <a:pt x="666" y="92"/>
                  </a:lnTo>
                  <a:lnTo>
                    <a:pt x="666" y="124"/>
                  </a:lnTo>
                  <a:lnTo>
                    <a:pt x="619" y="124"/>
                  </a:lnTo>
                  <a:lnTo>
                    <a:pt x="619" y="187"/>
                  </a:lnTo>
                  <a:lnTo>
                    <a:pt x="678" y="187"/>
                  </a:lnTo>
                  <a:lnTo>
                    <a:pt x="678" y="219"/>
                  </a:lnTo>
                  <a:lnTo>
                    <a:pt x="584" y="219"/>
                  </a:lnTo>
                  <a:lnTo>
                    <a:pt x="584" y="0"/>
                  </a:lnTo>
                  <a:lnTo>
                    <a:pt x="678" y="0"/>
                  </a:lnTo>
                  <a:lnTo>
                    <a:pt x="678" y="31"/>
                  </a:lnTo>
                  <a:lnTo>
                    <a:pt x="619" y="31"/>
                  </a:lnTo>
                  <a:lnTo>
                    <a:pt x="619" y="92"/>
                  </a:lnTo>
                  <a:close/>
                  <a:moveTo>
                    <a:pt x="492" y="131"/>
                  </a:moveTo>
                  <a:lnTo>
                    <a:pt x="482" y="151"/>
                  </a:lnTo>
                  <a:lnTo>
                    <a:pt x="482" y="219"/>
                  </a:lnTo>
                  <a:lnTo>
                    <a:pt x="447" y="219"/>
                  </a:lnTo>
                  <a:lnTo>
                    <a:pt x="447" y="0"/>
                  </a:lnTo>
                  <a:lnTo>
                    <a:pt x="482" y="0"/>
                  </a:lnTo>
                  <a:lnTo>
                    <a:pt x="482" y="95"/>
                  </a:lnTo>
                  <a:lnTo>
                    <a:pt x="526" y="0"/>
                  </a:lnTo>
                  <a:lnTo>
                    <a:pt x="561" y="0"/>
                  </a:lnTo>
                  <a:lnTo>
                    <a:pt x="513" y="98"/>
                  </a:lnTo>
                  <a:lnTo>
                    <a:pt x="561" y="219"/>
                  </a:lnTo>
                  <a:lnTo>
                    <a:pt x="525" y="219"/>
                  </a:lnTo>
                  <a:lnTo>
                    <a:pt x="492" y="131"/>
                  </a:lnTo>
                  <a:close/>
                  <a:moveTo>
                    <a:pt x="347" y="31"/>
                  </a:moveTo>
                  <a:lnTo>
                    <a:pt x="347" y="99"/>
                  </a:lnTo>
                  <a:lnTo>
                    <a:pt x="361" y="99"/>
                  </a:lnTo>
                  <a:lnTo>
                    <a:pt x="365" y="99"/>
                  </a:lnTo>
                  <a:lnTo>
                    <a:pt x="370" y="98"/>
                  </a:lnTo>
                  <a:lnTo>
                    <a:pt x="373" y="95"/>
                  </a:lnTo>
                  <a:lnTo>
                    <a:pt x="375" y="94"/>
                  </a:lnTo>
                  <a:lnTo>
                    <a:pt x="376" y="93"/>
                  </a:lnTo>
                  <a:lnTo>
                    <a:pt x="378" y="90"/>
                  </a:lnTo>
                  <a:lnTo>
                    <a:pt x="380" y="86"/>
                  </a:lnTo>
                  <a:lnTo>
                    <a:pt x="381" y="82"/>
                  </a:lnTo>
                  <a:lnTo>
                    <a:pt x="381" y="75"/>
                  </a:lnTo>
                  <a:lnTo>
                    <a:pt x="381" y="53"/>
                  </a:lnTo>
                  <a:lnTo>
                    <a:pt x="381" y="48"/>
                  </a:lnTo>
                  <a:lnTo>
                    <a:pt x="381" y="44"/>
                  </a:lnTo>
                  <a:lnTo>
                    <a:pt x="379" y="39"/>
                  </a:lnTo>
                  <a:lnTo>
                    <a:pt x="378" y="36"/>
                  </a:lnTo>
                  <a:lnTo>
                    <a:pt x="375" y="34"/>
                  </a:lnTo>
                  <a:lnTo>
                    <a:pt x="374" y="33"/>
                  </a:lnTo>
                  <a:lnTo>
                    <a:pt x="372" y="32"/>
                  </a:lnTo>
                  <a:lnTo>
                    <a:pt x="368" y="31"/>
                  </a:lnTo>
                  <a:lnTo>
                    <a:pt x="364" y="31"/>
                  </a:lnTo>
                  <a:lnTo>
                    <a:pt x="347" y="31"/>
                  </a:lnTo>
                  <a:close/>
                  <a:moveTo>
                    <a:pt x="385" y="219"/>
                  </a:moveTo>
                  <a:lnTo>
                    <a:pt x="384" y="215"/>
                  </a:lnTo>
                  <a:lnTo>
                    <a:pt x="383" y="211"/>
                  </a:lnTo>
                  <a:lnTo>
                    <a:pt x="382" y="203"/>
                  </a:lnTo>
                  <a:lnTo>
                    <a:pt x="382" y="192"/>
                  </a:lnTo>
                  <a:lnTo>
                    <a:pt x="382" y="158"/>
                  </a:lnTo>
                  <a:lnTo>
                    <a:pt x="381" y="150"/>
                  </a:lnTo>
                  <a:lnTo>
                    <a:pt x="381" y="145"/>
                  </a:lnTo>
                  <a:lnTo>
                    <a:pt x="379" y="140"/>
                  </a:lnTo>
                  <a:lnTo>
                    <a:pt x="377" y="136"/>
                  </a:lnTo>
                  <a:lnTo>
                    <a:pt x="375" y="135"/>
                  </a:lnTo>
                  <a:lnTo>
                    <a:pt x="374" y="133"/>
                  </a:lnTo>
                  <a:lnTo>
                    <a:pt x="370" y="131"/>
                  </a:lnTo>
                  <a:lnTo>
                    <a:pt x="365" y="130"/>
                  </a:lnTo>
                  <a:lnTo>
                    <a:pt x="359" y="129"/>
                  </a:lnTo>
                  <a:lnTo>
                    <a:pt x="347" y="129"/>
                  </a:lnTo>
                  <a:lnTo>
                    <a:pt x="347" y="219"/>
                  </a:lnTo>
                  <a:lnTo>
                    <a:pt x="313" y="219"/>
                  </a:lnTo>
                  <a:lnTo>
                    <a:pt x="313" y="0"/>
                  </a:lnTo>
                  <a:lnTo>
                    <a:pt x="365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83" y="1"/>
                  </a:lnTo>
                  <a:lnTo>
                    <a:pt x="389" y="2"/>
                  </a:lnTo>
                  <a:lnTo>
                    <a:pt x="393" y="4"/>
                  </a:lnTo>
                  <a:lnTo>
                    <a:pt x="397" y="7"/>
                  </a:lnTo>
                  <a:lnTo>
                    <a:pt x="400" y="10"/>
                  </a:lnTo>
                  <a:lnTo>
                    <a:pt x="404" y="12"/>
                  </a:lnTo>
                  <a:lnTo>
                    <a:pt x="407" y="16"/>
                  </a:lnTo>
                  <a:lnTo>
                    <a:pt x="410" y="19"/>
                  </a:lnTo>
                  <a:lnTo>
                    <a:pt x="412" y="23"/>
                  </a:lnTo>
                  <a:lnTo>
                    <a:pt x="413" y="28"/>
                  </a:lnTo>
                  <a:lnTo>
                    <a:pt x="414" y="33"/>
                  </a:lnTo>
                  <a:lnTo>
                    <a:pt x="415" y="38"/>
                  </a:lnTo>
                  <a:lnTo>
                    <a:pt x="416" y="44"/>
                  </a:lnTo>
                  <a:lnTo>
                    <a:pt x="416" y="50"/>
                  </a:lnTo>
                  <a:lnTo>
                    <a:pt x="416" y="68"/>
                  </a:lnTo>
                  <a:lnTo>
                    <a:pt x="416" y="75"/>
                  </a:lnTo>
                  <a:lnTo>
                    <a:pt x="415" y="83"/>
                  </a:lnTo>
                  <a:lnTo>
                    <a:pt x="413" y="89"/>
                  </a:lnTo>
                  <a:lnTo>
                    <a:pt x="411" y="95"/>
                  </a:lnTo>
                  <a:lnTo>
                    <a:pt x="409" y="99"/>
                  </a:lnTo>
                  <a:lnTo>
                    <a:pt x="408" y="101"/>
                  </a:lnTo>
                  <a:lnTo>
                    <a:pt x="405" y="103"/>
                  </a:lnTo>
                  <a:lnTo>
                    <a:pt x="403" y="105"/>
                  </a:lnTo>
                  <a:lnTo>
                    <a:pt x="399" y="109"/>
                  </a:lnTo>
                  <a:lnTo>
                    <a:pt x="394" y="112"/>
                  </a:lnTo>
                  <a:lnTo>
                    <a:pt x="397" y="113"/>
                  </a:lnTo>
                  <a:lnTo>
                    <a:pt x="399" y="115"/>
                  </a:lnTo>
                  <a:lnTo>
                    <a:pt x="402" y="117"/>
                  </a:lnTo>
                  <a:lnTo>
                    <a:pt x="404" y="119"/>
                  </a:lnTo>
                  <a:lnTo>
                    <a:pt x="409" y="124"/>
                  </a:lnTo>
                  <a:lnTo>
                    <a:pt x="412" y="129"/>
                  </a:lnTo>
                  <a:lnTo>
                    <a:pt x="414" y="136"/>
                  </a:lnTo>
                  <a:lnTo>
                    <a:pt x="415" y="143"/>
                  </a:lnTo>
                  <a:lnTo>
                    <a:pt x="416" y="146"/>
                  </a:lnTo>
                  <a:lnTo>
                    <a:pt x="416" y="150"/>
                  </a:lnTo>
                  <a:lnTo>
                    <a:pt x="416" y="159"/>
                  </a:lnTo>
                  <a:lnTo>
                    <a:pt x="416" y="193"/>
                  </a:lnTo>
                  <a:lnTo>
                    <a:pt x="416" y="200"/>
                  </a:lnTo>
                  <a:lnTo>
                    <a:pt x="417" y="206"/>
                  </a:lnTo>
                  <a:lnTo>
                    <a:pt x="418" y="213"/>
                  </a:lnTo>
                  <a:lnTo>
                    <a:pt x="419" y="216"/>
                  </a:lnTo>
                  <a:lnTo>
                    <a:pt x="420" y="219"/>
                  </a:lnTo>
                  <a:lnTo>
                    <a:pt x="385" y="219"/>
                  </a:lnTo>
                  <a:close/>
                  <a:moveTo>
                    <a:pt x="211" y="149"/>
                  </a:moveTo>
                  <a:lnTo>
                    <a:pt x="244" y="149"/>
                  </a:lnTo>
                  <a:lnTo>
                    <a:pt x="227" y="38"/>
                  </a:lnTo>
                  <a:lnTo>
                    <a:pt x="211" y="149"/>
                  </a:lnTo>
                  <a:close/>
                  <a:moveTo>
                    <a:pt x="289" y="219"/>
                  </a:moveTo>
                  <a:lnTo>
                    <a:pt x="254" y="219"/>
                  </a:lnTo>
                  <a:lnTo>
                    <a:pt x="249" y="179"/>
                  </a:lnTo>
                  <a:lnTo>
                    <a:pt x="207" y="179"/>
                  </a:lnTo>
                  <a:lnTo>
                    <a:pt x="200" y="219"/>
                  </a:lnTo>
                  <a:lnTo>
                    <a:pt x="169" y="219"/>
                  </a:lnTo>
                  <a:lnTo>
                    <a:pt x="203" y="0"/>
                  </a:lnTo>
                  <a:lnTo>
                    <a:pt x="254" y="0"/>
                  </a:lnTo>
                  <a:lnTo>
                    <a:pt x="289" y="219"/>
                  </a:lnTo>
                  <a:close/>
                  <a:moveTo>
                    <a:pt x="73" y="156"/>
                  </a:moveTo>
                  <a:lnTo>
                    <a:pt x="97" y="0"/>
                  </a:lnTo>
                  <a:lnTo>
                    <a:pt x="145" y="0"/>
                  </a:lnTo>
                  <a:lnTo>
                    <a:pt x="145" y="219"/>
                  </a:lnTo>
                  <a:lnTo>
                    <a:pt x="113" y="219"/>
                  </a:lnTo>
                  <a:lnTo>
                    <a:pt x="113" y="62"/>
                  </a:lnTo>
                  <a:lnTo>
                    <a:pt x="88" y="219"/>
                  </a:lnTo>
                  <a:lnTo>
                    <a:pt x="55" y="219"/>
                  </a:lnTo>
                  <a:lnTo>
                    <a:pt x="30" y="64"/>
                  </a:lnTo>
                  <a:lnTo>
                    <a:pt x="30" y="219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48" y="0"/>
                  </a:lnTo>
                  <a:lnTo>
                    <a:pt x="73" y="1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47715578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6BA53A-E03D-4193-B232-F13E5A266B56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7779546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708370-0A99-426B-9235-6B026B17908B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593957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FEB7377-1A9D-468D-A0C5-1222071C9008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2182630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0E36F9-F619-4990-90EF-0746D9B189DB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9" name="Round Same Side Corner Rectangle 8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0" name="Freeform 30"/>
            <p:cNvSpPr>
              <a:spLocks noEditPoints="1"/>
            </p:cNvSpPr>
            <p:nvPr userDrawn="1"/>
          </p:nvSpPr>
          <p:spPr bwMode="auto">
            <a:xfrm>
              <a:off x="9094170" y="6475574"/>
              <a:ext cx="1502915" cy="209315"/>
            </a:xfrm>
            <a:custGeom>
              <a:avLst/>
              <a:gdLst>
                <a:gd name="T0" fmla="*/ 1559 w 1594"/>
                <a:gd name="T1" fmla="*/ 219 h 222"/>
                <a:gd name="T2" fmla="*/ 1559 w 1594"/>
                <a:gd name="T3" fmla="*/ 0 h 222"/>
                <a:gd name="T4" fmla="*/ 1418 w 1594"/>
                <a:gd name="T5" fmla="*/ 104 h 222"/>
                <a:gd name="T6" fmla="*/ 1427 w 1594"/>
                <a:gd name="T7" fmla="*/ 85 h 222"/>
                <a:gd name="T8" fmla="*/ 1421 w 1594"/>
                <a:gd name="T9" fmla="*/ 33 h 222"/>
                <a:gd name="T10" fmla="*/ 1462 w 1594"/>
                <a:gd name="T11" fmla="*/ 83 h 222"/>
                <a:gd name="T12" fmla="*/ 1455 w 1594"/>
                <a:gd name="T13" fmla="*/ 115 h 222"/>
                <a:gd name="T14" fmla="*/ 1432 w 1594"/>
                <a:gd name="T15" fmla="*/ 133 h 222"/>
                <a:gd name="T16" fmla="*/ 1394 w 1594"/>
                <a:gd name="T17" fmla="*/ 219 h 222"/>
                <a:gd name="T18" fmla="*/ 1428 w 1594"/>
                <a:gd name="T19" fmla="*/ 1 h 222"/>
                <a:gd name="T20" fmla="*/ 1451 w 1594"/>
                <a:gd name="T21" fmla="*/ 17 h 222"/>
                <a:gd name="T22" fmla="*/ 1461 w 1594"/>
                <a:gd name="T23" fmla="*/ 48 h 222"/>
                <a:gd name="T24" fmla="*/ 1290 w 1594"/>
                <a:gd name="T25" fmla="*/ 104 h 222"/>
                <a:gd name="T26" fmla="*/ 1300 w 1594"/>
                <a:gd name="T27" fmla="*/ 85 h 222"/>
                <a:gd name="T28" fmla="*/ 1293 w 1594"/>
                <a:gd name="T29" fmla="*/ 33 h 222"/>
                <a:gd name="T30" fmla="*/ 1334 w 1594"/>
                <a:gd name="T31" fmla="*/ 83 h 222"/>
                <a:gd name="T32" fmla="*/ 1327 w 1594"/>
                <a:gd name="T33" fmla="*/ 115 h 222"/>
                <a:gd name="T34" fmla="*/ 1305 w 1594"/>
                <a:gd name="T35" fmla="*/ 133 h 222"/>
                <a:gd name="T36" fmla="*/ 1266 w 1594"/>
                <a:gd name="T37" fmla="*/ 219 h 222"/>
                <a:gd name="T38" fmla="*/ 1300 w 1594"/>
                <a:gd name="T39" fmla="*/ 1 h 222"/>
                <a:gd name="T40" fmla="*/ 1324 w 1594"/>
                <a:gd name="T41" fmla="*/ 17 h 222"/>
                <a:gd name="T42" fmla="*/ 1334 w 1594"/>
                <a:gd name="T43" fmla="*/ 48 h 222"/>
                <a:gd name="T44" fmla="*/ 1134 w 1594"/>
                <a:gd name="T45" fmla="*/ 181 h 222"/>
                <a:gd name="T46" fmla="*/ 1150 w 1594"/>
                <a:gd name="T47" fmla="*/ 191 h 222"/>
                <a:gd name="T48" fmla="*/ 1167 w 1594"/>
                <a:gd name="T49" fmla="*/ 179 h 222"/>
                <a:gd name="T50" fmla="*/ 1201 w 1594"/>
                <a:gd name="T51" fmla="*/ 173 h 222"/>
                <a:gd name="T52" fmla="*/ 1191 w 1594"/>
                <a:gd name="T53" fmla="*/ 203 h 222"/>
                <a:gd name="T54" fmla="*/ 1171 w 1594"/>
                <a:gd name="T55" fmla="*/ 218 h 222"/>
                <a:gd name="T56" fmla="*/ 1137 w 1594"/>
                <a:gd name="T57" fmla="*/ 221 h 222"/>
                <a:gd name="T58" fmla="*/ 1111 w 1594"/>
                <a:gd name="T59" fmla="*/ 208 h 222"/>
                <a:gd name="T60" fmla="*/ 1099 w 1594"/>
                <a:gd name="T61" fmla="*/ 179 h 222"/>
                <a:gd name="T62" fmla="*/ 1030 w 1594"/>
                <a:gd name="T63" fmla="*/ 149 h 222"/>
                <a:gd name="T64" fmla="*/ 992 w 1594"/>
                <a:gd name="T65" fmla="*/ 179 h 222"/>
                <a:gd name="T66" fmla="*/ 872 w 1594"/>
                <a:gd name="T67" fmla="*/ 131 h 222"/>
                <a:gd name="T68" fmla="*/ 861 w 1594"/>
                <a:gd name="T69" fmla="*/ 95 h 222"/>
                <a:gd name="T70" fmla="*/ 872 w 1594"/>
                <a:gd name="T71" fmla="*/ 131 h 222"/>
                <a:gd name="T72" fmla="*/ 733 w 1594"/>
                <a:gd name="T73" fmla="*/ 219 h 222"/>
                <a:gd name="T74" fmla="*/ 666 w 1594"/>
                <a:gd name="T75" fmla="*/ 124 h 222"/>
                <a:gd name="T76" fmla="*/ 584 w 1594"/>
                <a:gd name="T77" fmla="*/ 0 h 222"/>
                <a:gd name="T78" fmla="*/ 482 w 1594"/>
                <a:gd name="T79" fmla="*/ 151 h 222"/>
                <a:gd name="T80" fmla="*/ 526 w 1594"/>
                <a:gd name="T81" fmla="*/ 0 h 222"/>
                <a:gd name="T82" fmla="*/ 347 w 1594"/>
                <a:gd name="T83" fmla="*/ 31 h 222"/>
                <a:gd name="T84" fmla="*/ 375 w 1594"/>
                <a:gd name="T85" fmla="*/ 94 h 222"/>
                <a:gd name="T86" fmla="*/ 381 w 1594"/>
                <a:gd name="T87" fmla="*/ 53 h 222"/>
                <a:gd name="T88" fmla="*/ 374 w 1594"/>
                <a:gd name="T89" fmla="*/ 33 h 222"/>
                <a:gd name="T90" fmla="*/ 384 w 1594"/>
                <a:gd name="T91" fmla="*/ 215 h 222"/>
                <a:gd name="T92" fmla="*/ 381 w 1594"/>
                <a:gd name="T93" fmla="*/ 145 h 222"/>
                <a:gd name="T94" fmla="*/ 365 w 1594"/>
                <a:gd name="T95" fmla="*/ 130 h 222"/>
                <a:gd name="T96" fmla="*/ 365 w 1594"/>
                <a:gd name="T97" fmla="*/ 0 h 222"/>
                <a:gd name="T98" fmla="*/ 397 w 1594"/>
                <a:gd name="T99" fmla="*/ 7 h 222"/>
                <a:gd name="T100" fmla="*/ 413 w 1594"/>
                <a:gd name="T101" fmla="*/ 28 h 222"/>
                <a:gd name="T102" fmla="*/ 416 w 1594"/>
                <a:gd name="T103" fmla="*/ 75 h 222"/>
                <a:gd name="T104" fmla="*/ 405 w 1594"/>
                <a:gd name="T105" fmla="*/ 103 h 222"/>
                <a:gd name="T106" fmla="*/ 402 w 1594"/>
                <a:gd name="T107" fmla="*/ 117 h 222"/>
                <a:gd name="T108" fmla="*/ 416 w 1594"/>
                <a:gd name="T109" fmla="*/ 146 h 222"/>
                <a:gd name="T110" fmla="*/ 418 w 1594"/>
                <a:gd name="T111" fmla="*/ 213 h 222"/>
                <a:gd name="T112" fmla="*/ 227 w 1594"/>
                <a:gd name="T113" fmla="*/ 38 h 222"/>
                <a:gd name="T114" fmla="*/ 200 w 1594"/>
                <a:gd name="T115" fmla="*/ 219 h 222"/>
                <a:gd name="T116" fmla="*/ 97 w 1594"/>
                <a:gd name="T117" fmla="*/ 0 h 222"/>
                <a:gd name="T118" fmla="*/ 55 w 1594"/>
                <a:gd name="T119" fmla="*/ 219 h 222"/>
                <a:gd name="T120" fmla="*/ 73 w 1594"/>
                <a:gd name="T121" fmla="*/ 15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94" h="222">
                  <a:moveTo>
                    <a:pt x="1516" y="149"/>
                  </a:moveTo>
                  <a:lnTo>
                    <a:pt x="1549" y="149"/>
                  </a:lnTo>
                  <a:lnTo>
                    <a:pt x="1533" y="38"/>
                  </a:lnTo>
                  <a:lnTo>
                    <a:pt x="1516" y="149"/>
                  </a:lnTo>
                  <a:close/>
                  <a:moveTo>
                    <a:pt x="1594" y="219"/>
                  </a:moveTo>
                  <a:lnTo>
                    <a:pt x="1559" y="219"/>
                  </a:lnTo>
                  <a:lnTo>
                    <a:pt x="1554" y="179"/>
                  </a:lnTo>
                  <a:lnTo>
                    <a:pt x="1512" y="179"/>
                  </a:lnTo>
                  <a:lnTo>
                    <a:pt x="1505" y="219"/>
                  </a:lnTo>
                  <a:lnTo>
                    <a:pt x="1474" y="219"/>
                  </a:lnTo>
                  <a:lnTo>
                    <a:pt x="1508" y="0"/>
                  </a:lnTo>
                  <a:lnTo>
                    <a:pt x="1559" y="0"/>
                  </a:lnTo>
                  <a:lnTo>
                    <a:pt x="1594" y="219"/>
                  </a:lnTo>
                  <a:close/>
                  <a:moveTo>
                    <a:pt x="1394" y="31"/>
                  </a:moveTo>
                  <a:lnTo>
                    <a:pt x="1394" y="105"/>
                  </a:lnTo>
                  <a:lnTo>
                    <a:pt x="1410" y="105"/>
                  </a:lnTo>
                  <a:lnTo>
                    <a:pt x="1414" y="105"/>
                  </a:lnTo>
                  <a:lnTo>
                    <a:pt x="1418" y="104"/>
                  </a:lnTo>
                  <a:lnTo>
                    <a:pt x="1421" y="103"/>
                  </a:lnTo>
                  <a:lnTo>
                    <a:pt x="1423" y="101"/>
                  </a:lnTo>
                  <a:lnTo>
                    <a:pt x="1425" y="99"/>
                  </a:lnTo>
                  <a:lnTo>
                    <a:pt x="1426" y="94"/>
                  </a:lnTo>
                  <a:lnTo>
                    <a:pt x="1427" y="90"/>
                  </a:lnTo>
                  <a:lnTo>
                    <a:pt x="1427" y="85"/>
                  </a:lnTo>
                  <a:lnTo>
                    <a:pt x="1427" y="52"/>
                  </a:lnTo>
                  <a:lnTo>
                    <a:pt x="1427" y="47"/>
                  </a:lnTo>
                  <a:lnTo>
                    <a:pt x="1426" y="41"/>
                  </a:lnTo>
                  <a:lnTo>
                    <a:pt x="1425" y="38"/>
                  </a:lnTo>
                  <a:lnTo>
                    <a:pt x="1423" y="35"/>
                  </a:lnTo>
                  <a:lnTo>
                    <a:pt x="1421" y="33"/>
                  </a:lnTo>
                  <a:lnTo>
                    <a:pt x="1418" y="32"/>
                  </a:lnTo>
                  <a:lnTo>
                    <a:pt x="1414" y="31"/>
                  </a:lnTo>
                  <a:lnTo>
                    <a:pt x="1410" y="31"/>
                  </a:lnTo>
                  <a:lnTo>
                    <a:pt x="1394" y="31"/>
                  </a:lnTo>
                  <a:close/>
                  <a:moveTo>
                    <a:pt x="1462" y="54"/>
                  </a:moveTo>
                  <a:lnTo>
                    <a:pt x="1462" y="83"/>
                  </a:lnTo>
                  <a:lnTo>
                    <a:pt x="1461" y="89"/>
                  </a:lnTo>
                  <a:lnTo>
                    <a:pt x="1461" y="94"/>
                  </a:lnTo>
                  <a:lnTo>
                    <a:pt x="1460" y="101"/>
                  </a:lnTo>
                  <a:lnTo>
                    <a:pt x="1459" y="106"/>
                  </a:lnTo>
                  <a:lnTo>
                    <a:pt x="1457" y="110"/>
                  </a:lnTo>
                  <a:lnTo>
                    <a:pt x="1455" y="115"/>
                  </a:lnTo>
                  <a:lnTo>
                    <a:pt x="1451" y="119"/>
                  </a:lnTo>
                  <a:lnTo>
                    <a:pt x="1449" y="123"/>
                  </a:lnTo>
                  <a:lnTo>
                    <a:pt x="1445" y="126"/>
                  </a:lnTo>
                  <a:lnTo>
                    <a:pt x="1442" y="129"/>
                  </a:lnTo>
                  <a:lnTo>
                    <a:pt x="1438" y="131"/>
                  </a:lnTo>
                  <a:lnTo>
                    <a:pt x="1432" y="133"/>
                  </a:lnTo>
                  <a:lnTo>
                    <a:pt x="1428" y="135"/>
                  </a:lnTo>
                  <a:lnTo>
                    <a:pt x="1423" y="136"/>
                  </a:lnTo>
                  <a:lnTo>
                    <a:pt x="1416" y="137"/>
                  </a:lnTo>
                  <a:lnTo>
                    <a:pt x="1410" y="137"/>
                  </a:lnTo>
                  <a:lnTo>
                    <a:pt x="1394" y="137"/>
                  </a:lnTo>
                  <a:lnTo>
                    <a:pt x="1394" y="219"/>
                  </a:lnTo>
                  <a:lnTo>
                    <a:pt x="1359" y="219"/>
                  </a:lnTo>
                  <a:lnTo>
                    <a:pt x="1359" y="0"/>
                  </a:lnTo>
                  <a:lnTo>
                    <a:pt x="1410" y="0"/>
                  </a:lnTo>
                  <a:lnTo>
                    <a:pt x="1416" y="0"/>
                  </a:lnTo>
                  <a:lnTo>
                    <a:pt x="1423" y="0"/>
                  </a:lnTo>
                  <a:lnTo>
                    <a:pt x="1428" y="1"/>
                  </a:lnTo>
                  <a:lnTo>
                    <a:pt x="1432" y="3"/>
                  </a:lnTo>
                  <a:lnTo>
                    <a:pt x="1438" y="6"/>
                  </a:lnTo>
                  <a:lnTo>
                    <a:pt x="1442" y="8"/>
                  </a:lnTo>
                  <a:lnTo>
                    <a:pt x="1445" y="11"/>
                  </a:lnTo>
                  <a:lnTo>
                    <a:pt x="1449" y="14"/>
                  </a:lnTo>
                  <a:lnTo>
                    <a:pt x="1451" y="17"/>
                  </a:lnTo>
                  <a:lnTo>
                    <a:pt x="1455" y="21"/>
                  </a:lnTo>
                  <a:lnTo>
                    <a:pt x="1457" y="26"/>
                  </a:lnTo>
                  <a:lnTo>
                    <a:pt x="1459" y="31"/>
                  </a:lnTo>
                  <a:lnTo>
                    <a:pt x="1460" y="36"/>
                  </a:lnTo>
                  <a:lnTo>
                    <a:pt x="1461" y="41"/>
                  </a:lnTo>
                  <a:lnTo>
                    <a:pt x="1461" y="48"/>
                  </a:lnTo>
                  <a:lnTo>
                    <a:pt x="1462" y="54"/>
                  </a:lnTo>
                  <a:close/>
                  <a:moveTo>
                    <a:pt x="1266" y="31"/>
                  </a:moveTo>
                  <a:lnTo>
                    <a:pt x="1266" y="105"/>
                  </a:lnTo>
                  <a:lnTo>
                    <a:pt x="1283" y="105"/>
                  </a:lnTo>
                  <a:lnTo>
                    <a:pt x="1286" y="105"/>
                  </a:lnTo>
                  <a:lnTo>
                    <a:pt x="1290" y="104"/>
                  </a:lnTo>
                  <a:lnTo>
                    <a:pt x="1293" y="103"/>
                  </a:lnTo>
                  <a:lnTo>
                    <a:pt x="1295" y="101"/>
                  </a:lnTo>
                  <a:lnTo>
                    <a:pt x="1297" y="99"/>
                  </a:lnTo>
                  <a:lnTo>
                    <a:pt x="1298" y="94"/>
                  </a:lnTo>
                  <a:lnTo>
                    <a:pt x="1299" y="90"/>
                  </a:lnTo>
                  <a:lnTo>
                    <a:pt x="1300" y="85"/>
                  </a:lnTo>
                  <a:lnTo>
                    <a:pt x="1300" y="52"/>
                  </a:lnTo>
                  <a:lnTo>
                    <a:pt x="1299" y="47"/>
                  </a:lnTo>
                  <a:lnTo>
                    <a:pt x="1298" y="41"/>
                  </a:lnTo>
                  <a:lnTo>
                    <a:pt x="1297" y="38"/>
                  </a:lnTo>
                  <a:lnTo>
                    <a:pt x="1295" y="35"/>
                  </a:lnTo>
                  <a:lnTo>
                    <a:pt x="1293" y="33"/>
                  </a:lnTo>
                  <a:lnTo>
                    <a:pt x="1290" y="32"/>
                  </a:lnTo>
                  <a:lnTo>
                    <a:pt x="1286" y="31"/>
                  </a:lnTo>
                  <a:lnTo>
                    <a:pt x="1283" y="31"/>
                  </a:lnTo>
                  <a:lnTo>
                    <a:pt x="1266" y="31"/>
                  </a:lnTo>
                  <a:close/>
                  <a:moveTo>
                    <a:pt x="1334" y="54"/>
                  </a:moveTo>
                  <a:lnTo>
                    <a:pt x="1334" y="83"/>
                  </a:lnTo>
                  <a:lnTo>
                    <a:pt x="1334" y="89"/>
                  </a:lnTo>
                  <a:lnTo>
                    <a:pt x="1333" y="94"/>
                  </a:lnTo>
                  <a:lnTo>
                    <a:pt x="1332" y="101"/>
                  </a:lnTo>
                  <a:lnTo>
                    <a:pt x="1331" y="106"/>
                  </a:lnTo>
                  <a:lnTo>
                    <a:pt x="1329" y="110"/>
                  </a:lnTo>
                  <a:lnTo>
                    <a:pt x="1327" y="115"/>
                  </a:lnTo>
                  <a:lnTo>
                    <a:pt x="1324" y="119"/>
                  </a:lnTo>
                  <a:lnTo>
                    <a:pt x="1321" y="123"/>
                  </a:lnTo>
                  <a:lnTo>
                    <a:pt x="1318" y="126"/>
                  </a:lnTo>
                  <a:lnTo>
                    <a:pt x="1314" y="129"/>
                  </a:lnTo>
                  <a:lnTo>
                    <a:pt x="1310" y="131"/>
                  </a:lnTo>
                  <a:lnTo>
                    <a:pt x="1305" y="133"/>
                  </a:lnTo>
                  <a:lnTo>
                    <a:pt x="1300" y="135"/>
                  </a:lnTo>
                  <a:lnTo>
                    <a:pt x="1295" y="136"/>
                  </a:lnTo>
                  <a:lnTo>
                    <a:pt x="1289" y="137"/>
                  </a:lnTo>
                  <a:lnTo>
                    <a:pt x="1283" y="137"/>
                  </a:lnTo>
                  <a:lnTo>
                    <a:pt x="1266" y="137"/>
                  </a:lnTo>
                  <a:lnTo>
                    <a:pt x="1266" y="219"/>
                  </a:lnTo>
                  <a:lnTo>
                    <a:pt x="1232" y="219"/>
                  </a:lnTo>
                  <a:lnTo>
                    <a:pt x="1232" y="0"/>
                  </a:lnTo>
                  <a:lnTo>
                    <a:pt x="1283" y="0"/>
                  </a:lnTo>
                  <a:lnTo>
                    <a:pt x="1289" y="0"/>
                  </a:lnTo>
                  <a:lnTo>
                    <a:pt x="1295" y="0"/>
                  </a:lnTo>
                  <a:lnTo>
                    <a:pt x="1300" y="1"/>
                  </a:lnTo>
                  <a:lnTo>
                    <a:pt x="1305" y="3"/>
                  </a:lnTo>
                  <a:lnTo>
                    <a:pt x="1310" y="6"/>
                  </a:lnTo>
                  <a:lnTo>
                    <a:pt x="1314" y="8"/>
                  </a:lnTo>
                  <a:lnTo>
                    <a:pt x="1318" y="11"/>
                  </a:lnTo>
                  <a:lnTo>
                    <a:pt x="1321" y="14"/>
                  </a:lnTo>
                  <a:lnTo>
                    <a:pt x="1324" y="17"/>
                  </a:lnTo>
                  <a:lnTo>
                    <a:pt x="1327" y="21"/>
                  </a:lnTo>
                  <a:lnTo>
                    <a:pt x="1329" y="26"/>
                  </a:lnTo>
                  <a:lnTo>
                    <a:pt x="1331" y="31"/>
                  </a:lnTo>
                  <a:lnTo>
                    <a:pt x="1332" y="36"/>
                  </a:lnTo>
                  <a:lnTo>
                    <a:pt x="1333" y="41"/>
                  </a:lnTo>
                  <a:lnTo>
                    <a:pt x="1334" y="48"/>
                  </a:lnTo>
                  <a:lnTo>
                    <a:pt x="1334" y="54"/>
                  </a:lnTo>
                  <a:close/>
                  <a:moveTo>
                    <a:pt x="1132" y="0"/>
                  </a:moveTo>
                  <a:lnTo>
                    <a:pt x="1132" y="169"/>
                  </a:lnTo>
                  <a:lnTo>
                    <a:pt x="1133" y="175"/>
                  </a:lnTo>
                  <a:lnTo>
                    <a:pt x="1134" y="179"/>
                  </a:lnTo>
                  <a:lnTo>
                    <a:pt x="1134" y="181"/>
                  </a:lnTo>
                  <a:lnTo>
                    <a:pt x="1135" y="182"/>
                  </a:lnTo>
                  <a:lnTo>
                    <a:pt x="1137" y="185"/>
                  </a:lnTo>
                  <a:lnTo>
                    <a:pt x="1139" y="187"/>
                  </a:lnTo>
                  <a:lnTo>
                    <a:pt x="1143" y="190"/>
                  </a:lnTo>
                  <a:lnTo>
                    <a:pt x="1147" y="190"/>
                  </a:lnTo>
                  <a:lnTo>
                    <a:pt x="1150" y="191"/>
                  </a:lnTo>
                  <a:lnTo>
                    <a:pt x="1154" y="190"/>
                  </a:lnTo>
                  <a:lnTo>
                    <a:pt x="1157" y="190"/>
                  </a:lnTo>
                  <a:lnTo>
                    <a:pt x="1161" y="187"/>
                  </a:lnTo>
                  <a:lnTo>
                    <a:pt x="1164" y="185"/>
                  </a:lnTo>
                  <a:lnTo>
                    <a:pt x="1166" y="182"/>
                  </a:lnTo>
                  <a:lnTo>
                    <a:pt x="1167" y="179"/>
                  </a:lnTo>
                  <a:lnTo>
                    <a:pt x="1168" y="175"/>
                  </a:lnTo>
                  <a:lnTo>
                    <a:pt x="1168" y="169"/>
                  </a:lnTo>
                  <a:lnTo>
                    <a:pt x="1168" y="0"/>
                  </a:lnTo>
                  <a:lnTo>
                    <a:pt x="1201" y="0"/>
                  </a:lnTo>
                  <a:lnTo>
                    <a:pt x="1201" y="166"/>
                  </a:lnTo>
                  <a:lnTo>
                    <a:pt x="1201" y="173"/>
                  </a:lnTo>
                  <a:lnTo>
                    <a:pt x="1200" y="179"/>
                  </a:lnTo>
                  <a:lnTo>
                    <a:pt x="1199" y="185"/>
                  </a:lnTo>
                  <a:lnTo>
                    <a:pt x="1198" y="191"/>
                  </a:lnTo>
                  <a:lnTo>
                    <a:pt x="1195" y="195"/>
                  </a:lnTo>
                  <a:lnTo>
                    <a:pt x="1193" y="200"/>
                  </a:lnTo>
                  <a:lnTo>
                    <a:pt x="1191" y="203"/>
                  </a:lnTo>
                  <a:lnTo>
                    <a:pt x="1188" y="208"/>
                  </a:lnTo>
                  <a:lnTo>
                    <a:pt x="1184" y="211"/>
                  </a:lnTo>
                  <a:lnTo>
                    <a:pt x="1181" y="214"/>
                  </a:lnTo>
                  <a:lnTo>
                    <a:pt x="1179" y="215"/>
                  </a:lnTo>
                  <a:lnTo>
                    <a:pt x="1176" y="216"/>
                  </a:lnTo>
                  <a:lnTo>
                    <a:pt x="1171" y="218"/>
                  </a:lnTo>
                  <a:lnTo>
                    <a:pt x="1167" y="220"/>
                  </a:lnTo>
                  <a:lnTo>
                    <a:pt x="1162" y="221"/>
                  </a:lnTo>
                  <a:lnTo>
                    <a:pt x="1155" y="221"/>
                  </a:lnTo>
                  <a:lnTo>
                    <a:pt x="1149" y="222"/>
                  </a:lnTo>
                  <a:lnTo>
                    <a:pt x="1144" y="221"/>
                  </a:lnTo>
                  <a:lnTo>
                    <a:pt x="1137" y="221"/>
                  </a:lnTo>
                  <a:lnTo>
                    <a:pt x="1132" y="220"/>
                  </a:lnTo>
                  <a:lnTo>
                    <a:pt x="1127" y="218"/>
                  </a:lnTo>
                  <a:lnTo>
                    <a:pt x="1122" y="216"/>
                  </a:lnTo>
                  <a:lnTo>
                    <a:pt x="1118" y="214"/>
                  </a:lnTo>
                  <a:lnTo>
                    <a:pt x="1114" y="211"/>
                  </a:lnTo>
                  <a:lnTo>
                    <a:pt x="1111" y="208"/>
                  </a:lnTo>
                  <a:lnTo>
                    <a:pt x="1108" y="203"/>
                  </a:lnTo>
                  <a:lnTo>
                    <a:pt x="1106" y="200"/>
                  </a:lnTo>
                  <a:lnTo>
                    <a:pt x="1103" y="195"/>
                  </a:lnTo>
                  <a:lnTo>
                    <a:pt x="1101" y="191"/>
                  </a:lnTo>
                  <a:lnTo>
                    <a:pt x="1100" y="185"/>
                  </a:lnTo>
                  <a:lnTo>
                    <a:pt x="1099" y="179"/>
                  </a:lnTo>
                  <a:lnTo>
                    <a:pt x="1098" y="173"/>
                  </a:lnTo>
                  <a:lnTo>
                    <a:pt x="1098" y="166"/>
                  </a:lnTo>
                  <a:lnTo>
                    <a:pt x="1098" y="0"/>
                  </a:lnTo>
                  <a:lnTo>
                    <a:pt x="1132" y="0"/>
                  </a:lnTo>
                  <a:close/>
                  <a:moveTo>
                    <a:pt x="997" y="149"/>
                  </a:moveTo>
                  <a:lnTo>
                    <a:pt x="1030" y="149"/>
                  </a:lnTo>
                  <a:lnTo>
                    <a:pt x="1014" y="38"/>
                  </a:lnTo>
                  <a:lnTo>
                    <a:pt x="997" y="149"/>
                  </a:lnTo>
                  <a:close/>
                  <a:moveTo>
                    <a:pt x="1076" y="219"/>
                  </a:moveTo>
                  <a:lnTo>
                    <a:pt x="1041" y="219"/>
                  </a:lnTo>
                  <a:lnTo>
                    <a:pt x="1035" y="179"/>
                  </a:lnTo>
                  <a:lnTo>
                    <a:pt x="992" y="179"/>
                  </a:lnTo>
                  <a:lnTo>
                    <a:pt x="987" y="219"/>
                  </a:lnTo>
                  <a:lnTo>
                    <a:pt x="955" y="219"/>
                  </a:lnTo>
                  <a:lnTo>
                    <a:pt x="990" y="0"/>
                  </a:lnTo>
                  <a:lnTo>
                    <a:pt x="1041" y="0"/>
                  </a:lnTo>
                  <a:lnTo>
                    <a:pt x="1076" y="219"/>
                  </a:lnTo>
                  <a:close/>
                  <a:moveTo>
                    <a:pt x="872" y="131"/>
                  </a:moveTo>
                  <a:lnTo>
                    <a:pt x="861" y="151"/>
                  </a:lnTo>
                  <a:lnTo>
                    <a:pt x="861" y="219"/>
                  </a:lnTo>
                  <a:lnTo>
                    <a:pt x="826" y="219"/>
                  </a:lnTo>
                  <a:lnTo>
                    <a:pt x="826" y="0"/>
                  </a:lnTo>
                  <a:lnTo>
                    <a:pt x="861" y="0"/>
                  </a:lnTo>
                  <a:lnTo>
                    <a:pt x="861" y="95"/>
                  </a:lnTo>
                  <a:lnTo>
                    <a:pt x="907" y="0"/>
                  </a:lnTo>
                  <a:lnTo>
                    <a:pt x="941" y="0"/>
                  </a:lnTo>
                  <a:lnTo>
                    <a:pt x="893" y="98"/>
                  </a:lnTo>
                  <a:lnTo>
                    <a:pt x="941" y="219"/>
                  </a:lnTo>
                  <a:lnTo>
                    <a:pt x="906" y="219"/>
                  </a:lnTo>
                  <a:lnTo>
                    <a:pt x="872" y="131"/>
                  </a:lnTo>
                  <a:close/>
                  <a:moveTo>
                    <a:pt x="697" y="0"/>
                  </a:moveTo>
                  <a:lnTo>
                    <a:pt x="804" y="0"/>
                  </a:lnTo>
                  <a:lnTo>
                    <a:pt x="804" y="31"/>
                  </a:lnTo>
                  <a:lnTo>
                    <a:pt x="768" y="31"/>
                  </a:lnTo>
                  <a:lnTo>
                    <a:pt x="768" y="219"/>
                  </a:lnTo>
                  <a:lnTo>
                    <a:pt x="733" y="219"/>
                  </a:lnTo>
                  <a:lnTo>
                    <a:pt x="733" y="31"/>
                  </a:lnTo>
                  <a:lnTo>
                    <a:pt x="697" y="31"/>
                  </a:lnTo>
                  <a:lnTo>
                    <a:pt x="697" y="0"/>
                  </a:lnTo>
                  <a:close/>
                  <a:moveTo>
                    <a:pt x="619" y="92"/>
                  </a:moveTo>
                  <a:lnTo>
                    <a:pt x="666" y="92"/>
                  </a:lnTo>
                  <a:lnTo>
                    <a:pt x="666" y="124"/>
                  </a:lnTo>
                  <a:lnTo>
                    <a:pt x="619" y="124"/>
                  </a:lnTo>
                  <a:lnTo>
                    <a:pt x="619" y="187"/>
                  </a:lnTo>
                  <a:lnTo>
                    <a:pt x="678" y="187"/>
                  </a:lnTo>
                  <a:lnTo>
                    <a:pt x="678" y="219"/>
                  </a:lnTo>
                  <a:lnTo>
                    <a:pt x="584" y="219"/>
                  </a:lnTo>
                  <a:lnTo>
                    <a:pt x="584" y="0"/>
                  </a:lnTo>
                  <a:lnTo>
                    <a:pt x="678" y="0"/>
                  </a:lnTo>
                  <a:lnTo>
                    <a:pt x="678" y="31"/>
                  </a:lnTo>
                  <a:lnTo>
                    <a:pt x="619" y="31"/>
                  </a:lnTo>
                  <a:lnTo>
                    <a:pt x="619" y="92"/>
                  </a:lnTo>
                  <a:close/>
                  <a:moveTo>
                    <a:pt x="492" y="131"/>
                  </a:moveTo>
                  <a:lnTo>
                    <a:pt x="482" y="151"/>
                  </a:lnTo>
                  <a:lnTo>
                    <a:pt x="482" y="219"/>
                  </a:lnTo>
                  <a:lnTo>
                    <a:pt x="447" y="219"/>
                  </a:lnTo>
                  <a:lnTo>
                    <a:pt x="447" y="0"/>
                  </a:lnTo>
                  <a:lnTo>
                    <a:pt x="482" y="0"/>
                  </a:lnTo>
                  <a:lnTo>
                    <a:pt x="482" y="95"/>
                  </a:lnTo>
                  <a:lnTo>
                    <a:pt x="526" y="0"/>
                  </a:lnTo>
                  <a:lnTo>
                    <a:pt x="561" y="0"/>
                  </a:lnTo>
                  <a:lnTo>
                    <a:pt x="513" y="98"/>
                  </a:lnTo>
                  <a:lnTo>
                    <a:pt x="561" y="219"/>
                  </a:lnTo>
                  <a:lnTo>
                    <a:pt x="525" y="219"/>
                  </a:lnTo>
                  <a:lnTo>
                    <a:pt x="492" y="131"/>
                  </a:lnTo>
                  <a:close/>
                  <a:moveTo>
                    <a:pt x="347" y="31"/>
                  </a:moveTo>
                  <a:lnTo>
                    <a:pt x="347" y="99"/>
                  </a:lnTo>
                  <a:lnTo>
                    <a:pt x="361" y="99"/>
                  </a:lnTo>
                  <a:lnTo>
                    <a:pt x="365" y="99"/>
                  </a:lnTo>
                  <a:lnTo>
                    <a:pt x="370" y="98"/>
                  </a:lnTo>
                  <a:lnTo>
                    <a:pt x="373" y="95"/>
                  </a:lnTo>
                  <a:lnTo>
                    <a:pt x="375" y="94"/>
                  </a:lnTo>
                  <a:lnTo>
                    <a:pt x="376" y="93"/>
                  </a:lnTo>
                  <a:lnTo>
                    <a:pt x="378" y="90"/>
                  </a:lnTo>
                  <a:lnTo>
                    <a:pt x="380" y="86"/>
                  </a:lnTo>
                  <a:lnTo>
                    <a:pt x="381" y="82"/>
                  </a:lnTo>
                  <a:lnTo>
                    <a:pt x="381" y="75"/>
                  </a:lnTo>
                  <a:lnTo>
                    <a:pt x="381" y="53"/>
                  </a:lnTo>
                  <a:lnTo>
                    <a:pt x="381" y="48"/>
                  </a:lnTo>
                  <a:lnTo>
                    <a:pt x="381" y="44"/>
                  </a:lnTo>
                  <a:lnTo>
                    <a:pt x="379" y="39"/>
                  </a:lnTo>
                  <a:lnTo>
                    <a:pt x="378" y="36"/>
                  </a:lnTo>
                  <a:lnTo>
                    <a:pt x="375" y="34"/>
                  </a:lnTo>
                  <a:lnTo>
                    <a:pt x="374" y="33"/>
                  </a:lnTo>
                  <a:lnTo>
                    <a:pt x="372" y="32"/>
                  </a:lnTo>
                  <a:lnTo>
                    <a:pt x="368" y="31"/>
                  </a:lnTo>
                  <a:lnTo>
                    <a:pt x="364" y="31"/>
                  </a:lnTo>
                  <a:lnTo>
                    <a:pt x="347" y="31"/>
                  </a:lnTo>
                  <a:close/>
                  <a:moveTo>
                    <a:pt x="385" y="219"/>
                  </a:moveTo>
                  <a:lnTo>
                    <a:pt x="384" y="215"/>
                  </a:lnTo>
                  <a:lnTo>
                    <a:pt x="383" y="211"/>
                  </a:lnTo>
                  <a:lnTo>
                    <a:pt x="382" y="203"/>
                  </a:lnTo>
                  <a:lnTo>
                    <a:pt x="382" y="192"/>
                  </a:lnTo>
                  <a:lnTo>
                    <a:pt x="382" y="158"/>
                  </a:lnTo>
                  <a:lnTo>
                    <a:pt x="381" y="150"/>
                  </a:lnTo>
                  <a:lnTo>
                    <a:pt x="381" y="145"/>
                  </a:lnTo>
                  <a:lnTo>
                    <a:pt x="379" y="140"/>
                  </a:lnTo>
                  <a:lnTo>
                    <a:pt x="377" y="136"/>
                  </a:lnTo>
                  <a:lnTo>
                    <a:pt x="375" y="135"/>
                  </a:lnTo>
                  <a:lnTo>
                    <a:pt x="374" y="133"/>
                  </a:lnTo>
                  <a:lnTo>
                    <a:pt x="370" y="131"/>
                  </a:lnTo>
                  <a:lnTo>
                    <a:pt x="365" y="130"/>
                  </a:lnTo>
                  <a:lnTo>
                    <a:pt x="359" y="129"/>
                  </a:lnTo>
                  <a:lnTo>
                    <a:pt x="347" y="129"/>
                  </a:lnTo>
                  <a:lnTo>
                    <a:pt x="347" y="219"/>
                  </a:lnTo>
                  <a:lnTo>
                    <a:pt x="313" y="219"/>
                  </a:lnTo>
                  <a:lnTo>
                    <a:pt x="313" y="0"/>
                  </a:lnTo>
                  <a:lnTo>
                    <a:pt x="365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83" y="1"/>
                  </a:lnTo>
                  <a:lnTo>
                    <a:pt x="389" y="2"/>
                  </a:lnTo>
                  <a:lnTo>
                    <a:pt x="393" y="4"/>
                  </a:lnTo>
                  <a:lnTo>
                    <a:pt x="397" y="7"/>
                  </a:lnTo>
                  <a:lnTo>
                    <a:pt x="400" y="10"/>
                  </a:lnTo>
                  <a:lnTo>
                    <a:pt x="404" y="12"/>
                  </a:lnTo>
                  <a:lnTo>
                    <a:pt x="407" y="16"/>
                  </a:lnTo>
                  <a:lnTo>
                    <a:pt x="410" y="19"/>
                  </a:lnTo>
                  <a:lnTo>
                    <a:pt x="412" y="23"/>
                  </a:lnTo>
                  <a:lnTo>
                    <a:pt x="413" y="28"/>
                  </a:lnTo>
                  <a:lnTo>
                    <a:pt x="414" y="33"/>
                  </a:lnTo>
                  <a:lnTo>
                    <a:pt x="415" y="38"/>
                  </a:lnTo>
                  <a:lnTo>
                    <a:pt x="416" y="44"/>
                  </a:lnTo>
                  <a:lnTo>
                    <a:pt x="416" y="50"/>
                  </a:lnTo>
                  <a:lnTo>
                    <a:pt x="416" y="68"/>
                  </a:lnTo>
                  <a:lnTo>
                    <a:pt x="416" y="75"/>
                  </a:lnTo>
                  <a:lnTo>
                    <a:pt x="415" y="83"/>
                  </a:lnTo>
                  <a:lnTo>
                    <a:pt x="413" y="89"/>
                  </a:lnTo>
                  <a:lnTo>
                    <a:pt x="411" y="95"/>
                  </a:lnTo>
                  <a:lnTo>
                    <a:pt x="409" y="99"/>
                  </a:lnTo>
                  <a:lnTo>
                    <a:pt x="408" y="101"/>
                  </a:lnTo>
                  <a:lnTo>
                    <a:pt x="405" y="103"/>
                  </a:lnTo>
                  <a:lnTo>
                    <a:pt x="403" y="105"/>
                  </a:lnTo>
                  <a:lnTo>
                    <a:pt x="399" y="109"/>
                  </a:lnTo>
                  <a:lnTo>
                    <a:pt x="394" y="112"/>
                  </a:lnTo>
                  <a:lnTo>
                    <a:pt x="397" y="113"/>
                  </a:lnTo>
                  <a:lnTo>
                    <a:pt x="399" y="115"/>
                  </a:lnTo>
                  <a:lnTo>
                    <a:pt x="402" y="117"/>
                  </a:lnTo>
                  <a:lnTo>
                    <a:pt x="404" y="119"/>
                  </a:lnTo>
                  <a:lnTo>
                    <a:pt x="409" y="124"/>
                  </a:lnTo>
                  <a:lnTo>
                    <a:pt x="412" y="129"/>
                  </a:lnTo>
                  <a:lnTo>
                    <a:pt x="414" y="136"/>
                  </a:lnTo>
                  <a:lnTo>
                    <a:pt x="415" y="143"/>
                  </a:lnTo>
                  <a:lnTo>
                    <a:pt x="416" y="146"/>
                  </a:lnTo>
                  <a:lnTo>
                    <a:pt x="416" y="150"/>
                  </a:lnTo>
                  <a:lnTo>
                    <a:pt x="416" y="159"/>
                  </a:lnTo>
                  <a:lnTo>
                    <a:pt x="416" y="193"/>
                  </a:lnTo>
                  <a:lnTo>
                    <a:pt x="416" y="200"/>
                  </a:lnTo>
                  <a:lnTo>
                    <a:pt x="417" y="206"/>
                  </a:lnTo>
                  <a:lnTo>
                    <a:pt x="418" y="213"/>
                  </a:lnTo>
                  <a:lnTo>
                    <a:pt x="419" y="216"/>
                  </a:lnTo>
                  <a:lnTo>
                    <a:pt x="420" y="219"/>
                  </a:lnTo>
                  <a:lnTo>
                    <a:pt x="385" y="219"/>
                  </a:lnTo>
                  <a:close/>
                  <a:moveTo>
                    <a:pt x="211" y="149"/>
                  </a:moveTo>
                  <a:lnTo>
                    <a:pt x="244" y="149"/>
                  </a:lnTo>
                  <a:lnTo>
                    <a:pt x="227" y="38"/>
                  </a:lnTo>
                  <a:lnTo>
                    <a:pt x="211" y="149"/>
                  </a:lnTo>
                  <a:close/>
                  <a:moveTo>
                    <a:pt x="289" y="219"/>
                  </a:moveTo>
                  <a:lnTo>
                    <a:pt x="254" y="219"/>
                  </a:lnTo>
                  <a:lnTo>
                    <a:pt x="249" y="179"/>
                  </a:lnTo>
                  <a:lnTo>
                    <a:pt x="207" y="179"/>
                  </a:lnTo>
                  <a:lnTo>
                    <a:pt x="200" y="219"/>
                  </a:lnTo>
                  <a:lnTo>
                    <a:pt x="169" y="219"/>
                  </a:lnTo>
                  <a:lnTo>
                    <a:pt x="203" y="0"/>
                  </a:lnTo>
                  <a:lnTo>
                    <a:pt x="254" y="0"/>
                  </a:lnTo>
                  <a:lnTo>
                    <a:pt x="289" y="219"/>
                  </a:lnTo>
                  <a:close/>
                  <a:moveTo>
                    <a:pt x="73" y="156"/>
                  </a:moveTo>
                  <a:lnTo>
                    <a:pt x="97" y="0"/>
                  </a:lnTo>
                  <a:lnTo>
                    <a:pt x="145" y="0"/>
                  </a:lnTo>
                  <a:lnTo>
                    <a:pt x="145" y="219"/>
                  </a:lnTo>
                  <a:lnTo>
                    <a:pt x="113" y="219"/>
                  </a:lnTo>
                  <a:lnTo>
                    <a:pt x="113" y="62"/>
                  </a:lnTo>
                  <a:lnTo>
                    <a:pt x="88" y="219"/>
                  </a:lnTo>
                  <a:lnTo>
                    <a:pt x="55" y="219"/>
                  </a:lnTo>
                  <a:lnTo>
                    <a:pt x="30" y="64"/>
                  </a:lnTo>
                  <a:lnTo>
                    <a:pt x="30" y="219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48" y="0"/>
                  </a:lnTo>
                  <a:lnTo>
                    <a:pt x="73" y="1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839290261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CC40DF8-CD78-44E2-894C-1C987BEC46AA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30"/>
            <p:cNvSpPr>
              <a:spLocks noEditPoints="1"/>
            </p:cNvSpPr>
            <p:nvPr userDrawn="1"/>
          </p:nvSpPr>
          <p:spPr bwMode="auto">
            <a:xfrm>
              <a:off x="9094170" y="6475574"/>
              <a:ext cx="1502915" cy="209315"/>
            </a:xfrm>
            <a:custGeom>
              <a:avLst/>
              <a:gdLst>
                <a:gd name="T0" fmla="*/ 1559 w 1594"/>
                <a:gd name="T1" fmla="*/ 219 h 222"/>
                <a:gd name="T2" fmla="*/ 1559 w 1594"/>
                <a:gd name="T3" fmla="*/ 0 h 222"/>
                <a:gd name="T4" fmla="*/ 1418 w 1594"/>
                <a:gd name="T5" fmla="*/ 104 h 222"/>
                <a:gd name="T6" fmla="*/ 1427 w 1594"/>
                <a:gd name="T7" fmla="*/ 85 h 222"/>
                <a:gd name="T8" fmla="*/ 1421 w 1594"/>
                <a:gd name="T9" fmla="*/ 33 h 222"/>
                <a:gd name="T10" fmla="*/ 1462 w 1594"/>
                <a:gd name="T11" fmla="*/ 83 h 222"/>
                <a:gd name="T12" fmla="*/ 1455 w 1594"/>
                <a:gd name="T13" fmla="*/ 115 h 222"/>
                <a:gd name="T14" fmla="*/ 1432 w 1594"/>
                <a:gd name="T15" fmla="*/ 133 h 222"/>
                <a:gd name="T16" fmla="*/ 1394 w 1594"/>
                <a:gd name="T17" fmla="*/ 219 h 222"/>
                <a:gd name="T18" fmla="*/ 1428 w 1594"/>
                <a:gd name="T19" fmla="*/ 1 h 222"/>
                <a:gd name="T20" fmla="*/ 1451 w 1594"/>
                <a:gd name="T21" fmla="*/ 17 h 222"/>
                <a:gd name="T22" fmla="*/ 1461 w 1594"/>
                <a:gd name="T23" fmla="*/ 48 h 222"/>
                <a:gd name="T24" fmla="*/ 1290 w 1594"/>
                <a:gd name="T25" fmla="*/ 104 h 222"/>
                <a:gd name="T26" fmla="*/ 1300 w 1594"/>
                <a:gd name="T27" fmla="*/ 85 h 222"/>
                <a:gd name="T28" fmla="*/ 1293 w 1594"/>
                <a:gd name="T29" fmla="*/ 33 h 222"/>
                <a:gd name="T30" fmla="*/ 1334 w 1594"/>
                <a:gd name="T31" fmla="*/ 83 h 222"/>
                <a:gd name="T32" fmla="*/ 1327 w 1594"/>
                <a:gd name="T33" fmla="*/ 115 h 222"/>
                <a:gd name="T34" fmla="*/ 1305 w 1594"/>
                <a:gd name="T35" fmla="*/ 133 h 222"/>
                <a:gd name="T36" fmla="*/ 1266 w 1594"/>
                <a:gd name="T37" fmla="*/ 219 h 222"/>
                <a:gd name="T38" fmla="*/ 1300 w 1594"/>
                <a:gd name="T39" fmla="*/ 1 h 222"/>
                <a:gd name="T40" fmla="*/ 1324 w 1594"/>
                <a:gd name="T41" fmla="*/ 17 h 222"/>
                <a:gd name="T42" fmla="*/ 1334 w 1594"/>
                <a:gd name="T43" fmla="*/ 48 h 222"/>
                <a:gd name="T44" fmla="*/ 1134 w 1594"/>
                <a:gd name="T45" fmla="*/ 181 h 222"/>
                <a:gd name="T46" fmla="*/ 1150 w 1594"/>
                <a:gd name="T47" fmla="*/ 191 h 222"/>
                <a:gd name="T48" fmla="*/ 1167 w 1594"/>
                <a:gd name="T49" fmla="*/ 179 h 222"/>
                <a:gd name="T50" fmla="*/ 1201 w 1594"/>
                <a:gd name="T51" fmla="*/ 173 h 222"/>
                <a:gd name="T52" fmla="*/ 1191 w 1594"/>
                <a:gd name="T53" fmla="*/ 203 h 222"/>
                <a:gd name="T54" fmla="*/ 1171 w 1594"/>
                <a:gd name="T55" fmla="*/ 218 h 222"/>
                <a:gd name="T56" fmla="*/ 1137 w 1594"/>
                <a:gd name="T57" fmla="*/ 221 h 222"/>
                <a:gd name="T58" fmla="*/ 1111 w 1594"/>
                <a:gd name="T59" fmla="*/ 208 h 222"/>
                <a:gd name="T60" fmla="*/ 1099 w 1594"/>
                <a:gd name="T61" fmla="*/ 179 h 222"/>
                <a:gd name="T62" fmla="*/ 1030 w 1594"/>
                <a:gd name="T63" fmla="*/ 149 h 222"/>
                <a:gd name="T64" fmla="*/ 992 w 1594"/>
                <a:gd name="T65" fmla="*/ 179 h 222"/>
                <a:gd name="T66" fmla="*/ 872 w 1594"/>
                <a:gd name="T67" fmla="*/ 131 h 222"/>
                <a:gd name="T68" fmla="*/ 861 w 1594"/>
                <a:gd name="T69" fmla="*/ 95 h 222"/>
                <a:gd name="T70" fmla="*/ 872 w 1594"/>
                <a:gd name="T71" fmla="*/ 131 h 222"/>
                <a:gd name="T72" fmla="*/ 733 w 1594"/>
                <a:gd name="T73" fmla="*/ 219 h 222"/>
                <a:gd name="T74" fmla="*/ 666 w 1594"/>
                <a:gd name="T75" fmla="*/ 124 h 222"/>
                <a:gd name="T76" fmla="*/ 584 w 1594"/>
                <a:gd name="T77" fmla="*/ 0 h 222"/>
                <a:gd name="T78" fmla="*/ 482 w 1594"/>
                <a:gd name="T79" fmla="*/ 151 h 222"/>
                <a:gd name="T80" fmla="*/ 526 w 1594"/>
                <a:gd name="T81" fmla="*/ 0 h 222"/>
                <a:gd name="T82" fmla="*/ 347 w 1594"/>
                <a:gd name="T83" fmla="*/ 31 h 222"/>
                <a:gd name="T84" fmla="*/ 375 w 1594"/>
                <a:gd name="T85" fmla="*/ 94 h 222"/>
                <a:gd name="T86" fmla="*/ 381 w 1594"/>
                <a:gd name="T87" fmla="*/ 53 h 222"/>
                <a:gd name="T88" fmla="*/ 374 w 1594"/>
                <a:gd name="T89" fmla="*/ 33 h 222"/>
                <a:gd name="T90" fmla="*/ 384 w 1594"/>
                <a:gd name="T91" fmla="*/ 215 h 222"/>
                <a:gd name="T92" fmla="*/ 381 w 1594"/>
                <a:gd name="T93" fmla="*/ 145 h 222"/>
                <a:gd name="T94" fmla="*/ 365 w 1594"/>
                <a:gd name="T95" fmla="*/ 130 h 222"/>
                <a:gd name="T96" fmla="*/ 365 w 1594"/>
                <a:gd name="T97" fmla="*/ 0 h 222"/>
                <a:gd name="T98" fmla="*/ 397 w 1594"/>
                <a:gd name="T99" fmla="*/ 7 h 222"/>
                <a:gd name="T100" fmla="*/ 413 w 1594"/>
                <a:gd name="T101" fmla="*/ 28 h 222"/>
                <a:gd name="T102" fmla="*/ 416 w 1594"/>
                <a:gd name="T103" fmla="*/ 75 h 222"/>
                <a:gd name="T104" fmla="*/ 405 w 1594"/>
                <a:gd name="T105" fmla="*/ 103 h 222"/>
                <a:gd name="T106" fmla="*/ 402 w 1594"/>
                <a:gd name="T107" fmla="*/ 117 h 222"/>
                <a:gd name="T108" fmla="*/ 416 w 1594"/>
                <a:gd name="T109" fmla="*/ 146 h 222"/>
                <a:gd name="T110" fmla="*/ 418 w 1594"/>
                <a:gd name="T111" fmla="*/ 213 h 222"/>
                <a:gd name="T112" fmla="*/ 227 w 1594"/>
                <a:gd name="T113" fmla="*/ 38 h 222"/>
                <a:gd name="T114" fmla="*/ 200 w 1594"/>
                <a:gd name="T115" fmla="*/ 219 h 222"/>
                <a:gd name="T116" fmla="*/ 97 w 1594"/>
                <a:gd name="T117" fmla="*/ 0 h 222"/>
                <a:gd name="T118" fmla="*/ 55 w 1594"/>
                <a:gd name="T119" fmla="*/ 219 h 222"/>
                <a:gd name="T120" fmla="*/ 73 w 1594"/>
                <a:gd name="T121" fmla="*/ 15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94" h="222">
                  <a:moveTo>
                    <a:pt x="1516" y="149"/>
                  </a:moveTo>
                  <a:lnTo>
                    <a:pt x="1549" y="149"/>
                  </a:lnTo>
                  <a:lnTo>
                    <a:pt x="1533" y="38"/>
                  </a:lnTo>
                  <a:lnTo>
                    <a:pt x="1516" y="149"/>
                  </a:lnTo>
                  <a:close/>
                  <a:moveTo>
                    <a:pt x="1594" y="219"/>
                  </a:moveTo>
                  <a:lnTo>
                    <a:pt x="1559" y="219"/>
                  </a:lnTo>
                  <a:lnTo>
                    <a:pt x="1554" y="179"/>
                  </a:lnTo>
                  <a:lnTo>
                    <a:pt x="1512" y="179"/>
                  </a:lnTo>
                  <a:lnTo>
                    <a:pt x="1505" y="219"/>
                  </a:lnTo>
                  <a:lnTo>
                    <a:pt x="1474" y="219"/>
                  </a:lnTo>
                  <a:lnTo>
                    <a:pt x="1508" y="0"/>
                  </a:lnTo>
                  <a:lnTo>
                    <a:pt x="1559" y="0"/>
                  </a:lnTo>
                  <a:lnTo>
                    <a:pt x="1594" y="219"/>
                  </a:lnTo>
                  <a:close/>
                  <a:moveTo>
                    <a:pt x="1394" y="31"/>
                  </a:moveTo>
                  <a:lnTo>
                    <a:pt x="1394" y="105"/>
                  </a:lnTo>
                  <a:lnTo>
                    <a:pt x="1410" y="105"/>
                  </a:lnTo>
                  <a:lnTo>
                    <a:pt x="1414" y="105"/>
                  </a:lnTo>
                  <a:lnTo>
                    <a:pt x="1418" y="104"/>
                  </a:lnTo>
                  <a:lnTo>
                    <a:pt x="1421" y="103"/>
                  </a:lnTo>
                  <a:lnTo>
                    <a:pt x="1423" y="101"/>
                  </a:lnTo>
                  <a:lnTo>
                    <a:pt x="1425" y="99"/>
                  </a:lnTo>
                  <a:lnTo>
                    <a:pt x="1426" y="94"/>
                  </a:lnTo>
                  <a:lnTo>
                    <a:pt x="1427" y="90"/>
                  </a:lnTo>
                  <a:lnTo>
                    <a:pt x="1427" y="85"/>
                  </a:lnTo>
                  <a:lnTo>
                    <a:pt x="1427" y="52"/>
                  </a:lnTo>
                  <a:lnTo>
                    <a:pt x="1427" y="47"/>
                  </a:lnTo>
                  <a:lnTo>
                    <a:pt x="1426" y="41"/>
                  </a:lnTo>
                  <a:lnTo>
                    <a:pt x="1425" y="38"/>
                  </a:lnTo>
                  <a:lnTo>
                    <a:pt x="1423" y="35"/>
                  </a:lnTo>
                  <a:lnTo>
                    <a:pt x="1421" y="33"/>
                  </a:lnTo>
                  <a:lnTo>
                    <a:pt x="1418" y="32"/>
                  </a:lnTo>
                  <a:lnTo>
                    <a:pt x="1414" y="31"/>
                  </a:lnTo>
                  <a:lnTo>
                    <a:pt x="1410" y="31"/>
                  </a:lnTo>
                  <a:lnTo>
                    <a:pt x="1394" y="31"/>
                  </a:lnTo>
                  <a:close/>
                  <a:moveTo>
                    <a:pt x="1462" y="54"/>
                  </a:moveTo>
                  <a:lnTo>
                    <a:pt x="1462" y="83"/>
                  </a:lnTo>
                  <a:lnTo>
                    <a:pt x="1461" y="89"/>
                  </a:lnTo>
                  <a:lnTo>
                    <a:pt x="1461" y="94"/>
                  </a:lnTo>
                  <a:lnTo>
                    <a:pt x="1460" y="101"/>
                  </a:lnTo>
                  <a:lnTo>
                    <a:pt x="1459" y="106"/>
                  </a:lnTo>
                  <a:lnTo>
                    <a:pt x="1457" y="110"/>
                  </a:lnTo>
                  <a:lnTo>
                    <a:pt x="1455" y="115"/>
                  </a:lnTo>
                  <a:lnTo>
                    <a:pt x="1451" y="119"/>
                  </a:lnTo>
                  <a:lnTo>
                    <a:pt x="1449" y="123"/>
                  </a:lnTo>
                  <a:lnTo>
                    <a:pt x="1445" y="126"/>
                  </a:lnTo>
                  <a:lnTo>
                    <a:pt x="1442" y="129"/>
                  </a:lnTo>
                  <a:lnTo>
                    <a:pt x="1438" y="131"/>
                  </a:lnTo>
                  <a:lnTo>
                    <a:pt x="1432" y="133"/>
                  </a:lnTo>
                  <a:lnTo>
                    <a:pt x="1428" y="135"/>
                  </a:lnTo>
                  <a:lnTo>
                    <a:pt x="1423" y="136"/>
                  </a:lnTo>
                  <a:lnTo>
                    <a:pt x="1416" y="137"/>
                  </a:lnTo>
                  <a:lnTo>
                    <a:pt x="1410" y="137"/>
                  </a:lnTo>
                  <a:lnTo>
                    <a:pt x="1394" y="137"/>
                  </a:lnTo>
                  <a:lnTo>
                    <a:pt x="1394" y="219"/>
                  </a:lnTo>
                  <a:lnTo>
                    <a:pt x="1359" y="219"/>
                  </a:lnTo>
                  <a:lnTo>
                    <a:pt x="1359" y="0"/>
                  </a:lnTo>
                  <a:lnTo>
                    <a:pt x="1410" y="0"/>
                  </a:lnTo>
                  <a:lnTo>
                    <a:pt x="1416" y="0"/>
                  </a:lnTo>
                  <a:lnTo>
                    <a:pt x="1423" y="0"/>
                  </a:lnTo>
                  <a:lnTo>
                    <a:pt x="1428" y="1"/>
                  </a:lnTo>
                  <a:lnTo>
                    <a:pt x="1432" y="3"/>
                  </a:lnTo>
                  <a:lnTo>
                    <a:pt x="1438" y="6"/>
                  </a:lnTo>
                  <a:lnTo>
                    <a:pt x="1442" y="8"/>
                  </a:lnTo>
                  <a:lnTo>
                    <a:pt x="1445" y="11"/>
                  </a:lnTo>
                  <a:lnTo>
                    <a:pt x="1449" y="14"/>
                  </a:lnTo>
                  <a:lnTo>
                    <a:pt x="1451" y="17"/>
                  </a:lnTo>
                  <a:lnTo>
                    <a:pt x="1455" y="21"/>
                  </a:lnTo>
                  <a:lnTo>
                    <a:pt x="1457" y="26"/>
                  </a:lnTo>
                  <a:lnTo>
                    <a:pt x="1459" y="31"/>
                  </a:lnTo>
                  <a:lnTo>
                    <a:pt x="1460" y="36"/>
                  </a:lnTo>
                  <a:lnTo>
                    <a:pt x="1461" y="41"/>
                  </a:lnTo>
                  <a:lnTo>
                    <a:pt x="1461" y="48"/>
                  </a:lnTo>
                  <a:lnTo>
                    <a:pt x="1462" y="54"/>
                  </a:lnTo>
                  <a:close/>
                  <a:moveTo>
                    <a:pt x="1266" y="31"/>
                  </a:moveTo>
                  <a:lnTo>
                    <a:pt x="1266" y="105"/>
                  </a:lnTo>
                  <a:lnTo>
                    <a:pt x="1283" y="105"/>
                  </a:lnTo>
                  <a:lnTo>
                    <a:pt x="1286" y="105"/>
                  </a:lnTo>
                  <a:lnTo>
                    <a:pt x="1290" y="104"/>
                  </a:lnTo>
                  <a:lnTo>
                    <a:pt x="1293" y="103"/>
                  </a:lnTo>
                  <a:lnTo>
                    <a:pt x="1295" y="101"/>
                  </a:lnTo>
                  <a:lnTo>
                    <a:pt x="1297" y="99"/>
                  </a:lnTo>
                  <a:lnTo>
                    <a:pt x="1298" y="94"/>
                  </a:lnTo>
                  <a:lnTo>
                    <a:pt x="1299" y="90"/>
                  </a:lnTo>
                  <a:lnTo>
                    <a:pt x="1300" y="85"/>
                  </a:lnTo>
                  <a:lnTo>
                    <a:pt x="1300" y="52"/>
                  </a:lnTo>
                  <a:lnTo>
                    <a:pt x="1299" y="47"/>
                  </a:lnTo>
                  <a:lnTo>
                    <a:pt x="1298" y="41"/>
                  </a:lnTo>
                  <a:lnTo>
                    <a:pt x="1297" y="38"/>
                  </a:lnTo>
                  <a:lnTo>
                    <a:pt x="1295" y="35"/>
                  </a:lnTo>
                  <a:lnTo>
                    <a:pt x="1293" y="33"/>
                  </a:lnTo>
                  <a:lnTo>
                    <a:pt x="1290" y="32"/>
                  </a:lnTo>
                  <a:lnTo>
                    <a:pt x="1286" y="31"/>
                  </a:lnTo>
                  <a:lnTo>
                    <a:pt x="1283" y="31"/>
                  </a:lnTo>
                  <a:lnTo>
                    <a:pt x="1266" y="31"/>
                  </a:lnTo>
                  <a:close/>
                  <a:moveTo>
                    <a:pt x="1334" y="54"/>
                  </a:moveTo>
                  <a:lnTo>
                    <a:pt x="1334" y="83"/>
                  </a:lnTo>
                  <a:lnTo>
                    <a:pt x="1334" y="89"/>
                  </a:lnTo>
                  <a:lnTo>
                    <a:pt x="1333" y="94"/>
                  </a:lnTo>
                  <a:lnTo>
                    <a:pt x="1332" y="101"/>
                  </a:lnTo>
                  <a:lnTo>
                    <a:pt x="1331" y="106"/>
                  </a:lnTo>
                  <a:lnTo>
                    <a:pt x="1329" y="110"/>
                  </a:lnTo>
                  <a:lnTo>
                    <a:pt x="1327" y="115"/>
                  </a:lnTo>
                  <a:lnTo>
                    <a:pt x="1324" y="119"/>
                  </a:lnTo>
                  <a:lnTo>
                    <a:pt x="1321" y="123"/>
                  </a:lnTo>
                  <a:lnTo>
                    <a:pt x="1318" y="126"/>
                  </a:lnTo>
                  <a:lnTo>
                    <a:pt x="1314" y="129"/>
                  </a:lnTo>
                  <a:lnTo>
                    <a:pt x="1310" y="131"/>
                  </a:lnTo>
                  <a:lnTo>
                    <a:pt x="1305" y="133"/>
                  </a:lnTo>
                  <a:lnTo>
                    <a:pt x="1300" y="135"/>
                  </a:lnTo>
                  <a:lnTo>
                    <a:pt x="1295" y="136"/>
                  </a:lnTo>
                  <a:lnTo>
                    <a:pt x="1289" y="137"/>
                  </a:lnTo>
                  <a:lnTo>
                    <a:pt x="1283" y="137"/>
                  </a:lnTo>
                  <a:lnTo>
                    <a:pt x="1266" y="137"/>
                  </a:lnTo>
                  <a:lnTo>
                    <a:pt x="1266" y="219"/>
                  </a:lnTo>
                  <a:lnTo>
                    <a:pt x="1232" y="219"/>
                  </a:lnTo>
                  <a:lnTo>
                    <a:pt x="1232" y="0"/>
                  </a:lnTo>
                  <a:lnTo>
                    <a:pt x="1283" y="0"/>
                  </a:lnTo>
                  <a:lnTo>
                    <a:pt x="1289" y="0"/>
                  </a:lnTo>
                  <a:lnTo>
                    <a:pt x="1295" y="0"/>
                  </a:lnTo>
                  <a:lnTo>
                    <a:pt x="1300" y="1"/>
                  </a:lnTo>
                  <a:lnTo>
                    <a:pt x="1305" y="3"/>
                  </a:lnTo>
                  <a:lnTo>
                    <a:pt x="1310" y="6"/>
                  </a:lnTo>
                  <a:lnTo>
                    <a:pt x="1314" y="8"/>
                  </a:lnTo>
                  <a:lnTo>
                    <a:pt x="1318" y="11"/>
                  </a:lnTo>
                  <a:lnTo>
                    <a:pt x="1321" y="14"/>
                  </a:lnTo>
                  <a:lnTo>
                    <a:pt x="1324" y="17"/>
                  </a:lnTo>
                  <a:lnTo>
                    <a:pt x="1327" y="21"/>
                  </a:lnTo>
                  <a:lnTo>
                    <a:pt x="1329" y="26"/>
                  </a:lnTo>
                  <a:lnTo>
                    <a:pt x="1331" y="31"/>
                  </a:lnTo>
                  <a:lnTo>
                    <a:pt x="1332" y="36"/>
                  </a:lnTo>
                  <a:lnTo>
                    <a:pt x="1333" y="41"/>
                  </a:lnTo>
                  <a:lnTo>
                    <a:pt x="1334" y="48"/>
                  </a:lnTo>
                  <a:lnTo>
                    <a:pt x="1334" y="54"/>
                  </a:lnTo>
                  <a:close/>
                  <a:moveTo>
                    <a:pt x="1132" y="0"/>
                  </a:moveTo>
                  <a:lnTo>
                    <a:pt x="1132" y="169"/>
                  </a:lnTo>
                  <a:lnTo>
                    <a:pt x="1133" y="175"/>
                  </a:lnTo>
                  <a:lnTo>
                    <a:pt x="1134" y="179"/>
                  </a:lnTo>
                  <a:lnTo>
                    <a:pt x="1134" y="181"/>
                  </a:lnTo>
                  <a:lnTo>
                    <a:pt x="1135" y="182"/>
                  </a:lnTo>
                  <a:lnTo>
                    <a:pt x="1137" y="185"/>
                  </a:lnTo>
                  <a:lnTo>
                    <a:pt x="1139" y="187"/>
                  </a:lnTo>
                  <a:lnTo>
                    <a:pt x="1143" y="190"/>
                  </a:lnTo>
                  <a:lnTo>
                    <a:pt x="1147" y="190"/>
                  </a:lnTo>
                  <a:lnTo>
                    <a:pt x="1150" y="191"/>
                  </a:lnTo>
                  <a:lnTo>
                    <a:pt x="1154" y="190"/>
                  </a:lnTo>
                  <a:lnTo>
                    <a:pt x="1157" y="190"/>
                  </a:lnTo>
                  <a:lnTo>
                    <a:pt x="1161" y="187"/>
                  </a:lnTo>
                  <a:lnTo>
                    <a:pt x="1164" y="185"/>
                  </a:lnTo>
                  <a:lnTo>
                    <a:pt x="1166" y="182"/>
                  </a:lnTo>
                  <a:lnTo>
                    <a:pt x="1167" y="179"/>
                  </a:lnTo>
                  <a:lnTo>
                    <a:pt x="1168" y="175"/>
                  </a:lnTo>
                  <a:lnTo>
                    <a:pt x="1168" y="169"/>
                  </a:lnTo>
                  <a:lnTo>
                    <a:pt x="1168" y="0"/>
                  </a:lnTo>
                  <a:lnTo>
                    <a:pt x="1201" y="0"/>
                  </a:lnTo>
                  <a:lnTo>
                    <a:pt x="1201" y="166"/>
                  </a:lnTo>
                  <a:lnTo>
                    <a:pt x="1201" y="173"/>
                  </a:lnTo>
                  <a:lnTo>
                    <a:pt x="1200" y="179"/>
                  </a:lnTo>
                  <a:lnTo>
                    <a:pt x="1199" y="185"/>
                  </a:lnTo>
                  <a:lnTo>
                    <a:pt x="1198" y="191"/>
                  </a:lnTo>
                  <a:lnTo>
                    <a:pt x="1195" y="195"/>
                  </a:lnTo>
                  <a:lnTo>
                    <a:pt x="1193" y="200"/>
                  </a:lnTo>
                  <a:lnTo>
                    <a:pt x="1191" y="203"/>
                  </a:lnTo>
                  <a:lnTo>
                    <a:pt x="1188" y="208"/>
                  </a:lnTo>
                  <a:lnTo>
                    <a:pt x="1184" y="211"/>
                  </a:lnTo>
                  <a:lnTo>
                    <a:pt x="1181" y="214"/>
                  </a:lnTo>
                  <a:lnTo>
                    <a:pt x="1179" y="215"/>
                  </a:lnTo>
                  <a:lnTo>
                    <a:pt x="1176" y="216"/>
                  </a:lnTo>
                  <a:lnTo>
                    <a:pt x="1171" y="218"/>
                  </a:lnTo>
                  <a:lnTo>
                    <a:pt x="1167" y="220"/>
                  </a:lnTo>
                  <a:lnTo>
                    <a:pt x="1162" y="221"/>
                  </a:lnTo>
                  <a:lnTo>
                    <a:pt x="1155" y="221"/>
                  </a:lnTo>
                  <a:lnTo>
                    <a:pt x="1149" y="222"/>
                  </a:lnTo>
                  <a:lnTo>
                    <a:pt x="1144" y="221"/>
                  </a:lnTo>
                  <a:lnTo>
                    <a:pt x="1137" y="221"/>
                  </a:lnTo>
                  <a:lnTo>
                    <a:pt x="1132" y="220"/>
                  </a:lnTo>
                  <a:lnTo>
                    <a:pt x="1127" y="218"/>
                  </a:lnTo>
                  <a:lnTo>
                    <a:pt x="1122" y="216"/>
                  </a:lnTo>
                  <a:lnTo>
                    <a:pt x="1118" y="214"/>
                  </a:lnTo>
                  <a:lnTo>
                    <a:pt x="1114" y="211"/>
                  </a:lnTo>
                  <a:lnTo>
                    <a:pt x="1111" y="208"/>
                  </a:lnTo>
                  <a:lnTo>
                    <a:pt x="1108" y="203"/>
                  </a:lnTo>
                  <a:lnTo>
                    <a:pt x="1106" y="200"/>
                  </a:lnTo>
                  <a:lnTo>
                    <a:pt x="1103" y="195"/>
                  </a:lnTo>
                  <a:lnTo>
                    <a:pt x="1101" y="191"/>
                  </a:lnTo>
                  <a:lnTo>
                    <a:pt x="1100" y="185"/>
                  </a:lnTo>
                  <a:lnTo>
                    <a:pt x="1099" y="179"/>
                  </a:lnTo>
                  <a:lnTo>
                    <a:pt x="1098" y="173"/>
                  </a:lnTo>
                  <a:lnTo>
                    <a:pt x="1098" y="166"/>
                  </a:lnTo>
                  <a:lnTo>
                    <a:pt x="1098" y="0"/>
                  </a:lnTo>
                  <a:lnTo>
                    <a:pt x="1132" y="0"/>
                  </a:lnTo>
                  <a:close/>
                  <a:moveTo>
                    <a:pt x="997" y="149"/>
                  </a:moveTo>
                  <a:lnTo>
                    <a:pt x="1030" y="149"/>
                  </a:lnTo>
                  <a:lnTo>
                    <a:pt x="1014" y="38"/>
                  </a:lnTo>
                  <a:lnTo>
                    <a:pt x="997" y="149"/>
                  </a:lnTo>
                  <a:close/>
                  <a:moveTo>
                    <a:pt x="1076" y="219"/>
                  </a:moveTo>
                  <a:lnTo>
                    <a:pt x="1041" y="219"/>
                  </a:lnTo>
                  <a:lnTo>
                    <a:pt x="1035" y="179"/>
                  </a:lnTo>
                  <a:lnTo>
                    <a:pt x="992" y="179"/>
                  </a:lnTo>
                  <a:lnTo>
                    <a:pt x="987" y="219"/>
                  </a:lnTo>
                  <a:lnTo>
                    <a:pt x="955" y="219"/>
                  </a:lnTo>
                  <a:lnTo>
                    <a:pt x="990" y="0"/>
                  </a:lnTo>
                  <a:lnTo>
                    <a:pt x="1041" y="0"/>
                  </a:lnTo>
                  <a:lnTo>
                    <a:pt x="1076" y="219"/>
                  </a:lnTo>
                  <a:close/>
                  <a:moveTo>
                    <a:pt x="872" y="131"/>
                  </a:moveTo>
                  <a:lnTo>
                    <a:pt x="861" y="151"/>
                  </a:lnTo>
                  <a:lnTo>
                    <a:pt x="861" y="219"/>
                  </a:lnTo>
                  <a:lnTo>
                    <a:pt x="826" y="219"/>
                  </a:lnTo>
                  <a:lnTo>
                    <a:pt x="826" y="0"/>
                  </a:lnTo>
                  <a:lnTo>
                    <a:pt x="861" y="0"/>
                  </a:lnTo>
                  <a:lnTo>
                    <a:pt x="861" y="95"/>
                  </a:lnTo>
                  <a:lnTo>
                    <a:pt x="907" y="0"/>
                  </a:lnTo>
                  <a:lnTo>
                    <a:pt x="941" y="0"/>
                  </a:lnTo>
                  <a:lnTo>
                    <a:pt x="893" y="98"/>
                  </a:lnTo>
                  <a:lnTo>
                    <a:pt x="941" y="219"/>
                  </a:lnTo>
                  <a:lnTo>
                    <a:pt x="906" y="219"/>
                  </a:lnTo>
                  <a:lnTo>
                    <a:pt x="872" y="131"/>
                  </a:lnTo>
                  <a:close/>
                  <a:moveTo>
                    <a:pt x="697" y="0"/>
                  </a:moveTo>
                  <a:lnTo>
                    <a:pt x="804" y="0"/>
                  </a:lnTo>
                  <a:lnTo>
                    <a:pt x="804" y="31"/>
                  </a:lnTo>
                  <a:lnTo>
                    <a:pt x="768" y="31"/>
                  </a:lnTo>
                  <a:lnTo>
                    <a:pt x="768" y="219"/>
                  </a:lnTo>
                  <a:lnTo>
                    <a:pt x="733" y="219"/>
                  </a:lnTo>
                  <a:lnTo>
                    <a:pt x="733" y="31"/>
                  </a:lnTo>
                  <a:lnTo>
                    <a:pt x="697" y="31"/>
                  </a:lnTo>
                  <a:lnTo>
                    <a:pt x="697" y="0"/>
                  </a:lnTo>
                  <a:close/>
                  <a:moveTo>
                    <a:pt x="619" y="92"/>
                  </a:moveTo>
                  <a:lnTo>
                    <a:pt x="666" y="92"/>
                  </a:lnTo>
                  <a:lnTo>
                    <a:pt x="666" y="124"/>
                  </a:lnTo>
                  <a:lnTo>
                    <a:pt x="619" y="124"/>
                  </a:lnTo>
                  <a:lnTo>
                    <a:pt x="619" y="187"/>
                  </a:lnTo>
                  <a:lnTo>
                    <a:pt x="678" y="187"/>
                  </a:lnTo>
                  <a:lnTo>
                    <a:pt x="678" y="219"/>
                  </a:lnTo>
                  <a:lnTo>
                    <a:pt x="584" y="219"/>
                  </a:lnTo>
                  <a:lnTo>
                    <a:pt x="584" y="0"/>
                  </a:lnTo>
                  <a:lnTo>
                    <a:pt x="678" y="0"/>
                  </a:lnTo>
                  <a:lnTo>
                    <a:pt x="678" y="31"/>
                  </a:lnTo>
                  <a:lnTo>
                    <a:pt x="619" y="31"/>
                  </a:lnTo>
                  <a:lnTo>
                    <a:pt x="619" y="92"/>
                  </a:lnTo>
                  <a:close/>
                  <a:moveTo>
                    <a:pt x="492" y="131"/>
                  </a:moveTo>
                  <a:lnTo>
                    <a:pt x="482" y="151"/>
                  </a:lnTo>
                  <a:lnTo>
                    <a:pt x="482" y="219"/>
                  </a:lnTo>
                  <a:lnTo>
                    <a:pt x="447" y="219"/>
                  </a:lnTo>
                  <a:lnTo>
                    <a:pt x="447" y="0"/>
                  </a:lnTo>
                  <a:lnTo>
                    <a:pt x="482" y="0"/>
                  </a:lnTo>
                  <a:lnTo>
                    <a:pt x="482" y="95"/>
                  </a:lnTo>
                  <a:lnTo>
                    <a:pt x="526" y="0"/>
                  </a:lnTo>
                  <a:lnTo>
                    <a:pt x="561" y="0"/>
                  </a:lnTo>
                  <a:lnTo>
                    <a:pt x="513" y="98"/>
                  </a:lnTo>
                  <a:lnTo>
                    <a:pt x="561" y="219"/>
                  </a:lnTo>
                  <a:lnTo>
                    <a:pt x="525" y="219"/>
                  </a:lnTo>
                  <a:lnTo>
                    <a:pt x="492" y="131"/>
                  </a:lnTo>
                  <a:close/>
                  <a:moveTo>
                    <a:pt x="347" y="31"/>
                  </a:moveTo>
                  <a:lnTo>
                    <a:pt x="347" y="99"/>
                  </a:lnTo>
                  <a:lnTo>
                    <a:pt x="361" y="99"/>
                  </a:lnTo>
                  <a:lnTo>
                    <a:pt x="365" y="99"/>
                  </a:lnTo>
                  <a:lnTo>
                    <a:pt x="370" y="98"/>
                  </a:lnTo>
                  <a:lnTo>
                    <a:pt x="373" y="95"/>
                  </a:lnTo>
                  <a:lnTo>
                    <a:pt x="375" y="94"/>
                  </a:lnTo>
                  <a:lnTo>
                    <a:pt x="376" y="93"/>
                  </a:lnTo>
                  <a:lnTo>
                    <a:pt x="378" y="90"/>
                  </a:lnTo>
                  <a:lnTo>
                    <a:pt x="380" y="86"/>
                  </a:lnTo>
                  <a:lnTo>
                    <a:pt x="381" y="82"/>
                  </a:lnTo>
                  <a:lnTo>
                    <a:pt x="381" y="75"/>
                  </a:lnTo>
                  <a:lnTo>
                    <a:pt x="381" y="53"/>
                  </a:lnTo>
                  <a:lnTo>
                    <a:pt x="381" y="48"/>
                  </a:lnTo>
                  <a:lnTo>
                    <a:pt x="381" y="44"/>
                  </a:lnTo>
                  <a:lnTo>
                    <a:pt x="379" y="39"/>
                  </a:lnTo>
                  <a:lnTo>
                    <a:pt x="378" y="36"/>
                  </a:lnTo>
                  <a:lnTo>
                    <a:pt x="375" y="34"/>
                  </a:lnTo>
                  <a:lnTo>
                    <a:pt x="374" y="33"/>
                  </a:lnTo>
                  <a:lnTo>
                    <a:pt x="372" y="32"/>
                  </a:lnTo>
                  <a:lnTo>
                    <a:pt x="368" y="31"/>
                  </a:lnTo>
                  <a:lnTo>
                    <a:pt x="364" y="31"/>
                  </a:lnTo>
                  <a:lnTo>
                    <a:pt x="347" y="31"/>
                  </a:lnTo>
                  <a:close/>
                  <a:moveTo>
                    <a:pt x="385" y="219"/>
                  </a:moveTo>
                  <a:lnTo>
                    <a:pt x="384" y="215"/>
                  </a:lnTo>
                  <a:lnTo>
                    <a:pt x="383" y="211"/>
                  </a:lnTo>
                  <a:lnTo>
                    <a:pt x="382" y="203"/>
                  </a:lnTo>
                  <a:lnTo>
                    <a:pt x="382" y="192"/>
                  </a:lnTo>
                  <a:lnTo>
                    <a:pt x="382" y="158"/>
                  </a:lnTo>
                  <a:lnTo>
                    <a:pt x="381" y="150"/>
                  </a:lnTo>
                  <a:lnTo>
                    <a:pt x="381" y="145"/>
                  </a:lnTo>
                  <a:lnTo>
                    <a:pt x="379" y="140"/>
                  </a:lnTo>
                  <a:lnTo>
                    <a:pt x="377" y="136"/>
                  </a:lnTo>
                  <a:lnTo>
                    <a:pt x="375" y="135"/>
                  </a:lnTo>
                  <a:lnTo>
                    <a:pt x="374" y="133"/>
                  </a:lnTo>
                  <a:lnTo>
                    <a:pt x="370" y="131"/>
                  </a:lnTo>
                  <a:lnTo>
                    <a:pt x="365" y="130"/>
                  </a:lnTo>
                  <a:lnTo>
                    <a:pt x="359" y="129"/>
                  </a:lnTo>
                  <a:lnTo>
                    <a:pt x="347" y="129"/>
                  </a:lnTo>
                  <a:lnTo>
                    <a:pt x="347" y="219"/>
                  </a:lnTo>
                  <a:lnTo>
                    <a:pt x="313" y="219"/>
                  </a:lnTo>
                  <a:lnTo>
                    <a:pt x="313" y="0"/>
                  </a:lnTo>
                  <a:lnTo>
                    <a:pt x="365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83" y="1"/>
                  </a:lnTo>
                  <a:lnTo>
                    <a:pt x="389" y="2"/>
                  </a:lnTo>
                  <a:lnTo>
                    <a:pt x="393" y="4"/>
                  </a:lnTo>
                  <a:lnTo>
                    <a:pt x="397" y="7"/>
                  </a:lnTo>
                  <a:lnTo>
                    <a:pt x="400" y="10"/>
                  </a:lnTo>
                  <a:lnTo>
                    <a:pt x="404" y="12"/>
                  </a:lnTo>
                  <a:lnTo>
                    <a:pt x="407" y="16"/>
                  </a:lnTo>
                  <a:lnTo>
                    <a:pt x="410" y="19"/>
                  </a:lnTo>
                  <a:lnTo>
                    <a:pt x="412" y="23"/>
                  </a:lnTo>
                  <a:lnTo>
                    <a:pt x="413" y="28"/>
                  </a:lnTo>
                  <a:lnTo>
                    <a:pt x="414" y="33"/>
                  </a:lnTo>
                  <a:lnTo>
                    <a:pt x="415" y="38"/>
                  </a:lnTo>
                  <a:lnTo>
                    <a:pt x="416" y="44"/>
                  </a:lnTo>
                  <a:lnTo>
                    <a:pt x="416" y="50"/>
                  </a:lnTo>
                  <a:lnTo>
                    <a:pt x="416" y="68"/>
                  </a:lnTo>
                  <a:lnTo>
                    <a:pt x="416" y="75"/>
                  </a:lnTo>
                  <a:lnTo>
                    <a:pt x="415" y="83"/>
                  </a:lnTo>
                  <a:lnTo>
                    <a:pt x="413" y="89"/>
                  </a:lnTo>
                  <a:lnTo>
                    <a:pt x="411" y="95"/>
                  </a:lnTo>
                  <a:lnTo>
                    <a:pt x="409" y="99"/>
                  </a:lnTo>
                  <a:lnTo>
                    <a:pt x="408" y="101"/>
                  </a:lnTo>
                  <a:lnTo>
                    <a:pt x="405" y="103"/>
                  </a:lnTo>
                  <a:lnTo>
                    <a:pt x="403" y="105"/>
                  </a:lnTo>
                  <a:lnTo>
                    <a:pt x="399" y="109"/>
                  </a:lnTo>
                  <a:lnTo>
                    <a:pt x="394" y="112"/>
                  </a:lnTo>
                  <a:lnTo>
                    <a:pt x="397" y="113"/>
                  </a:lnTo>
                  <a:lnTo>
                    <a:pt x="399" y="115"/>
                  </a:lnTo>
                  <a:lnTo>
                    <a:pt x="402" y="117"/>
                  </a:lnTo>
                  <a:lnTo>
                    <a:pt x="404" y="119"/>
                  </a:lnTo>
                  <a:lnTo>
                    <a:pt x="409" y="124"/>
                  </a:lnTo>
                  <a:lnTo>
                    <a:pt x="412" y="129"/>
                  </a:lnTo>
                  <a:lnTo>
                    <a:pt x="414" y="136"/>
                  </a:lnTo>
                  <a:lnTo>
                    <a:pt x="415" y="143"/>
                  </a:lnTo>
                  <a:lnTo>
                    <a:pt x="416" y="146"/>
                  </a:lnTo>
                  <a:lnTo>
                    <a:pt x="416" y="150"/>
                  </a:lnTo>
                  <a:lnTo>
                    <a:pt x="416" y="159"/>
                  </a:lnTo>
                  <a:lnTo>
                    <a:pt x="416" y="193"/>
                  </a:lnTo>
                  <a:lnTo>
                    <a:pt x="416" y="200"/>
                  </a:lnTo>
                  <a:lnTo>
                    <a:pt x="417" y="206"/>
                  </a:lnTo>
                  <a:lnTo>
                    <a:pt x="418" y="213"/>
                  </a:lnTo>
                  <a:lnTo>
                    <a:pt x="419" y="216"/>
                  </a:lnTo>
                  <a:lnTo>
                    <a:pt x="420" y="219"/>
                  </a:lnTo>
                  <a:lnTo>
                    <a:pt x="385" y="219"/>
                  </a:lnTo>
                  <a:close/>
                  <a:moveTo>
                    <a:pt x="211" y="149"/>
                  </a:moveTo>
                  <a:lnTo>
                    <a:pt x="244" y="149"/>
                  </a:lnTo>
                  <a:lnTo>
                    <a:pt x="227" y="38"/>
                  </a:lnTo>
                  <a:lnTo>
                    <a:pt x="211" y="149"/>
                  </a:lnTo>
                  <a:close/>
                  <a:moveTo>
                    <a:pt x="289" y="219"/>
                  </a:moveTo>
                  <a:lnTo>
                    <a:pt x="254" y="219"/>
                  </a:lnTo>
                  <a:lnTo>
                    <a:pt x="249" y="179"/>
                  </a:lnTo>
                  <a:lnTo>
                    <a:pt x="207" y="179"/>
                  </a:lnTo>
                  <a:lnTo>
                    <a:pt x="200" y="219"/>
                  </a:lnTo>
                  <a:lnTo>
                    <a:pt x="169" y="219"/>
                  </a:lnTo>
                  <a:lnTo>
                    <a:pt x="203" y="0"/>
                  </a:lnTo>
                  <a:lnTo>
                    <a:pt x="254" y="0"/>
                  </a:lnTo>
                  <a:lnTo>
                    <a:pt x="289" y="219"/>
                  </a:lnTo>
                  <a:close/>
                  <a:moveTo>
                    <a:pt x="73" y="156"/>
                  </a:moveTo>
                  <a:lnTo>
                    <a:pt x="97" y="0"/>
                  </a:lnTo>
                  <a:lnTo>
                    <a:pt x="145" y="0"/>
                  </a:lnTo>
                  <a:lnTo>
                    <a:pt x="145" y="219"/>
                  </a:lnTo>
                  <a:lnTo>
                    <a:pt x="113" y="219"/>
                  </a:lnTo>
                  <a:lnTo>
                    <a:pt x="113" y="62"/>
                  </a:lnTo>
                  <a:lnTo>
                    <a:pt x="88" y="219"/>
                  </a:lnTo>
                  <a:lnTo>
                    <a:pt x="55" y="219"/>
                  </a:lnTo>
                  <a:lnTo>
                    <a:pt x="30" y="64"/>
                  </a:lnTo>
                  <a:lnTo>
                    <a:pt x="30" y="219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48" y="0"/>
                  </a:lnTo>
                  <a:lnTo>
                    <a:pt x="73" y="1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836123306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C777D5-8743-43F5-A371-D1B4F9B4649D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30"/>
            <p:cNvSpPr>
              <a:spLocks noEditPoints="1"/>
            </p:cNvSpPr>
            <p:nvPr userDrawn="1"/>
          </p:nvSpPr>
          <p:spPr bwMode="auto">
            <a:xfrm>
              <a:off x="9094170" y="6475574"/>
              <a:ext cx="1502915" cy="209315"/>
            </a:xfrm>
            <a:custGeom>
              <a:avLst/>
              <a:gdLst>
                <a:gd name="T0" fmla="*/ 1559 w 1594"/>
                <a:gd name="T1" fmla="*/ 219 h 222"/>
                <a:gd name="T2" fmla="*/ 1559 w 1594"/>
                <a:gd name="T3" fmla="*/ 0 h 222"/>
                <a:gd name="T4" fmla="*/ 1418 w 1594"/>
                <a:gd name="T5" fmla="*/ 104 h 222"/>
                <a:gd name="T6" fmla="*/ 1427 w 1594"/>
                <a:gd name="T7" fmla="*/ 85 h 222"/>
                <a:gd name="T8" fmla="*/ 1421 w 1594"/>
                <a:gd name="T9" fmla="*/ 33 h 222"/>
                <a:gd name="T10" fmla="*/ 1462 w 1594"/>
                <a:gd name="T11" fmla="*/ 83 h 222"/>
                <a:gd name="T12" fmla="*/ 1455 w 1594"/>
                <a:gd name="T13" fmla="*/ 115 h 222"/>
                <a:gd name="T14" fmla="*/ 1432 w 1594"/>
                <a:gd name="T15" fmla="*/ 133 h 222"/>
                <a:gd name="T16" fmla="*/ 1394 w 1594"/>
                <a:gd name="T17" fmla="*/ 219 h 222"/>
                <a:gd name="T18" fmla="*/ 1428 w 1594"/>
                <a:gd name="T19" fmla="*/ 1 h 222"/>
                <a:gd name="T20" fmla="*/ 1451 w 1594"/>
                <a:gd name="T21" fmla="*/ 17 h 222"/>
                <a:gd name="T22" fmla="*/ 1461 w 1594"/>
                <a:gd name="T23" fmla="*/ 48 h 222"/>
                <a:gd name="T24" fmla="*/ 1290 w 1594"/>
                <a:gd name="T25" fmla="*/ 104 h 222"/>
                <a:gd name="T26" fmla="*/ 1300 w 1594"/>
                <a:gd name="T27" fmla="*/ 85 h 222"/>
                <a:gd name="T28" fmla="*/ 1293 w 1594"/>
                <a:gd name="T29" fmla="*/ 33 h 222"/>
                <a:gd name="T30" fmla="*/ 1334 w 1594"/>
                <a:gd name="T31" fmla="*/ 83 h 222"/>
                <a:gd name="T32" fmla="*/ 1327 w 1594"/>
                <a:gd name="T33" fmla="*/ 115 h 222"/>
                <a:gd name="T34" fmla="*/ 1305 w 1594"/>
                <a:gd name="T35" fmla="*/ 133 h 222"/>
                <a:gd name="T36" fmla="*/ 1266 w 1594"/>
                <a:gd name="T37" fmla="*/ 219 h 222"/>
                <a:gd name="T38" fmla="*/ 1300 w 1594"/>
                <a:gd name="T39" fmla="*/ 1 h 222"/>
                <a:gd name="T40" fmla="*/ 1324 w 1594"/>
                <a:gd name="T41" fmla="*/ 17 h 222"/>
                <a:gd name="T42" fmla="*/ 1334 w 1594"/>
                <a:gd name="T43" fmla="*/ 48 h 222"/>
                <a:gd name="T44" fmla="*/ 1134 w 1594"/>
                <a:gd name="T45" fmla="*/ 181 h 222"/>
                <a:gd name="T46" fmla="*/ 1150 w 1594"/>
                <a:gd name="T47" fmla="*/ 191 h 222"/>
                <a:gd name="T48" fmla="*/ 1167 w 1594"/>
                <a:gd name="T49" fmla="*/ 179 h 222"/>
                <a:gd name="T50" fmla="*/ 1201 w 1594"/>
                <a:gd name="T51" fmla="*/ 173 h 222"/>
                <a:gd name="T52" fmla="*/ 1191 w 1594"/>
                <a:gd name="T53" fmla="*/ 203 h 222"/>
                <a:gd name="T54" fmla="*/ 1171 w 1594"/>
                <a:gd name="T55" fmla="*/ 218 h 222"/>
                <a:gd name="T56" fmla="*/ 1137 w 1594"/>
                <a:gd name="T57" fmla="*/ 221 h 222"/>
                <a:gd name="T58" fmla="*/ 1111 w 1594"/>
                <a:gd name="T59" fmla="*/ 208 h 222"/>
                <a:gd name="T60" fmla="*/ 1099 w 1594"/>
                <a:gd name="T61" fmla="*/ 179 h 222"/>
                <a:gd name="T62" fmla="*/ 1030 w 1594"/>
                <a:gd name="T63" fmla="*/ 149 h 222"/>
                <a:gd name="T64" fmla="*/ 992 w 1594"/>
                <a:gd name="T65" fmla="*/ 179 h 222"/>
                <a:gd name="T66" fmla="*/ 872 w 1594"/>
                <a:gd name="T67" fmla="*/ 131 h 222"/>
                <a:gd name="T68" fmla="*/ 861 w 1594"/>
                <a:gd name="T69" fmla="*/ 95 h 222"/>
                <a:gd name="T70" fmla="*/ 872 w 1594"/>
                <a:gd name="T71" fmla="*/ 131 h 222"/>
                <a:gd name="T72" fmla="*/ 733 w 1594"/>
                <a:gd name="T73" fmla="*/ 219 h 222"/>
                <a:gd name="T74" fmla="*/ 666 w 1594"/>
                <a:gd name="T75" fmla="*/ 124 h 222"/>
                <a:gd name="T76" fmla="*/ 584 w 1594"/>
                <a:gd name="T77" fmla="*/ 0 h 222"/>
                <a:gd name="T78" fmla="*/ 482 w 1594"/>
                <a:gd name="T79" fmla="*/ 151 h 222"/>
                <a:gd name="T80" fmla="*/ 526 w 1594"/>
                <a:gd name="T81" fmla="*/ 0 h 222"/>
                <a:gd name="T82" fmla="*/ 347 w 1594"/>
                <a:gd name="T83" fmla="*/ 31 h 222"/>
                <a:gd name="T84" fmla="*/ 375 w 1594"/>
                <a:gd name="T85" fmla="*/ 94 h 222"/>
                <a:gd name="T86" fmla="*/ 381 w 1594"/>
                <a:gd name="T87" fmla="*/ 53 h 222"/>
                <a:gd name="T88" fmla="*/ 374 w 1594"/>
                <a:gd name="T89" fmla="*/ 33 h 222"/>
                <a:gd name="T90" fmla="*/ 384 w 1594"/>
                <a:gd name="T91" fmla="*/ 215 h 222"/>
                <a:gd name="T92" fmla="*/ 381 w 1594"/>
                <a:gd name="T93" fmla="*/ 145 h 222"/>
                <a:gd name="T94" fmla="*/ 365 w 1594"/>
                <a:gd name="T95" fmla="*/ 130 h 222"/>
                <a:gd name="T96" fmla="*/ 365 w 1594"/>
                <a:gd name="T97" fmla="*/ 0 h 222"/>
                <a:gd name="T98" fmla="*/ 397 w 1594"/>
                <a:gd name="T99" fmla="*/ 7 h 222"/>
                <a:gd name="T100" fmla="*/ 413 w 1594"/>
                <a:gd name="T101" fmla="*/ 28 h 222"/>
                <a:gd name="T102" fmla="*/ 416 w 1594"/>
                <a:gd name="T103" fmla="*/ 75 h 222"/>
                <a:gd name="T104" fmla="*/ 405 w 1594"/>
                <a:gd name="T105" fmla="*/ 103 h 222"/>
                <a:gd name="T106" fmla="*/ 402 w 1594"/>
                <a:gd name="T107" fmla="*/ 117 h 222"/>
                <a:gd name="T108" fmla="*/ 416 w 1594"/>
                <a:gd name="T109" fmla="*/ 146 h 222"/>
                <a:gd name="T110" fmla="*/ 418 w 1594"/>
                <a:gd name="T111" fmla="*/ 213 h 222"/>
                <a:gd name="T112" fmla="*/ 227 w 1594"/>
                <a:gd name="T113" fmla="*/ 38 h 222"/>
                <a:gd name="T114" fmla="*/ 200 w 1594"/>
                <a:gd name="T115" fmla="*/ 219 h 222"/>
                <a:gd name="T116" fmla="*/ 97 w 1594"/>
                <a:gd name="T117" fmla="*/ 0 h 222"/>
                <a:gd name="T118" fmla="*/ 55 w 1594"/>
                <a:gd name="T119" fmla="*/ 219 h 222"/>
                <a:gd name="T120" fmla="*/ 73 w 1594"/>
                <a:gd name="T121" fmla="*/ 15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94" h="222">
                  <a:moveTo>
                    <a:pt x="1516" y="149"/>
                  </a:moveTo>
                  <a:lnTo>
                    <a:pt x="1549" y="149"/>
                  </a:lnTo>
                  <a:lnTo>
                    <a:pt x="1533" y="38"/>
                  </a:lnTo>
                  <a:lnTo>
                    <a:pt x="1516" y="149"/>
                  </a:lnTo>
                  <a:close/>
                  <a:moveTo>
                    <a:pt x="1594" y="219"/>
                  </a:moveTo>
                  <a:lnTo>
                    <a:pt x="1559" y="219"/>
                  </a:lnTo>
                  <a:lnTo>
                    <a:pt x="1554" y="179"/>
                  </a:lnTo>
                  <a:lnTo>
                    <a:pt x="1512" y="179"/>
                  </a:lnTo>
                  <a:lnTo>
                    <a:pt x="1505" y="219"/>
                  </a:lnTo>
                  <a:lnTo>
                    <a:pt x="1474" y="219"/>
                  </a:lnTo>
                  <a:lnTo>
                    <a:pt x="1508" y="0"/>
                  </a:lnTo>
                  <a:lnTo>
                    <a:pt x="1559" y="0"/>
                  </a:lnTo>
                  <a:lnTo>
                    <a:pt x="1594" y="219"/>
                  </a:lnTo>
                  <a:close/>
                  <a:moveTo>
                    <a:pt x="1394" y="31"/>
                  </a:moveTo>
                  <a:lnTo>
                    <a:pt x="1394" y="105"/>
                  </a:lnTo>
                  <a:lnTo>
                    <a:pt x="1410" y="105"/>
                  </a:lnTo>
                  <a:lnTo>
                    <a:pt x="1414" y="105"/>
                  </a:lnTo>
                  <a:lnTo>
                    <a:pt x="1418" y="104"/>
                  </a:lnTo>
                  <a:lnTo>
                    <a:pt x="1421" y="103"/>
                  </a:lnTo>
                  <a:lnTo>
                    <a:pt x="1423" y="101"/>
                  </a:lnTo>
                  <a:lnTo>
                    <a:pt x="1425" y="99"/>
                  </a:lnTo>
                  <a:lnTo>
                    <a:pt x="1426" y="94"/>
                  </a:lnTo>
                  <a:lnTo>
                    <a:pt x="1427" y="90"/>
                  </a:lnTo>
                  <a:lnTo>
                    <a:pt x="1427" y="85"/>
                  </a:lnTo>
                  <a:lnTo>
                    <a:pt x="1427" y="52"/>
                  </a:lnTo>
                  <a:lnTo>
                    <a:pt x="1427" y="47"/>
                  </a:lnTo>
                  <a:lnTo>
                    <a:pt x="1426" y="41"/>
                  </a:lnTo>
                  <a:lnTo>
                    <a:pt x="1425" y="38"/>
                  </a:lnTo>
                  <a:lnTo>
                    <a:pt x="1423" y="35"/>
                  </a:lnTo>
                  <a:lnTo>
                    <a:pt x="1421" y="33"/>
                  </a:lnTo>
                  <a:lnTo>
                    <a:pt x="1418" y="32"/>
                  </a:lnTo>
                  <a:lnTo>
                    <a:pt x="1414" y="31"/>
                  </a:lnTo>
                  <a:lnTo>
                    <a:pt x="1410" y="31"/>
                  </a:lnTo>
                  <a:lnTo>
                    <a:pt x="1394" y="31"/>
                  </a:lnTo>
                  <a:close/>
                  <a:moveTo>
                    <a:pt x="1462" y="54"/>
                  </a:moveTo>
                  <a:lnTo>
                    <a:pt x="1462" y="83"/>
                  </a:lnTo>
                  <a:lnTo>
                    <a:pt x="1461" y="89"/>
                  </a:lnTo>
                  <a:lnTo>
                    <a:pt x="1461" y="94"/>
                  </a:lnTo>
                  <a:lnTo>
                    <a:pt x="1460" y="101"/>
                  </a:lnTo>
                  <a:lnTo>
                    <a:pt x="1459" y="106"/>
                  </a:lnTo>
                  <a:lnTo>
                    <a:pt x="1457" y="110"/>
                  </a:lnTo>
                  <a:lnTo>
                    <a:pt x="1455" y="115"/>
                  </a:lnTo>
                  <a:lnTo>
                    <a:pt x="1451" y="119"/>
                  </a:lnTo>
                  <a:lnTo>
                    <a:pt x="1449" y="123"/>
                  </a:lnTo>
                  <a:lnTo>
                    <a:pt x="1445" y="126"/>
                  </a:lnTo>
                  <a:lnTo>
                    <a:pt x="1442" y="129"/>
                  </a:lnTo>
                  <a:lnTo>
                    <a:pt x="1438" y="131"/>
                  </a:lnTo>
                  <a:lnTo>
                    <a:pt x="1432" y="133"/>
                  </a:lnTo>
                  <a:lnTo>
                    <a:pt x="1428" y="135"/>
                  </a:lnTo>
                  <a:lnTo>
                    <a:pt x="1423" y="136"/>
                  </a:lnTo>
                  <a:lnTo>
                    <a:pt x="1416" y="137"/>
                  </a:lnTo>
                  <a:lnTo>
                    <a:pt x="1410" y="137"/>
                  </a:lnTo>
                  <a:lnTo>
                    <a:pt x="1394" y="137"/>
                  </a:lnTo>
                  <a:lnTo>
                    <a:pt x="1394" y="219"/>
                  </a:lnTo>
                  <a:lnTo>
                    <a:pt x="1359" y="219"/>
                  </a:lnTo>
                  <a:lnTo>
                    <a:pt x="1359" y="0"/>
                  </a:lnTo>
                  <a:lnTo>
                    <a:pt x="1410" y="0"/>
                  </a:lnTo>
                  <a:lnTo>
                    <a:pt x="1416" y="0"/>
                  </a:lnTo>
                  <a:lnTo>
                    <a:pt x="1423" y="0"/>
                  </a:lnTo>
                  <a:lnTo>
                    <a:pt x="1428" y="1"/>
                  </a:lnTo>
                  <a:lnTo>
                    <a:pt x="1432" y="3"/>
                  </a:lnTo>
                  <a:lnTo>
                    <a:pt x="1438" y="6"/>
                  </a:lnTo>
                  <a:lnTo>
                    <a:pt x="1442" y="8"/>
                  </a:lnTo>
                  <a:lnTo>
                    <a:pt x="1445" y="11"/>
                  </a:lnTo>
                  <a:lnTo>
                    <a:pt x="1449" y="14"/>
                  </a:lnTo>
                  <a:lnTo>
                    <a:pt x="1451" y="17"/>
                  </a:lnTo>
                  <a:lnTo>
                    <a:pt x="1455" y="21"/>
                  </a:lnTo>
                  <a:lnTo>
                    <a:pt x="1457" y="26"/>
                  </a:lnTo>
                  <a:lnTo>
                    <a:pt x="1459" y="31"/>
                  </a:lnTo>
                  <a:lnTo>
                    <a:pt x="1460" y="36"/>
                  </a:lnTo>
                  <a:lnTo>
                    <a:pt x="1461" y="41"/>
                  </a:lnTo>
                  <a:lnTo>
                    <a:pt x="1461" y="48"/>
                  </a:lnTo>
                  <a:lnTo>
                    <a:pt x="1462" y="54"/>
                  </a:lnTo>
                  <a:close/>
                  <a:moveTo>
                    <a:pt x="1266" y="31"/>
                  </a:moveTo>
                  <a:lnTo>
                    <a:pt x="1266" y="105"/>
                  </a:lnTo>
                  <a:lnTo>
                    <a:pt x="1283" y="105"/>
                  </a:lnTo>
                  <a:lnTo>
                    <a:pt x="1286" y="105"/>
                  </a:lnTo>
                  <a:lnTo>
                    <a:pt x="1290" y="104"/>
                  </a:lnTo>
                  <a:lnTo>
                    <a:pt x="1293" y="103"/>
                  </a:lnTo>
                  <a:lnTo>
                    <a:pt x="1295" y="101"/>
                  </a:lnTo>
                  <a:lnTo>
                    <a:pt x="1297" y="99"/>
                  </a:lnTo>
                  <a:lnTo>
                    <a:pt x="1298" y="94"/>
                  </a:lnTo>
                  <a:lnTo>
                    <a:pt x="1299" y="90"/>
                  </a:lnTo>
                  <a:lnTo>
                    <a:pt x="1300" y="85"/>
                  </a:lnTo>
                  <a:lnTo>
                    <a:pt x="1300" y="52"/>
                  </a:lnTo>
                  <a:lnTo>
                    <a:pt x="1299" y="47"/>
                  </a:lnTo>
                  <a:lnTo>
                    <a:pt x="1298" y="41"/>
                  </a:lnTo>
                  <a:lnTo>
                    <a:pt x="1297" y="38"/>
                  </a:lnTo>
                  <a:lnTo>
                    <a:pt x="1295" y="35"/>
                  </a:lnTo>
                  <a:lnTo>
                    <a:pt x="1293" y="33"/>
                  </a:lnTo>
                  <a:lnTo>
                    <a:pt x="1290" y="32"/>
                  </a:lnTo>
                  <a:lnTo>
                    <a:pt x="1286" y="31"/>
                  </a:lnTo>
                  <a:lnTo>
                    <a:pt x="1283" y="31"/>
                  </a:lnTo>
                  <a:lnTo>
                    <a:pt x="1266" y="31"/>
                  </a:lnTo>
                  <a:close/>
                  <a:moveTo>
                    <a:pt x="1334" y="54"/>
                  </a:moveTo>
                  <a:lnTo>
                    <a:pt x="1334" y="83"/>
                  </a:lnTo>
                  <a:lnTo>
                    <a:pt x="1334" y="89"/>
                  </a:lnTo>
                  <a:lnTo>
                    <a:pt x="1333" y="94"/>
                  </a:lnTo>
                  <a:lnTo>
                    <a:pt x="1332" y="101"/>
                  </a:lnTo>
                  <a:lnTo>
                    <a:pt x="1331" y="106"/>
                  </a:lnTo>
                  <a:lnTo>
                    <a:pt x="1329" y="110"/>
                  </a:lnTo>
                  <a:lnTo>
                    <a:pt x="1327" y="115"/>
                  </a:lnTo>
                  <a:lnTo>
                    <a:pt x="1324" y="119"/>
                  </a:lnTo>
                  <a:lnTo>
                    <a:pt x="1321" y="123"/>
                  </a:lnTo>
                  <a:lnTo>
                    <a:pt x="1318" y="126"/>
                  </a:lnTo>
                  <a:lnTo>
                    <a:pt x="1314" y="129"/>
                  </a:lnTo>
                  <a:lnTo>
                    <a:pt x="1310" y="131"/>
                  </a:lnTo>
                  <a:lnTo>
                    <a:pt x="1305" y="133"/>
                  </a:lnTo>
                  <a:lnTo>
                    <a:pt x="1300" y="135"/>
                  </a:lnTo>
                  <a:lnTo>
                    <a:pt x="1295" y="136"/>
                  </a:lnTo>
                  <a:lnTo>
                    <a:pt x="1289" y="137"/>
                  </a:lnTo>
                  <a:lnTo>
                    <a:pt x="1283" y="137"/>
                  </a:lnTo>
                  <a:lnTo>
                    <a:pt x="1266" y="137"/>
                  </a:lnTo>
                  <a:lnTo>
                    <a:pt x="1266" y="219"/>
                  </a:lnTo>
                  <a:lnTo>
                    <a:pt x="1232" y="219"/>
                  </a:lnTo>
                  <a:lnTo>
                    <a:pt x="1232" y="0"/>
                  </a:lnTo>
                  <a:lnTo>
                    <a:pt x="1283" y="0"/>
                  </a:lnTo>
                  <a:lnTo>
                    <a:pt x="1289" y="0"/>
                  </a:lnTo>
                  <a:lnTo>
                    <a:pt x="1295" y="0"/>
                  </a:lnTo>
                  <a:lnTo>
                    <a:pt x="1300" y="1"/>
                  </a:lnTo>
                  <a:lnTo>
                    <a:pt x="1305" y="3"/>
                  </a:lnTo>
                  <a:lnTo>
                    <a:pt x="1310" y="6"/>
                  </a:lnTo>
                  <a:lnTo>
                    <a:pt x="1314" y="8"/>
                  </a:lnTo>
                  <a:lnTo>
                    <a:pt x="1318" y="11"/>
                  </a:lnTo>
                  <a:lnTo>
                    <a:pt x="1321" y="14"/>
                  </a:lnTo>
                  <a:lnTo>
                    <a:pt x="1324" y="17"/>
                  </a:lnTo>
                  <a:lnTo>
                    <a:pt x="1327" y="21"/>
                  </a:lnTo>
                  <a:lnTo>
                    <a:pt x="1329" y="26"/>
                  </a:lnTo>
                  <a:lnTo>
                    <a:pt x="1331" y="31"/>
                  </a:lnTo>
                  <a:lnTo>
                    <a:pt x="1332" y="36"/>
                  </a:lnTo>
                  <a:lnTo>
                    <a:pt x="1333" y="41"/>
                  </a:lnTo>
                  <a:lnTo>
                    <a:pt x="1334" y="48"/>
                  </a:lnTo>
                  <a:lnTo>
                    <a:pt x="1334" y="54"/>
                  </a:lnTo>
                  <a:close/>
                  <a:moveTo>
                    <a:pt x="1132" y="0"/>
                  </a:moveTo>
                  <a:lnTo>
                    <a:pt x="1132" y="169"/>
                  </a:lnTo>
                  <a:lnTo>
                    <a:pt x="1133" y="175"/>
                  </a:lnTo>
                  <a:lnTo>
                    <a:pt x="1134" y="179"/>
                  </a:lnTo>
                  <a:lnTo>
                    <a:pt x="1134" y="181"/>
                  </a:lnTo>
                  <a:lnTo>
                    <a:pt x="1135" y="182"/>
                  </a:lnTo>
                  <a:lnTo>
                    <a:pt x="1137" y="185"/>
                  </a:lnTo>
                  <a:lnTo>
                    <a:pt x="1139" y="187"/>
                  </a:lnTo>
                  <a:lnTo>
                    <a:pt x="1143" y="190"/>
                  </a:lnTo>
                  <a:lnTo>
                    <a:pt x="1147" y="190"/>
                  </a:lnTo>
                  <a:lnTo>
                    <a:pt x="1150" y="191"/>
                  </a:lnTo>
                  <a:lnTo>
                    <a:pt x="1154" y="190"/>
                  </a:lnTo>
                  <a:lnTo>
                    <a:pt x="1157" y="190"/>
                  </a:lnTo>
                  <a:lnTo>
                    <a:pt x="1161" y="187"/>
                  </a:lnTo>
                  <a:lnTo>
                    <a:pt x="1164" y="185"/>
                  </a:lnTo>
                  <a:lnTo>
                    <a:pt x="1166" y="182"/>
                  </a:lnTo>
                  <a:lnTo>
                    <a:pt x="1167" y="179"/>
                  </a:lnTo>
                  <a:lnTo>
                    <a:pt x="1168" y="175"/>
                  </a:lnTo>
                  <a:lnTo>
                    <a:pt x="1168" y="169"/>
                  </a:lnTo>
                  <a:lnTo>
                    <a:pt x="1168" y="0"/>
                  </a:lnTo>
                  <a:lnTo>
                    <a:pt x="1201" y="0"/>
                  </a:lnTo>
                  <a:lnTo>
                    <a:pt x="1201" y="166"/>
                  </a:lnTo>
                  <a:lnTo>
                    <a:pt x="1201" y="173"/>
                  </a:lnTo>
                  <a:lnTo>
                    <a:pt x="1200" y="179"/>
                  </a:lnTo>
                  <a:lnTo>
                    <a:pt x="1199" y="185"/>
                  </a:lnTo>
                  <a:lnTo>
                    <a:pt x="1198" y="191"/>
                  </a:lnTo>
                  <a:lnTo>
                    <a:pt x="1195" y="195"/>
                  </a:lnTo>
                  <a:lnTo>
                    <a:pt x="1193" y="200"/>
                  </a:lnTo>
                  <a:lnTo>
                    <a:pt x="1191" y="203"/>
                  </a:lnTo>
                  <a:lnTo>
                    <a:pt x="1188" y="208"/>
                  </a:lnTo>
                  <a:lnTo>
                    <a:pt x="1184" y="211"/>
                  </a:lnTo>
                  <a:lnTo>
                    <a:pt x="1181" y="214"/>
                  </a:lnTo>
                  <a:lnTo>
                    <a:pt x="1179" y="215"/>
                  </a:lnTo>
                  <a:lnTo>
                    <a:pt x="1176" y="216"/>
                  </a:lnTo>
                  <a:lnTo>
                    <a:pt x="1171" y="218"/>
                  </a:lnTo>
                  <a:lnTo>
                    <a:pt x="1167" y="220"/>
                  </a:lnTo>
                  <a:lnTo>
                    <a:pt x="1162" y="221"/>
                  </a:lnTo>
                  <a:lnTo>
                    <a:pt x="1155" y="221"/>
                  </a:lnTo>
                  <a:lnTo>
                    <a:pt x="1149" y="222"/>
                  </a:lnTo>
                  <a:lnTo>
                    <a:pt x="1144" y="221"/>
                  </a:lnTo>
                  <a:lnTo>
                    <a:pt x="1137" y="221"/>
                  </a:lnTo>
                  <a:lnTo>
                    <a:pt x="1132" y="220"/>
                  </a:lnTo>
                  <a:lnTo>
                    <a:pt x="1127" y="218"/>
                  </a:lnTo>
                  <a:lnTo>
                    <a:pt x="1122" y="216"/>
                  </a:lnTo>
                  <a:lnTo>
                    <a:pt x="1118" y="214"/>
                  </a:lnTo>
                  <a:lnTo>
                    <a:pt x="1114" y="211"/>
                  </a:lnTo>
                  <a:lnTo>
                    <a:pt x="1111" y="208"/>
                  </a:lnTo>
                  <a:lnTo>
                    <a:pt x="1108" y="203"/>
                  </a:lnTo>
                  <a:lnTo>
                    <a:pt x="1106" y="200"/>
                  </a:lnTo>
                  <a:lnTo>
                    <a:pt x="1103" y="195"/>
                  </a:lnTo>
                  <a:lnTo>
                    <a:pt x="1101" y="191"/>
                  </a:lnTo>
                  <a:lnTo>
                    <a:pt x="1100" y="185"/>
                  </a:lnTo>
                  <a:lnTo>
                    <a:pt x="1099" y="179"/>
                  </a:lnTo>
                  <a:lnTo>
                    <a:pt x="1098" y="173"/>
                  </a:lnTo>
                  <a:lnTo>
                    <a:pt x="1098" y="166"/>
                  </a:lnTo>
                  <a:lnTo>
                    <a:pt x="1098" y="0"/>
                  </a:lnTo>
                  <a:lnTo>
                    <a:pt x="1132" y="0"/>
                  </a:lnTo>
                  <a:close/>
                  <a:moveTo>
                    <a:pt x="997" y="149"/>
                  </a:moveTo>
                  <a:lnTo>
                    <a:pt x="1030" y="149"/>
                  </a:lnTo>
                  <a:lnTo>
                    <a:pt x="1014" y="38"/>
                  </a:lnTo>
                  <a:lnTo>
                    <a:pt x="997" y="149"/>
                  </a:lnTo>
                  <a:close/>
                  <a:moveTo>
                    <a:pt x="1076" y="219"/>
                  </a:moveTo>
                  <a:lnTo>
                    <a:pt x="1041" y="219"/>
                  </a:lnTo>
                  <a:lnTo>
                    <a:pt x="1035" y="179"/>
                  </a:lnTo>
                  <a:lnTo>
                    <a:pt x="992" y="179"/>
                  </a:lnTo>
                  <a:lnTo>
                    <a:pt x="987" y="219"/>
                  </a:lnTo>
                  <a:lnTo>
                    <a:pt x="955" y="219"/>
                  </a:lnTo>
                  <a:lnTo>
                    <a:pt x="990" y="0"/>
                  </a:lnTo>
                  <a:lnTo>
                    <a:pt x="1041" y="0"/>
                  </a:lnTo>
                  <a:lnTo>
                    <a:pt x="1076" y="219"/>
                  </a:lnTo>
                  <a:close/>
                  <a:moveTo>
                    <a:pt x="872" y="131"/>
                  </a:moveTo>
                  <a:lnTo>
                    <a:pt x="861" y="151"/>
                  </a:lnTo>
                  <a:lnTo>
                    <a:pt x="861" y="219"/>
                  </a:lnTo>
                  <a:lnTo>
                    <a:pt x="826" y="219"/>
                  </a:lnTo>
                  <a:lnTo>
                    <a:pt x="826" y="0"/>
                  </a:lnTo>
                  <a:lnTo>
                    <a:pt x="861" y="0"/>
                  </a:lnTo>
                  <a:lnTo>
                    <a:pt x="861" y="95"/>
                  </a:lnTo>
                  <a:lnTo>
                    <a:pt x="907" y="0"/>
                  </a:lnTo>
                  <a:lnTo>
                    <a:pt x="941" y="0"/>
                  </a:lnTo>
                  <a:lnTo>
                    <a:pt x="893" y="98"/>
                  </a:lnTo>
                  <a:lnTo>
                    <a:pt x="941" y="219"/>
                  </a:lnTo>
                  <a:lnTo>
                    <a:pt x="906" y="219"/>
                  </a:lnTo>
                  <a:lnTo>
                    <a:pt x="872" y="131"/>
                  </a:lnTo>
                  <a:close/>
                  <a:moveTo>
                    <a:pt x="697" y="0"/>
                  </a:moveTo>
                  <a:lnTo>
                    <a:pt x="804" y="0"/>
                  </a:lnTo>
                  <a:lnTo>
                    <a:pt x="804" y="31"/>
                  </a:lnTo>
                  <a:lnTo>
                    <a:pt x="768" y="31"/>
                  </a:lnTo>
                  <a:lnTo>
                    <a:pt x="768" y="219"/>
                  </a:lnTo>
                  <a:lnTo>
                    <a:pt x="733" y="219"/>
                  </a:lnTo>
                  <a:lnTo>
                    <a:pt x="733" y="31"/>
                  </a:lnTo>
                  <a:lnTo>
                    <a:pt x="697" y="31"/>
                  </a:lnTo>
                  <a:lnTo>
                    <a:pt x="697" y="0"/>
                  </a:lnTo>
                  <a:close/>
                  <a:moveTo>
                    <a:pt x="619" y="92"/>
                  </a:moveTo>
                  <a:lnTo>
                    <a:pt x="666" y="92"/>
                  </a:lnTo>
                  <a:lnTo>
                    <a:pt x="666" y="124"/>
                  </a:lnTo>
                  <a:lnTo>
                    <a:pt x="619" y="124"/>
                  </a:lnTo>
                  <a:lnTo>
                    <a:pt x="619" y="187"/>
                  </a:lnTo>
                  <a:lnTo>
                    <a:pt x="678" y="187"/>
                  </a:lnTo>
                  <a:lnTo>
                    <a:pt x="678" y="219"/>
                  </a:lnTo>
                  <a:lnTo>
                    <a:pt x="584" y="219"/>
                  </a:lnTo>
                  <a:lnTo>
                    <a:pt x="584" y="0"/>
                  </a:lnTo>
                  <a:lnTo>
                    <a:pt x="678" y="0"/>
                  </a:lnTo>
                  <a:lnTo>
                    <a:pt x="678" y="31"/>
                  </a:lnTo>
                  <a:lnTo>
                    <a:pt x="619" y="31"/>
                  </a:lnTo>
                  <a:lnTo>
                    <a:pt x="619" y="92"/>
                  </a:lnTo>
                  <a:close/>
                  <a:moveTo>
                    <a:pt x="492" y="131"/>
                  </a:moveTo>
                  <a:lnTo>
                    <a:pt x="482" y="151"/>
                  </a:lnTo>
                  <a:lnTo>
                    <a:pt x="482" y="219"/>
                  </a:lnTo>
                  <a:lnTo>
                    <a:pt x="447" y="219"/>
                  </a:lnTo>
                  <a:lnTo>
                    <a:pt x="447" y="0"/>
                  </a:lnTo>
                  <a:lnTo>
                    <a:pt x="482" y="0"/>
                  </a:lnTo>
                  <a:lnTo>
                    <a:pt x="482" y="95"/>
                  </a:lnTo>
                  <a:lnTo>
                    <a:pt x="526" y="0"/>
                  </a:lnTo>
                  <a:lnTo>
                    <a:pt x="561" y="0"/>
                  </a:lnTo>
                  <a:lnTo>
                    <a:pt x="513" y="98"/>
                  </a:lnTo>
                  <a:lnTo>
                    <a:pt x="561" y="219"/>
                  </a:lnTo>
                  <a:lnTo>
                    <a:pt x="525" y="219"/>
                  </a:lnTo>
                  <a:lnTo>
                    <a:pt x="492" y="131"/>
                  </a:lnTo>
                  <a:close/>
                  <a:moveTo>
                    <a:pt x="347" y="31"/>
                  </a:moveTo>
                  <a:lnTo>
                    <a:pt x="347" y="99"/>
                  </a:lnTo>
                  <a:lnTo>
                    <a:pt x="361" y="99"/>
                  </a:lnTo>
                  <a:lnTo>
                    <a:pt x="365" y="99"/>
                  </a:lnTo>
                  <a:lnTo>
                    <a:pt x="370" y="98"/>
                  </a:lnTo>
                  <a:lnTo>
                    <a:pt x="373" y="95"/>
                  </a:lnTo>
                  <a:lnTo>
                    <a:pt x="375" y="94"/>
                  </a:lnTo>
                  <a:lnTo>
                    <a:pt x="376" y="93"/>
                  </a:lnTo>
                  <a:lnTo>
                    <a:pt x="378" y="90"/>
                  </a:lnTo>
                  <a:lnTo>
                    <a:pt x="380" y="86"/>
                  </a:lnTo>
                  <a:lnTo>
                    <a:pt x="381" y="82"/>
                  </a:lnTo>
                  <a:lnTo>
                    <a:pt x="381" y="75"/>
                  </a:lnTo>
                  <a:lnTo>
                    <a:pt x="381" y="53"/>
                  </a:lnTo>
                  <a:lnTo>
                    <a:pt x="381" y="48"/>
                  </a:lnTo>
                  <a:lnTo>
                    <a:pt x="381" y="44"/>
                  </a:lnTo>
                  <a:lnTo>
                    <a:pt x="379" y="39"/>
                  </a:lnTo>
                  <a:lnTo>
                    <a:pt x="378" y="36"/>
                  </a:lnTo>
                  <a:lnTo>
                    <a:pt x="375" y="34"/>
                  </a:lnTo>
                  <a:lnTo>
                    <a:pt x="374" y="33"/>
                  </a:lnTo>
                  <a:lnTo>
                    <a:pt x="372" y="32"/>
                  </a:lnTo>
                  <a:lnTo>
                    <a:pt x="368" y="31"/>
                  </a:lnTo>
                  <a:lnTo>
                    <a:pt x="364" y="31"/>
                  </a:lnTo>
                  <a:lnTo>
                    <a:pt x="347" y="31"/>
                  </a:lnTo>
                  <a:close/>
                  <a:moveTo>
                    <a:pt x="385" y="219"/>
                  </a:moveTo>
                  <a:lnTo>
                    <a:pt x="384" y="215"/>
                  </a:lnTo>
                  <a:lnTo>
                    <a:pt x="383" y="211"/>
                  </a:lnTo>
                  <a:lnTo>
                    <a:pt x="382" y="203"/>
                  </a:lnTo>
                  <a:lnTo>
                    <a:pt x="382" y="192"/>
                  </a:lnTo>
                  <a:lnTo>
                    <a:pt x="382" y="158"/>
                  </a:lnTo>
                  <a:lnTo>
                    <a:pt x="381" y="150"/>
                  </a:lnTo>
                  <a:lnTo>
                    <a:pt x="381" y="145"/>
                  </a:lnTo>
                  <a:lnTo>
                    <a:pt x="379" y="140"/>
                  </a:lnTo>
                  <a:lnTo>
                    <a:pt x="377" y="136"/>
                  </a:lnTo>
                  <a:lnTo>
                    <a:pt x="375" y="135"/>
                  </a:lnTo>
                  <a:lnTo>
                    <a:pt x="374" y="133"/>
                  </a:lnTo>
                  <a:lnTo>
                    <a:pt x="370" y="131"/>
                  </a:lnTo>
                  <a:lnTo>
                    <a:pt x="365" y="130"/>
                  </a:lnTo>
                  <a:lnTo>
                    <a:pt x="359" y="129"/>
                  </a:lnTo>
                  <a:lnTo>
                    <a:pt x="347" y="129"/>
                  </a:lnTo>
                  <a:lnTo>
                    <a:pt x="347" y="219"/>
                  </a:lnTo>
                  <a:lnTo>
                    <a:pt x="313" y="219"/>
                  </a:lnTo>
                  <a:lnTo>
                    <a:pt x="313" y="0"/>
                  </a:lnTo>
                  <a:lnTo>
                    <a:pt x="365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83" y="1"/>
                  </a:lnTo>
                  <a:lnTo>
                    <a:pt x="389" y="2"/>
                  </a:lnTo>
                  <a:lnTo>
                    <a:pt x="393" y="4"/>
                  </a:lnTo>
                  <a:lnTo>
                    <a:pt x="397" y="7"/>
                  </a:lnTo>
                  <a:lnTo>
                    <a:pt x="400" y="10"/>
                  </a:lnTo>
                  <a:lnTo>
                    <a:pt x="404" y="12"/>
                  </a:lnTo>
                  <a:lnTo>
                    <a:pt x="407" y="16"/>
                  </a:lnTo>
                  <a:lnTo>
                    <a:pt x="410" y="19"/>
                  </a:lnTo>
                  <a:lnTo>
                    <a:pt x="412" y="23"/>
                  </a:lnTo>
                  <a:lnTo>
                    <a:pt x="413" y="28"/>
                  </a:lnTo>
                  <a:lnTo>
                    <a:pt x="414" y="33"/>
                  </a:lnTo>
                  <a:lnTo>
                    <a:pt x="415" y="38"/>
                  </a:lnTo>
                  <a:lnTo>
                    <a:pt x="416" y="44"/>
                  </a:lnTo>
                  <a:lnTo>
                    <a:pt x="416" y="50"/>
                  </a:lnTo>
                  <a:lnTo>
                    <a:pt x="416" y="68"/>
                  </a:lnTo>
                  <a:lnTo>
                    <a:pt x="416" y="75"/>
                  </a:lnTo>
                  <a:lnTo>
                    <a:pt x="415" y="83"/>
                  </a:lnTo>
                  <a:lnTo>
                    <a:pt x="413" y="89"/>
                  </a:lnTo>
                  <a:lnTo>
                    <a:pt x="411" y="95"/>
                  </a:lnTo>
                  <a:lnTo>
                    <a:pt x="409" y="99"/>
                  </a:lnTo>
                  <a:lnTo>
                    <a:pt x="408" y="101"/>
                  </a:lnTo>
                  <a:lnTo>
                    <a:pt x="405" y="103"/>
                  </a:lnTo>
                  <a:lnTo>
                    <a:pt x="403" y="105"/>
                  </a:lnTo>
                  <a:lnTo>
                    <a:pt x="399" y="109"/>
                  </a:lnTo>
                  <a:lnTo>
                    <a:pt x="394" y="112"/>
                  </a:lnTo>
                  <a:lnTo>
                    <a:pt x="397" y="113"/>
                  </a:lnTo>
                  <a:lnTo>
                    <a:pt x="399" y="115"/>
                  </a:lnTo>
                  <a:lnTo>
                    <a:pt x="402" y="117"/>
                  </a:lnTo>
                  <a:lnTo>
                    <a:pt x="404" y="119"/>
                  </a:lnTo>
                  <a:lnTo>
                    <a:pt x="409" y="124"/>
                  </a:lnTo>
                  <a:lnTo>
                    <a:pt x="412" y="129"/>
                  </a:lnTo>
                  <a:lnTo>
                    <a:pt x="414" y="136"/>
                  </a:lnTo>
                  <a:lnTo>
                    <a:pt x="415" y="143"/>
                  </a:lnTo>
                  <a:lnTo>
                    <a:pt x="416" y="146"/>
                  </a:lnTo>
                  <a:lnTo>
                    <a:pt x="416" y="150"/>
                  </a:lnTo>
                  <a:lnTo>
                    <a:pt x="416" y="159"/>
                  </a:lnTo>
                  <a:lnTo>
                    <a:pt x="416" y="193"/>
                  </a:lnTo>
                  <a:lnTo>
                    <a:pt x="416" y="200"/>
                  </a:lnTo>
                  <a:lnTo>
                    <a:pt x="417" y="206"/>
                  </a:lnTo>
                  <a:lnTo>
                    <a:pt x="418" y="213"/>
                  </a:lnTo>
                  <a:lnTo>
                    <a:pt x="419" y="216"/>
                  </a:lnTo>
                  <a:lnTo>
                    <a:pt x="420" y="219"/>
                  </a:lnTo>
                  <a:lnTo>
                    <a:pt x="385" y="219"/>
                  </a:lnTo>
                  <a:close/>
                  <a:moveTo>
                    <a:pt x="211" y="149"/>
                  </a:moveTo>
                  <a:lnTo>
                    <a:pt x="244" y="149"/>
                  </a:lnTo>
                  <a:lnTo>
                    <a:pt x="227" y="38"/>
                  </a:lnTo>
                  <a:lnTo>
                    <a:pt x="211" y="149"/>
                  </a:lnTo>
                  <a:close/>
                  <a:moveTo>
                    <a:pt x="289" y="219"/>
                  </a:moveTo>
                  <a:lnTo>
                    <a:pt x="254" y="219"/>
                  </a:lnTo>
                  <a:lnTo>
                    <a:pt x="249" y="179"/>
                  </a:lnTo>
                  <a:lnTo>
                    <a:pt x="207" y="179"/>
                  </a:lnTo>
                  <a:lnTo>
                    <a:pt x="200" y="219"/>
                  </a:lnTo>
                  <a:lnTo>
                    <a:pt x="169" y="219"/>
                  </a:lnTo>
                  <a:lnTo>
                    <a:pt x="203" y="0"/>
                  </a:lnTo>
                  <a:lnTo>
                    <a:pt x="254" y="0"/>
                  </a:lnTo>
                  <a:lnTo>
                    <a:pt x="289" y="219"/>
                  </a:lnTo>
                  <a:close/>
                  <a:moveTo>
                    <a:pt x="73" y="156"/>
                  </a:moveTo>
                  <a:lnTo>
                    <a:pt x="97" y="0"/>
                  </a:lnTo>
                  <a:lnTo>
                    <a:pt x="145" y="0"/>
                  </a:lnTo>
                  <a:lnTo>
                    <a:pt x="145" y="219"/>
                  </a:lnTo>
                  <a:lnTo>
                    <a:pt x="113" y="219"/>
                  </a:lnTo>
                  <a:lnTo>
                    <a:pt x="113" y="62"/>
                  </a:lnTo>
                  <a:lnTo>
                    <a:pt x="88" y="219"/>
                  </a:lnTo>
                  <a:lnTo>
                    <a:pt x="55" y="219"/>
                  </a:lnTo>
                  <a:lnTo>
                    <a:pt x="30" y="64"/>
                  </a:lnTo>
                  <a:lnTo>
                    <a:pt x="30" y="219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48" y="0"/>
                  </a:lnTo>
                  <a:lnTo>
                    <a:pt x="73" y="1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6088536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632F5B-9819-46BD-A22F-D2FC9C4EFB34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59306916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B69F080D-7019-49E3-B623-648AE2439221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5552984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DCC6C8-0321-406C-815E-86BF4647DFE8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1453509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292CD-BF8E-4159-9B44-4BB19048D675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457175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C5362-2EDA-4FA9-B242-BC77E58D897E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7715714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DEE639-052A-4012-BC88-3D008D37B409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14031757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2C2C9C-DADF-4598-9224-464335CF1F07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7737376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51E2AB82-2B89-4AF9-901D-1D650DAB446C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30"/>
            <p:cNvSpPr>
              <a:spLocks noEditPoints="1"/>
            </p:cNvSpPr>
            <p:nvPr userDrawn="1"/>
          </p:nvSpPr>
          <p:spPr bwMode="auto">
            <a:xfrm>
              <a:off x="9094170" y="6475574"/>
              <a:ext cx="1502915" cy="209315"/>
            </a:xfrm>
            <a:custGeom>
              <a:avLst/>
              <a:gdLst>
                <a:gd name="T0" fmla="*/ 1559 w 1594"/>
                <a:gd name="T1" fmla="*/ 219 h 222"/>
                <a:gd name="T2" fmla="*/ 1559 w 1594"/>
                <a:gd name="T3" fmla="*/ 0 h 222"/>
                <a:gd name="T4" fmla="*/ 1418 w 1594"/>
                <a:gd name="T5" fmla="*/ 104 h 222"/>
                <a:gd name="T6" fmla="*/ 1427 w 1594"/>
                <a:gd name="T7" fmla="*/ 85 h 222"/>
                <a:gd name="T8" fmla="*/ 1421 w 1594"/>
                <a:gd name="T9" fmla="*/ 33 h 222"/>
                <a:gd name="T10" fmla="*/ 1462 w 1594"/>
                <a:gd name="T11" fmla="*/ 83 h 222"/>
                <a:gd name="T12" fmla="*/ 1455 w 1594"/>
                <a:gd name="T13" fmla="*/ 115 h 222"/>
                <a:gd name="T14" fmla="*/ 1432 w 1594"/>
                <a:gd name="T15" fmla="*/ 133 h 222"/>
                <a:gd name="T16" fmla="*/ 1394 w 1594"/>
                <a:gd name="T17" fmla="*/ 219 h 222"/>
                <a:gd name="T18" fmla="*/ 1428 w 1594"/>
                <a:gd name="T19" fmla="*/ 1 h 222"/>
                <a:gd name="T20" fmla="*/ 1451 w 1594"/>
                <a:gd name="T21" fmla="*/ 17 h 222"/>
                <a:gd name="T22" fmla="*/ 1461 w 1594"/>
                <a:gd name="T23" fmla="*/ 48 h 222"/>
                <a:gd name="T24" fmla="*/ 1290 w 1594"/>
                <a:gd name="T25" fmla="*/ 104 h 222"/>
                <a:gd name="T26" fmla="*/ 1300 w 1594"/>
                <a:gd name="T27" fmla="*/ 85 h 222"/>
                <a:gd name="T28" fmla="*/ 1293 w 1594"/>
                <a:gd name="T29" fmla="*/ 33 h 222"/>
                <a:gd name="T30" fmla="*/ 1334 w 1594"/>
                <a:gd name="T31" fmla="*/ 83 h 222"/>
                <a:gd name="T32" fmla="*/ 1327 w 1594"/>
                <a:gd name="T33" fmla="*/ 115 h 222"/>
                <a:gd name="T34" fmla="*/ 1305 w 1594"/>
                <a:gd name="T35" fmla="*/ 133 h 222"/>
                <a:gd name="T36" fmla="*/ 1266 w 1594"/>
                <a:gd name="T37" fmla="*/ 219 h 222"/>
                <a:gd name="T38" fmla="*/ 1300 w 1594"/>
                <a:gd name="T39" fmla="*/ 1 h 222"/>
                <a:gd name="T40" fmla="*/ 1324 w 1594"/>
                <a:gd name="T41" fmla="*/ 17 h 222"/>
                <a:gd name="T42" fmla="*/ 1334 w 1594"/>
                <a:gd name="T43" fmla="*/ 48 h 222"/>
                <a:gd name="T44" fmla="*/ 1134 w 1594"/>
                <a:gd name="T45" fmla="*/ 181 h 222"/>
                <a:gd name="T46" fmla="*/ 1150 w 1594"/>
                <a:gd name="T47" fmla="*/ 191 h 222"/>
                <a:gd name="T48" fmla="*/ 1167 w 1594"/>
                <a:gd name="T49" fmla="*/ 179 h 222"/>
                <a:gd name="T50" fmla="*/ 1201 w 1594"/>
                <a:gd name="T51" fmla="*/ 173 h 222"/>
                <a:gd name="T52" fmla="*/ 1191 w 1594"/>
                <a:gd name="T53" fmla="*/ 203 h 222"/>
                <a:gd name="T54" fmla="*/ 1171 w 1594"/>
                <a:gd name="T55" fmla="*/ 218 h 222"/>
                <a:gd name="T56" fmla="*/ 1137 w 1594"/>
                <a:gd name="T57" fmla="*/ 221 h 222"/>
                <a:gd name="T58" fmla="*/ 1111 w 1594"/>
                <a:gd name="T59" fmla="*/ 208 h 222"/>
                <a:gd name="T60" fmla="*/ 1099 w 1594"/>
                <a:gd name="T61" fmla="*/ 179 h 222"/>
                <a:gd name="T62" fmla="*/ 1030 w 1594"/>
                <a:gd name="T63" fmla="*/ 149 h 222"/>
                <a:gd name="T64" fmla="*/ 992 w 1594"/>
                <a:gd name="T65" fmla="*/ 179 h 222"/>
                <a:gd name="T66" fmla="*/ 872 w 1594"/>
                <a:gd name="T67" fmla="*/ 131 h 222"/>
                <a:gd name="T68" fmla="*/ 861 w 1594"/>
                <a:gd name="T69" fmla="*/ 95 h 222"/>
                <a:gd name="T70" fmla="*/ 872 w 1594"/>
                <a:gd name="T71" fmla="*/ 131 h 222"/>
                <a:gd name="T72" fmla="*/ 733 w 1594"/>
                <a:gd name="T73" fmla="*/ 219 h 222"/>
                <a:gd name="T74" fmla="*/ 666 w 1594"/>
                <a:gd name="T75" fmla="*/ 124 h 222"/>
                <a:gd name="T76" fmla="*/ 584 w 1594"/>
                <a:gd name="T77" fmla="*/ 0 h 222"/>
                <a:gd name="T78" fmla="*/ 482 w 1594"/>
                <a:gd name="T79" fmla="*/ 151 h 222"/>
                <a:gd name="T80" fmla="*/ 526 w 1594"/>
                <a:gd name="T81" fmla="*/ 0 h 222"/>
                <a:gd name="T82" fmla="*/ 347 w 1594"/>
                <a:gd name="T83" fmla="*/ 31 h 222"/>
                <a:gd name="T84" fmla="*/ 375 w 1594"/>
                <a:gd name="T85" fmla="*/ 94 h 222"/>
                <a:gd name="T86" fmla="*/ 381 w 1594"/>
                <a:gd name="T87" fmla="*/ 53 h 222"/>
                <a:gd name="T88" fmla="*/ 374 w 1594"/>
                <a:gd name="T89" fmla="*/ 33 h 222"/>
                <a:gd name="T90" fmla="*/ 384 w 1594"/>
                <a:gd name="T91" fmla="*/ 215 h 222"/>
                <a:gd name="T92" fmla="*/ 381 w 1594"/>
                <a:gd name="T93" fmla="*/ 145 h 222"/>
                <a:gd name="T94" fmla="*/ 365 w 1594"/>
                <a:gd name="T95" fmla="*/ 130 h 222"/>
                <a:gd name="T96" fmla="*/ 365 w 1594"/>
                <a:gd name="T97" fmla="*/ 0 h 222"/>
                <a:gd name="T98" fmla="*/ 397 w 1594"/>
                <a:gd name="T99" fmla="*/ 7 h 222"/>
                <a:gd name="T100" fmla="*/ 413 w 1594"/>
                <a:gd name="T101" fmla="*/ 28 h 222"/>
                <a:gd name="T102" fmla="*/ 416 w 1594"/>
                <a:gd name="T103" fmla="*/ 75 h 222"/>
                <a:gd name="T104" fmla="*/ 405 w 1594"/>
                <a:gd name="T105" fmla="*/ 103 h 222"/>
                <a:gd name="T106" fmla="*/ 402 w 1594"/>
                <a:gd name="T107" fmla="*/ 117 h 222"/>
                <a:gd name="T108" fmla="*/ 416 w 1594"/>
                <a:gd name="T109" fmla="*/ 146 h 222"/>
                <a:gd name="T110" fmla="*/ 418 w 1594"/>
                <a:gd name="T111" fmla="*/ 213 h 222"/>
                <a:gd name="T112" fmla="*/ 227 w 1594"/>
                <a:gd name="T113" fmla="*/ 38 h 222"/>
                <a:gd name="T114" fmla="*/ 200 w 1594"/>
                <a:gd name="T115" fmla="*/ 219 h 222"/>
                <a:gd name="T116" fmla="*/ 97 w 1594"/>
                <a:gd name="T117" fmla="*/ 0 h 222"/>
                <a:gd name="T118" fmla="*/ 55 w 1594"/>
                <a:gd name="T119" fmla="*/ 219 h 222"/>
                <a:gd name="T120" fmla="*/ 73 w 1594"/>
                <a:gd name="T121" fmla="*/ 15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94" h="222">
                  <a:moveTo>
                    <a:pt x="1516" y="149"/>
                  </a:moveTo>
                  <a:lnTo>
                    <a:pt x="1549" y="149"/>
                  </a:lnTo>
                  <a:lnTo>
                    <a:pt x="1533" y="38"/>
                  </a:lnTo>
                  <a:lnTo>
                    <a:pt x="1516" y="149"/>
                  </a:lnTo>
                  <a:close/>
                  <a:moveTo>
                    <a:pt x="1594" y="219"/>
                  </a:moveTo>
                  <a:lnTo>
                    <a:pt x="1559" y="219"/>
                  </a:lnTo>
                  <a:lnTo>
                    <a:pt x="1554" y="179"/>
                  </a:lnTo>
                  <a:lnTo>
                    <a:pt x="1512" y="179"/>
                  </a:lnTo>
                  <a:lnTo>
                    <a:pt x="1505" y="219"/>
                  </a:lnTo>
                  <a:lnTo>
                    <a:pt x="1474" y="219"/>
                  </a:lnTo>
                  <a:lnTo>
                    <a:pt x="1508" y="0"/>
                  </a:lnTo>
                  <a:lnTo>
                    <a:pt x="1559" y="0"/>
                  </a:lnTo>
                  <a:lnTo>
                    <a:pt x="1594" y="219"/>
                  </a:lnTo>
                  <a:close/>
                  <a:moveTo>
                    <a:pt x="1394" y="31"/>
                  </a:moveTo>
                  <a:lnTo>
                    <a:pt x="1394" y="105"/>
                  </a:lnTo>
                  <a:lnTo>
                    <a:pt x="1410" y="105"/>
                  </a:lnTo>
                  <a:lnTo>
                    <a:pt x="1414" y="105"/>
                  </a:lnTo>
                  <a:lnTo>
                    <a:pt x="1418" y="104"/>
                  </a:lnTo>
                  <a:lnTo>
                    <a:pt x="1421" y="103"/>
                  </a:lnTo>
                  <a:lnTo>
                    <a:pt x="1423" y="101"/>
                  </a:lnTo>
                  <a:lnTo>
                    <a:pt x="1425" y="99"/>
                  </a:lnTo>
                  <a:lnTo>
                    <a:pt x="1426" y="94"/>
                  </a:lnTo>
                  <a:lnTo>
                    <a:pt x="1427" y="90"/>
                  </a:lnTo>
                  <a:lnTo>
                    <a:pt x="1427" y="85"/>
                  </a:lnTo>
                  <a:lnTo>
                    <a:pt x="1427" y="52"/>
                  </a:lnTo>
                  <a:lnTo>
                    <a:pt x="1427" y="47"/>
                  </a:lnTo>
                  <a:lnTo>
                    <a:pt x="1426" y="41"/>
                  </a:lnTo>
                  <a:lnTo>
                    <a:pt x="1425" y="38"/>
                  </a:lnTo>
                  <a:lnTo>
                    <a:pt x="1423" y="35"/>
                  </a:lnTo>
                  <a:lnTo>
                    <a:pt x="1421" y="33"/>
                  </a:lnTo>
                  <a:lnTo>
                    <a:pt x="1418" y="32"/>
                  </a:lnTo>
                  <a:lnTo>
                    <a:pt x="1414" y="31"/>
                  </a:lnTo>
                  <a:lnTo>
                    <a:pt x="1410" y="31"/>
                  </a:lnTo>
                  <a:lnTo>
                    <a:pt x="1394" y="31"/>
                  </a:lnTo>
                  <a:close/>
                  <a:moveTo>
                    <a:pt x="1462" y="54"/>
                  </a:moveTo>
                  <a:lnTo>
                    <a:pt x="1462" y="83"/>
                  </a:lnTo>
                  <a:lnTo>
                    <a:pt x="1461" y="89"/>
                  </a:lnTo>
                  <a:lnTo>
                    <a:pt x="1461" y="94"/>
                  </a:lnTo>
                  <a:lnTo>
                    <a:pt x="1460" y="101"/>
                  </a:lnTo>
                  <a:lnTo>
                    <a:pt x="1459" y="106"/>
                  </a:lnTo>
                  <a:lnTo>
                    <a:pt x="1457" y="110"/>
                  </a:lnTo>
                  <a:lnTo>
                    <a:pt x="1455" y="115"/>
                  </a:lnTo>
                  <a:lnTo>
                    <a:pt x="1451" y="119"/>
                  </a:lnTo>
                  <a:lnTo>
                    <a:pt x="1449" y="123"/>
                  </a:lnTo>
                  <a:lnTo>
                    <a:pt x="1445" y="126"/>
                  </a:lnTo>
                  <a:lnTo>
                    <a:pt x="1442" y="129"/>
                  </a:lnTo>
                  <a:lnTo>
                    <a:pt x="1438" y="131"/>
                  </a:lnTo>
                  <a:lnTo>
                    <a:pt x="1432" y="133"/>
                  </a:lnTo>
                  <a:lnTo>
                    <a:pt x="1428" y="135"/>
                  </a:lnTo>
                  <a:lnTo>
                    <a:pt x="1423" y="136"/>
                  </a:lnTo>
                  <a:lnTo>
                    <a:pt x="1416" y="137"/>
                  </a:lnTo>
                  <a:lnTo>
                    <a:pt x="1410" y="137"/>
                  </a:lnTo>
                  <a:lnTo>
                    <a:pt x="1394" y="137"/>
                  </a:lnTo>
                  <a:lnTo>
                    <a:pt x="1394" y="219"/>
                  </a:lnTo>
                  <a:lnTo>
                    <a:pt x="1359" y="219"/>
                  </a:lnTo>
                  <a:lnTo>
                    <a:pt x="1359" y="0"/>
                  </a:lnTo>
                  <a:lnTo>
                    <a:pt x="1410" y="0"/>
                  </a:lnTo>
                  <a:lnTo>
                    <a:pt x="1416" y="0"/>
                  </a:lnTo>
                  <a:lnTo>
                    <a:pt x="1423" y="0"/>
                  </a:lnTo>
                  <a:lnTo>
                    <a:pt x="1428" y="1"/>
                  </a:lnTo>
                  <a:lnTo>
                    <a:pt x="1432" y="3"/>
                  </a:lnTo>
                  <a:lnTo>
                    <a:pt x="1438" y="6"/>
                  </a:lnTo>
                  <a:lnTo>
                    <a:pt x="1442" y="8"/>
                  </a:lnTo>
                  <a:lnTo>
                    <a:pt x="1445" y="11"/>
                  </a:lnTo>
                  <a:lnTo>
                    <a:pt x="1449" y="14"/>
                  </a:lnTo>
                  <a:lnTo>
                    <a:pt x="1451" y="17"/>
                  </a:lnTo>
                  <a:lnTo>
                    <a:pt x="1455" y="21"/>
                  </a:lnTo>
                  <a:lnTo>
                    <a:pt x="1457" y="26"/>
                  </a:lnTo>
                  <a:lnTo>
                    <a:pt x="1459" y="31"/>
                  </a:lnTo>
                  <a:lnTo>
                    <a:pt x="1460" y="36"/>
                  </a:lnTo>
                  <a:lnTo>
                    <a:pt x="1461" y="41"/>
                  </a:lnTo>
                  <a:lnTo>
                    <a:pt x="1461" y="48"/>
                  </a:lnTo>
                  <a:lnTo>
                    <a:pt x="1462" y="54"/>
                  </a:lnTo>
                  <a:close/>
                  <a:moveTo>
                    <a:pt x="1266" y="31"/>
                  </a:moveTo>
                  <a:lnTo>
                    <a:pt x="1266" y="105"/>
                  </a:lnTo>
                  <a:lnTo>
                    <a:pt x="1283" y="105"/>
                  </a:lnTo>
                  <a:lnTo>
                    <a:pt x="1286" y="105"/>
                  </a:lnTo>
                  <a:lnTo>
                    <a:pt x="1290" y="104"/>
                  </a:lnTo>
                  <a:lnTo>
                    <a:pt x="1293" y="103"/>
                  </a:lnTo>
                  <a:lnTo>
                    <a:pt x="1295" y="101"/>
                  </a:lnTo>
                  <a:lnTo>
                    <a:pt x="1297" y="99"/>
                  </a:lnTo>
                  <a:lnTo>
                    <a:pt x="1298" y="94"/>
                  </a:lnTo>
                  <a:lnTo>
                    <a:pt x="1299" y="90"/>
                  </a:lnTo>
                  <a:lnTo>
                    <a:pt x="1300" y="85"/>
                  </a:lnTo>
                  <a:lnTo>
                    <a:pt x="1300" y="52"/>
                  </a:lnTo>
                  <a:lnTo>
                    <a:pt x="1299" y="47"/>
                  </a:lnTo>
                  <a:lnTo>
                    <a:pt x="1298" y="41"/>
                  </a:lnTo>
                  <a:lnTo>
                    <a:pt x="1297" y="38"/>
                  </a:lnTo>
                  <a:lnTo>
                    <a:pt x="1295" y="35"/>
                  </a:lnTo>
                  <a:lnTo>
                    <a:pt x="1293" y="33"/>
                  </a:lnTo>
                  <a:lnTo>
                    <a:pt x="1290" y="32"/>
                  </a:lnTo>
                  <a:lnTo>
                    <a:pt x="1286" y="31"/>
                  </a:lnTo>
                  <a:lnTo>
                    <a:pt x="1283" y="31"/>
                  </a:lnTo>
                  <a:lnTo>
                    <a:pt x="1266" y="31"/>
                  </a:lnTo>
                  <a:close/>
                  <a:moveTo>
                    <a:pt x="1334" y="54"/>
                  </a:moveTo>
                  <a:lnTo>
                    <a:pt x="1334" y="83"/>
                  </a:lnTo>
                  <a:lnTo>
                    <a:pt x="1334" y="89"/>
                  </a:lnTo>
                  <a:lnTo>
                    <a:pt x="1333" y="94"/>
                  </a:lnTo>
                  <a:lnTo>
                    <a:pt x="1332" y="101"/>
                  </a:lnTo>
                  <a:lnTo>
                    <a:pt x="1331" y="106"/>
                  </a:lnTo>
                  <a:lnTo>
                    <a:pt x="1329" y="110"/>
                  </a:lnTo>
                  <a:lnTo>
                    <a:pt x="1327" y="115"/>
                  </a:lnTo>
                  <a:lnTo>
                    <a:pt x="1324" y="119"/>
                  </a:lnTo>
                  <a:lnTo>
                    <a:pt x="1321" y="123"/>
                  </a:lnTo>
                  <a:lnTo>
                    <a:pt x="1318" y="126"/>
                  </a:lnTo>
                  <a:lnTo>
                    <a:pt x="1314" y="129"/>
                  </a:lnTo>
                  <a:lnTo>
                    <a:pt x="1310" y="131"/>
                  </a:lnTo>
                  <a:lnTo>
                    <a:pt x="1305" y="133"/>
                  </a:lnTo>
                  <a:lnTo>
                    <a:pt x="1300" y="135"/>
                  </a:lnTo>
                  <a:lnTo>
                    <a:pt x="1295" y="136"/>
                  </a:lnTo>
                  <a:lnTo>
                    <a:pt x="1289" y="137"/>
                  </a:lnTo>
                  <a:lnTo>
                    <a:pt x="1283" y="137"/>
                  </a:lnTo>
                  <a:lnTo>
                    <a:pt x="1266" y="137"/>
                  </a:lnTo>
                  <a:lnTo>
                    <a:pt x="1266" y="219"/>
                  </a:lnTo>
                  <a:lnTo>
                    <a:pt x="1232" y="219"/>
                  </a:lnTo>
                  <a:lnTo>
                    <a:pt x="1232" y="0"/>
                  </a:lnTo>
                  <a:lnTo>
                    <a:pt x="1283" y="0"/>
                  </a:lnTo>
                  <a:lnTo>
                    <a:pt x="1289" y="0"/>
                  </a:lnTo>
                  <a:lnTo>
                    <a:pt x="1295" y="0"/>
                  </a:lnTo>
                  <a:lnTo>
                    <a:pt x="1300" y="1"/>
                  </a:lnTo>
                  <a:lnTo>
                    <a:pt x="1305" y="3"/>
                  </a:lnTo>
                  <a:lnTo>
                    <a:pt x="1310" y="6"/>
                  </a:lnTo>
                  <a:lnTo>
                    <a:pt x="1314" y="8"/>
                  </a:lnTo>
                  <a:lnTo>
                    <a:pt x="1318" y="11"/>
                  </a:lnTo>
                  <a:lnTo>
                    <a:pt x="1321" y="14"/>
                  </a:lnTo>
                  <a:lnTo>
                    <a:pt x="1324" y="17"/>
                  </a:lnTo>
                  <a:lnTo>
                    <a:pt x="1327" y="21"/>
                  </a:lnTo>
                  <a:lnTo>
                    <a:pt x="1329" y="26"/>
                  </a:lnTo>
                  <a:lnTo>
                    <a:pt x="1331" y="31"/>
                  </a:lnTo>
                  <a:lnTo>
                    <a:pt x="1332" y="36"/>
                  </a:lnTo>
                  <a:lnTo>
                    <a:pt x="1333" y="41"/>
                  </a:lnTo>
                  <a:lnTo>
                    <a:pt x="1334" y="48"/>
                  </a:lnTo>
                  <a:lnTo>
                    <a:pt x="1334" y="54"/>
                  </a:lnTo>
                  <a:close/>
                  <a:moveTo>
                    <a:pt x="1132" y="0"/>
                  </a:moveTo>
                  <a:lnTo>
                    <a:pt x="1132" y="169"/>
                  </a:lnTo>
                  <a:lnTo>
                    <a:pt x="1133" y="175"/>
                  </a:lnTo>
                  <a:lnTo>
                    <a:pt x="1134" y="179"/>
                  </a:lnTo>
                  <a:lnTo>
                    <a:pt x="1134" y="181"/>
                  </a:lnTo>
                  <a:lnTo>
                    <a:pt x="1135" y="182"/>
                  </a:lnTo>
                  <a:lnTo>
                    <a:pt x="1137" y="185"/>
                  </a:lnTo>
                  <a:lnTo>
                    <a:pt x="1139" y="187"/>
                  </a:lnTo>
                  <a:lnTo>
                    <a:pt x="1143" y="190"/>
                  </a:lnTo>
                  <a:lnTo>
                    <a:pt x="1147" y="190"/>
                  </a:lnTo>
                  <a:lnTo>
                    <a:pt x="1150" y="191"/>
                  </a:lnTo>
                  <a:lnTo>
                    <a:pt x="1154" y="190"/>
                  </a:lnTo>
                  <a:lnTo>
                    <a:pt x="1157" y="190"/>
                  </a:lnTo>
                  <a:lnTo>
                    <a:pt x="1161" y="187"/>
                  </a:lnTo>
                  <a:lnTo>
                    <a:pt x="1164" y="185"/>
                  </a:lnTo>
                  <a:lnTo>
                    <a:pt x="1166" y="182"/>
                  </a:lnTo>
                  <a:lnTo>
                    <a:pt x="1167" y="179"/>
                  </a:lnTo>
                  <a:lnTo>
                    <a:pt x="1168" y="175"/>
                  </a:lnTo>
                  <a:lnTo>
                    <a:pt x="1168" y="169"/>
                  </a:lnTo>
                  <a:lnTo>
                    <a:pt x="1168" y="0"/>
                  </a:lnTo>
                  <a:lnTo>
                    <a:pt x="1201" y="0"/>
                  </a:lnTo>
                  <a:lnTo>
                    <a:pt x="1201" y="166"/>
                  </a:lnTo>
                  <a:lnTo>
                    <a:pt x="1201" y="173"/>
                  </a:lnTo>
                  <a:lnTo>
                    <a:pt x="1200" y="179"/>
                  </a:lnTo>
                  <a:lnTo>
                    <a:pt x="1199" y="185"/>
                  </a:lnTo>
                  <a:lnTo>
                    <a:pt x="1198" y="191"/>
                  </a:lnTo>
                  <a:lnTo>
                    <a:pt x="1195" y="195"/>
                  </a:lnTo>
                  <a:lnTo>
                    <a:pt x="1193" y="200"/>
                  </a:lnTo>
                  <a:lnTo>
                    <a:pt x="1191" y="203"/>
                  </a:lnTo>
                  <a:lnTo>
                    <a:pt x="1188" y="208"/>
                  </a:lnTo>
                  <a:lnTo>
                    <a:pt x="1184" y="211"/>
                  </a:lnTo>
                  <a:lnTo>
                    <a:pt x="1181" y="214"/>
                  </a:lnTo>
                  <a:lnTo>
                    <a:pt x="1179" y="215"/>
                  </a:lnTo>
                  <a:lnTo>
                    <a:pt x="1176" y="216"/>
                  </a:lnTo>
                  <a:lnTo>
                    <a:pt x="1171" y="218"/>
                  </a:lnTo>
                  <a:lnTo>
                    <a:pt x="1167" y="220"/>
                  </a:lnTo>
                  <a:lnTo>
                    <a:pt x="1162" y="221"/>
                  </a:lnTo>
                  <a:lnTo>
                    <a:pt x="1155" y="221"/>
                  </a:lnTo>
                  <a:lnTo>
                    <a:pt x="1149" y="222"/>
                  </a:lnTo>
                  <a:lnTo>
                    <a:pt x="1144" y="221"/>
                  </a:lnTo>
                  <a:lnTo>
                    <a:pt x="1137" y="221"/>
                  </a:lnTo>
                  <a:lnTo>
                    <a:pt x="1132" y="220"/>
                  </a:lnTo>
                  <a:lnTo>
                    <a:pt x="1127" y="218"/>
                  </a:lnTo>
                  <a:lnTo>
                    <a:pt x="1122" y="216"/>
                  </a:lnTo>
                  <a:lnTo>
                    <a:pt x="1118" y="214"/>
                  </a:lnTo>
                  <a:lnTo>
                    <a:pt x="1114" y="211"/>
                  </a:lnTo>
                  <a:lnTo>
                    <a:pt x="1111" y="208"/>
                  </a:lnTo>
                  <a:lnTo>
                    <a:pt x="1108" y="203"/>
                  </a:lnTo>
                  <a:lnTo>
                    <a:pt x="1106" y="200"/>
                  </a:lnTo>
                  <a:lnTo>
                    <a:pt x="1103" y="195"/>
                  </a:lnTo>
                  <a:lnTo>
                    <a:pt x="1101" y="191"/>
                  </a:lnTo>
                  <a:lnTo>
                    <a:pt x="1100" y="185"/>
                  </a:lnTo>
                  <a:lnTo>
                    <a:pt x="1099" y="179"/>
                  </a:lnTo>
                  <a:lnTo>
                    <a:pt x="1098" y="173"/>
                  </a:lnTo>
                  <a:lnTo>
                    <a:pt x="1098" y="166"/>
                  </a:lnTo>
                  <a:lnTo>
                    <a:pt x="1098" y="0"/>
                  </a:lnTo>
                  <a:lnTo>
                    <a:pt x="1132" y="0"/>
                  </a:lnTo>
                  <a:close/>
                  <a:moveTo>
                    <a:pt x="997" y="149"/>
                  </a:moveTo>
                  <a:lnTo>
                    <a:pt x="1030" y="149"/>
                  </a:lnTo>
                  <a:lnTo>
                    <a:pt x="1014" y="38"/>
                  </a:lnTo>
                  <a:lnTo>
                    <a:pt x="997" y="149"/>
                  </a:lnTo>
                  <a:close/>
                  <a:moveTo>
                    <a:pt x="1076" y="219"/>
                  </a:moveTo>
                  <a:lnTo>
                    <a:pt x="1041" y="219"/>
                  </a:lnTo>
                  <a:lnTo>
                    <a:pt x="1035" y="179"/>
                  </a:lnTo>
                  <a:lnTo>
                    <a:pt x="992" y="179"/>
                  </a:lnTo>
                  <a:lnTo>
                    <a:pt x="987" y="219"/>
                  </a:lnTo>
                  <a:lnTo>
                    <a:pt x="955" y="219"/>
                  </a:lnTo>
                  <a:lnTo>
                    <a:pt x="990" y="0"/>
                  </a:lnTo>
                  <a:lnTo>
                    <a:pt x="1041" y="0"/>
                  </a:lnTo>
                  <a:lnTo>
                    <a:pt x="1076" y="219"/>
                  </a:lnTo>
                  <a:close/>
                  <a:moveTo>
                    <a:pt x="872" y="131"/>
                  </a:moveTo>
                  <a:lnTo>
                    <a:pt x="861" y="151"/>
                  </a:lnTo>
                  <a:lnTo>
                    <a:pt x="861" y="219"/>
                  </a:lnTo>
                  <a:lnTo>
                    <a:pt x="826" y="219"/>
                  </a:lnTo>
                  <a:lnTo>
                    <a:pt x="826" y="0"/>
                  </a:lnTo>
                  <a:lnTo>
                    <a:pt x="861" y="0"/>
                  </a:lnTo>
                  <a:lnTo>
                    <a:pt x="861" y="95"/>
                  </a:lnTo>
                  <a:lnTo>
                    <a:pt x="907" y="0"/>
                  </a:lnTo>
                  <a:lnTo>
                    <a:pt x="941" y="0"/>
                  </a:lnTo>
                  <a:lnTo>
                    <a:pt x="893" y="98"/>
                  </a:lnTo>
                  <a:lnTo>
                    <a:pt x="941" y="219"/>
                  </a:lnTo>
                  <a:lnTo>
                    <a:pt x="906" y="219"/>
                  </a:lnTo>
                  <a:lnTo>
                    <a:pt x="872" y="131"/>
                  </a:lnTo>
                  <a:close/>
                  <a:moveTo>
                    <a:pt x="697" y="0"/>
                  </a:moveTo>
                  <a:lnTo>
                    <a:pt x="804" y="0"/>
                  </a:lnTo>
                  <a:lnTo>
                    <a:pt x="804" y="31"/>
                  </a:lnTo>
                  <a:lnTo>
                    <a:pt x="768" y="31"/>
                  </a:lnTo>
                  <a:lnTo>
                    <a:pt x="768" y="219"/>
                  </a:lnTo>
                  <a:lnTo>
                    <a:pt x="733" y="219"/>
                  </a:lnTo>
                  <a:lnTo>
                    <a:pt x="733" y="31"/>
                  </a:lnTo>
                  <a:lnTo>
                    <a:pt x="697" y="31"/>
                  </a:lnTo>
                  <a:lnTo>
                    <a:pt x="697" y="0"/>
                  </a:lnTo>
                  <a:close/>
                  <a:moveTo>
                    <a:pt x="619" y="92"/>
                  </a:moveTo>
                  <a:lnTo>
                    <a:pt x="666" y="92"/>
                  </a:lnTo>
                  <a:lnTo>
                    <a:pt x="666" y="124"/>
                  </a:lnTo>
                  <a:lnTo>
                    <a:pt x="619" y="124"/>
                  </a:lnTo>
                  <a:lnTo>
                    <a:pt x="619" y="187"/>
                  </a:lnTo>
                  <a:lnTo>
                    <a:pt x="678" y="187"/>
                  </a:lnTo>
                  <a:lnTo>
                    <a:pt x="678" y="219"/>
                  </a:lnTo>
                  <a:lnTo>
                    <a:pt x="584" y="219"/>
                  </a:lnTo>
                  <a:lnTo>
                    <a:pt x="584" y="0"/>
                  </a:lnTo>
                  <a:lnTo>
                    <a:pt x="678" y="0"/>
                  </a:lnTo>
                  <a:lnTo>
                    <a:pt x="678" y="31"/>
                  </a:lnTo>
                  <a:lnTo>
                    <a:pt x="619" y="31"/>
                  </a:lnTo>
                  <a:lnTo>
                    <a:pt x="619" y="92"/>
                  </a:lnTo>
                  <a:close/>
                  <a:moveTo>
                    <a:pt x="492" y="131"/>
                  </a:moveTo>
                  <a:lnTo>
                    <a:pt x="482" y="151"/>
                  </a:lnTo>
                  <a:lnTo>
                    <a:pt x="482" y="219"/>
                  </a:lnTo>
                  <a:lnTo>
                    <a:pt x="447" y="219"/>
                  </a:lnTo>
                  <a:lnTo>
                    <a:pt x="447" y="0"/>
                  </a:lnTo>
                  <a:lnTo>
                    <a:pt x="482" y="0"/>
                  </a:lnTo>
                  <a:lnTo>
                    <a:pt x="482" y="95"/>
                  </a:lnTo>
                  <a:lnTo>
                    <a:pt x="526" y="0"/>
                  </a:lnTo>
                  <a:lnTo>
                    <a:pt x="561" y="0"/>
                  </a:lnTo>
                  <a:lnTo>
                    <a:pt x="513" y="98"/>
                  </a:lnTo>
                  <a:lnTo>
                    <a:pt x="561" y="219"/>
                  </a:lnTo>
                  <a:lnTo>
                    <a:pt x="525" y="219"/>
                  </a:lnTo>
                  <a:lnTo>
                    <a:pt x="492" y="131"/>
                  </a:lnTo>
                  <a:close/>
                  <a:moveTo>
                    <a:pt x="347" y="31"/>
                  </a:moveTo>
                  <a:lnTo>
                    <a:pt x="347" y="99"/>
                  </a:lnTo>
                  <a:lnTo>
                    <a:pt x="361" y="99"/>
                  </a:lnTo>
                  <a:lnTo>
                    <a:pt x="365" y="99"/>
                  </a:lnTo>
                  <a:lnTo>
                    <a:pt x="370" y="98"/>
                  </a:lnTo>
                  <a:lnTo>
                    <a:pt x="373" y="95"/>
                  </a:lnTo>
                  <a:lnTo>
                    <a:pt x="375" y="94"/>
                  </a:lnTo>
                  <a:lnTo>
                    <a:pt x="376" y="93"/>
                  </a:lnTo>
                  <a:lnTo>
                    <a:pt x="378" y="90"/>
                  </a:lnTo>
                  <a:lnTo>
                    <a:pt x="380" y="86"/>
                  </a:lnTo>
                  <a:lnTo>
                    <a:pt x="381" y="82"/>
                  </a:lnTo>
                  <a:lnTo>
                    <a:pt x="381" y="75"/>
                  </a:lnTo>
                  <a:lnTo>
                    <a:pt x="381" y="53"/>
                  </a:lnTo>
                  <a:lnTo>
                    <a:pt x="381" y="48"/>
                  </a:lnTo>
                  <a:lnTo>
                    <a:pt x="381" y="44"/>
                  </a:lnTo>
                  <a:lnTo>
                    <a:pt x="379" y="39"/>
                  </a:lnTo>
                  <a:lnTo>
                    <a:pt x="378" y="36"/>
                  </a:lnTo>
                  <a:lnTo>
                    <a:pt x="375" y="34"/>
                  </a:lnTo>
                  <a:lnTo>
                    <a:pt x="374" y="33"/>
                  </a:lnTo>
                  <a:lnTo>
                    <a:pt x="372" y="32"/>
                  </a:lnTo>
                  <a:lnTo>
                    <a:pt x="368" y="31"/>
                  </a:lnTo>
                  <a:lnTo>
                    <a:pt x="364" y="31"/>
                  </a:lnTo>
                  <a:lnTo>
                    <a:pt x="347" y="31"/>
                  </a:lnTo>
                  <a:close/>
                  <a:moveTo>
                    <a:pt x="385" y="219"/>
                  </a:moveTo>
                  <a:lnTo>
                    <a:pt x="384" y="215"/>
                  </a:lnTo>
                  <a:lnTo>
                    <a:pt x="383" y="211"/>
                  </a:lnTo>
                  <a:lnTo>
                    <a:pt x="382" y="203"/>
                  </a:lnTo>
                  <a:lnTo>
                    <a:pt x="382" y="192"/>
                  </a:lnTo>
                  <a:lnTo>
                    <a:pt x="382" y="158"/>
                  </a:lnTo>
                  <a:lnTo>
                    <a:pt x="381" y="150"/>
                  </a:lnTo>
                  <a:lnTo>
                    <a:pt x="381" y="145"/>
                  </a:lnTo>
                  <a:lnTo>
                    <a:pt x="379" y="140"/>
                  </a:lnTo>
                  <a:lnTo>
                    <a:pt x="377" y="136"/>
                  </a:lnTo>
                  <a:lnTo>
                    <a:pt x="375" y="135"/>
                  </a:lnTo>
                  <a:lnTo>
                    <a:pt x="374" y="133"/>
                  </a:lnTo>
                  <a:lnTo>
                    <a:pt x="370" y="131"/>
                  </a:lnTo>
                  <a:lnTo>
                    <a:pt x="365" y="130"/>
                  </a:lnTo>
                  <a:lnTo>
                    <a:pt x="359" y="129"/>
                  </a:lnTo>
                  <a:lnTo>
                    <a:pt x="347" y="129"/>
                  </a:lnTo>
                  <a:lnTo>
                    <a:pt x="347" y="219"/>
                  </a:lnTo>
                  <a:lnTo>
                    <a:pt x="313" y="219"/>
                  </a:lnTo>
                  <a:lnTo>
                    <a:pt x="313" y="0"/>
                  </a:lnTo>
                  <a:lnTo>
                    <a:pt x="365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83" y="1"/>
                  </a:lnTo>
                  <a:lnTo>
                    <a:pt x="389" y="2"/>
                  </a:lnTo>
                  <a:lnTo>
                    <a:pt x="393" y="4"/>
                  </a:lnTo>
                  <a:lnTo>
                    <a:pt x="397" y="7"/>
                  </a:lnTo>
                  <a:lnTo>
                    <a:pt x="400" y="10"/>
                  </a:lnTo>
                  <a:lnTo>
                    <a:pt x="404" y="12"/>
                  </a:lnTo>
                  <a:lnTo>
                    <a:pt x="407" y="16"/>
                  </a:lnTo>
                  <a:lnTo>
                    <a:pt x="410" y="19"/>
                  </a:lnTo>
                  <a:lnTo>
                    <a:pt x="412" y="23"/>
                  </a:lnTo>
                  <a:lnTo>
                    <a:pt x="413" y="28"/>
                  </a:lnTo>
                  <a:lnTo>
                    <a:pt x="414" y="33"/>
                  </a:lnTo>
                  <a:lnTo>
                    <a:pt x="415" y="38"/>
                  </a:lnTo>
                  <a:lnTo>
                    <a:pt x="416" y="44"/>
                  </a:lnTo>
                  <a:lnTo>
                    <a:pt x="416" y="50"/>
                  </a:lnTo>
                  <a:lnTo>
                    <a:pt x="416" y="68"/>
                  </a:lnTo>
                  <a:lnTo>
                    <a:pt x="416" y="75"/>
                  </a:lnTo>
                  <a:lnTo>
                    <a:pt x="415" y="83"/>
                  </a:lnTo>
                  <a:lnTo>
                    <a:pt x="413" y="89"/>
                  </a:lnTo>
                  <a:lnTo>
                    <a:pt x="411" y="95"/>
                  </a:lnTo>
                  <a:lnTo>
                    <a:pt x="409" y="99"/>
                  </a:lnTo>
                  <a:lnTo>
                    <a:pt x="408" y="101"/>
                  </a:lnTo>
                  <a:lnTo>
                    <a:pt x="405" y="103"/>
                  </a:lnTo>
                  <a:lnTo>
                    <a:pt x="403" y="105"/>
                  </a:lnTo>
                  <a:lnTo>
                    <a:pt x="399" y="109"/>
                  </a:lnTo>
                  <a:lnTo>
                    <a:pt x="394" y="112"/>
                  </a:lnTo>
                  <a:lnTo>
                    <a:pt x="397" y="113"/>
                  </a:lnTo>
                  <a:lnTo>
                    <a:pt x="399" y="115"/>
                  </a:lnTo>
                  <a:lnTo>
                    <a:pt x="402" y="117"/>
                  </a:lnTo>
                  <a:lnTo>
                    <a:pt x="404" y="119"/>
                  </a:lnTo>
                  <a:lnTo>
                    <a:pt x="409" y="124"/>
                  </a:lnTo>
                  <a:lnTo>
                    <a:pt x="412" y="129"/>
                  </a:lnTo>
                  <a:lnTo>
                    <a:pt x="414" y="136"/>
                  </a:lnTo>
                  <a:lnTo>
                    <a:pt x="415" y="143"/>
                  </a:lnTo>
                  <a:lnTo>
                    <a:pt x="416" y="146"/>
                  </a:lnTo>
                  <a:lnTo>
                    <a:pt x="416" y="150"/>
                  </a:lnTo>
                  <a:lnTo>
                    <a:pt x="416" y="159"/>
                  </a:lnTo>
                  <a:lnTo>
                    <a:pt x="416" y="193"/>
                  </a:lnTo>
                  <a:lnTo>
                    <a:pt x="416" y="200"/>
                  </a:lnTo>
                  <a:lnTo>
                    <a:pt x="417" y="206"/>
                  </a:lnTo>
                  <a:lnTo>
                    <a:pt x="418" y="213"/>
                  </a:lnTo>
                  <a:lnTo>
                    <a:pt x="419" y="216"/>
                  </a:lnTo>
                  <a:lnTo>
                    <a:pt x="420" y="219"/>
                  </a:lnTo>
                  <a:lnTo>
                    <a:pt x="385" y="219"/>
                  </a:lnTo>
                  <a:close/>
                  <a:moveTo>
                    <a:pt x="211" y="149"/>
                  </a:moveTo>
                  <a:lnTo>
                    <a:pt x="244" y="149"/>
                  </a:lnTo>
                  <a:lnTo>
                    <a:pt x="227" y="38"/>
                  </a:lnTo>
                  <a:lnTo>
                    <a:pt x="211" y="149"/>
                  </a:lnTo>
                  <a:close/>
                  <a:moveTo>
                    <a:pt x="289" y="219"/>
                  </a:moveTo>
                  <a:lnTo>
                    <a:pt x="254" y="219"/>
                  </a:lnTo>
                  <a:lnTo>
                    <a:pt x="249" y="179"/>
                  </a:lnTo>
                  <a:lnTo>
                    <a:pt x="207" y="179"/>
                  </a:lnTo>
                  <a:lnTo>
                    <a:pt x="200" y="219"/>
                  </a:lnTo>
                  <a:lnTo>
                    <a:pt x="169" y="219"/>
                  </a:lnTo>
                  <a:lnTo>
                    <a:pt x="203" y="0"/>
                  </a:lnTo>
                  <a:lnTo>
                    <a:pt x="254" y="0"/>
                  </a:lnTo>
                  <a:lnTo>
                    <a:pt x="289" y="219"/>
                  </a:lnTo>
                  <a:close/>
                  <a:moveTo>
                    <a:pt x="73" y="156"/>
                  </a:moveTo>
                  <a:lnTo>
                    <a:pt x="97" y="0"/>
                  </a:lnTo>
                  <a:lnTo>
                    <a:pt x="145" y="0"/>
                  </a:lnTo>
                  <a:lnTo>
                    <a:pt x="145" y="219"/>
                  </a:lnTo>
                  <a:lnTo>
                    <a:pt x="113" y="219"/>
                  </a:lnTo>
                  <a:lnTo>
                    <a:pt x="113" y="62"/>
                  </a:lnTo>
                  <a:lnTo>
                    <a:pt x="88" y="219"/>
                  </a:lnTo>
                  <a:lnTo>
                    <a:pt x="55" y="219"/>
                  </a:lnTo>
                  <a:lnTo>
                    <a:pt x="30" y="64"/>
                  </a:lnTo>
                  <a:lnTo>
                    <a:pt x="30" y="219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48" y="0"/>
                  </a:lnTo>
                  <a:lnTo>
                    <a:pt x="73" y="1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18302780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9C21B80-ACD7-4F92-B957-ED85C7A5B6A9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30"/>
            <p:cNvSpPr>
              <a:spLocks noEditPoints="1"/>
            </p:cNvSpPr>
            <p:nvPr userDrawn="1"/>
          </p:nvSpPr>
          <p:spPr bwMode="auto">
            <a:xfrm>
              <a:off x="9094170" y="6475574"/>
              <a:ext cx="1502915" cy="209315"/>
            </a:xfrm>
            <a:custGeom>
              <a:avLst/>
              <a:gdLst>
                <a:gd name="T0" fmla="*/ 1559 w 1594"/>
                <a:gd name="T1" fmla="*/ 219 h 222"/>
                <a:gd name="T2" fmla="*/ 1559 w 1594"/>
                <a:gd name="T3" fmla="*/ 0 h 222"/>
                <a:gd name="T4" fmla="*/ 1418 w 1594"/>
                <a:gd name="T5" fmla="*/ 104 h 222"/>
                <a:gd name="T6" fmla="*/ 1427 w 1594"/>
                <a:gd name="T7" fmla="*/ 85 h 222"/>
                <a:gd name="T8" fmla="*/ 1421 w 1594"/>
                <a:gd name="T9" fmla="*/ 33 h 222"/>
                <a:gd name="T10" fmla="*/ 1462 w 1594"/>
                <a:gd name="T11" fmla="*/ 83 h 222"/>
                <a:gd name="T12" fmla="*/ 1455 w 1594"/>
                <a:gd name="T13" fmla="*/ 115 h 222"/>
                <a:gd name="T14" fmla="*/ 1432 w 1594"/>
                <a:gd name="T15" fmla="*/ 133 h 222"/>
                <a:gd name="T16" fmla="*/ 1394 w 1594"/>
                <a:gd name="T17" fmla="*/ 219 h 222"/>
                <a:gd name="T18" fmla="*/ 1428 w 1594"/>
                <a:gd name="T19" fmla="*/ 1 h 222"/>
                <a:gd name="T20" fmla="*/ 1451 w 1594"/>
                <a:gd name="T21" fmla="*/ 17 h 222"/>
                <a:gd name="T22" fmla="*/ 1461 w 1594"/>
                <a:gd name="T23" fmla="*/ 48 h 222"/>
                <a:gd name="T24" fmla="*/ 1290 w 1594"/>
                <a:gd name="T25" fmla="*/ 104 h 222"/>
                <a:gd name="T26" fmla="*/ 1300 w 1594"/>
                <a:gd name="T27" fmla="*/ 85 h 222"/>
                <a:gd name="T28" fmla="*/ 1293 w 1594"/>
                <a:gd name="T29" fmla="*/ 33 h 222"/>
                <a:gd name="T30" fmla="*/ 1334 w 1594"/>
                <a:gd name="T31" fmla="*/ 83 h 222"/>
                <a:gd name="T32" fmla="*/ 1327 w 1594"/>
                <a:gd name="T33" fmla="*/ 115 h 222"/>
                <a:gd name="T34" fmla="*/ 1305 w 1594"/>
                <a:gd name="T35" fmla="*/ 133 h 222"/>
                <a:gd name="T36" fmla="*/ 1266 w 1594"/>
                <a:gd name="T37" fmla="*/ 219 h 222"/>
                <a:gd name="T38" fmla="*/ 1300 w 1594"/>
                <a:gd name="T39" fmla="*/ 1 h 222"/>
                <a:gd name="T40" fmla="*/ 1324 w 1594"/>
                <a:gd name="T41" fmla="*/ 17 h 222"/>
                <a:gd name="T42" fmla="*/ 1334 w 1594"/>
                <a:gd name="T43" fmla="*/ 48 h 222"/>
                <a:gd name="T44" fmla="*/ 1134 w 1594"/>
                <a:gd name="T45" fmla="*/ 181 h 222"/>
                <a:gd name="T46" fmla="*/ 1150 w 1594"/>
                <a:gd name="T47" fmla="*/ 191 h 222"/>
                <a:gd name="T48" fmla="*/ 1167 w 1594"/>
                <a:gd name="T49" fmla="*/ 179 h 222"/>
                <a:gd name="T50" fmla="*/ 1201 w 1594"/>
                <a:gd name="T51" fmla="*/ 173 h 222"/>
                <a:gd name="T52" fmla="*/ 1191 w 1594"/>
                <a:gd name="T53" fmla="*/ 203 h 222"/>
                <a:gd name="T54" fmla="*/ 1171 w 1594"/>
                <a:gd name="T55" fmla="*/ 218 h 222"/>
                <a:gd name="T56" fmla="*/ 1137 w 1594"/>
                <a:gd name="T57" fmla="*/ 221 h 222"/>
                <a:gd name="T58" fmla="*/ 1111 w 1594"/>
                <a:gd name="T59" fmla="*/ 208 h 222"/>
                <a:gd name="T60" fmla="*/ 1099 w 1594"/>
                <a:gd name="T61" fmla="*/ 179 h 222"/>
                <a:gd name="T62" fmla="*/ 1030 w 1594"/>
                <a:gd name="T63" fmla="*/ 149 h 222"/>
                <a:gd name="T64" fmla="*/ 992 w 1594"/>
                <a:gd name="T65" fmla="*/ 179 h 222"/>
                <a:gd name="T66" fmla="*/ 872 w 1594"/>
                <a:gd name="T67" fmla="*/ 131 h 222"/>
                <a:gd name="T68" fmla="*/ 861 w 1594"/>
                <a:gd name="T69" fmla="*/ 95 h 222"/>
                <a:gd name="T70" fmla="*/ 872 w 1594"/>
                <a:gd name="T71" fmla="*/ 131 h 222"/>
                <a:gd name="T72" fmla="*/ 733 w 1594"/>
                <a:gd name="T73" fmla="*/ 219 h 222"/>
                <a:gd name="T74" fmla="*/ 666 w 1594"/>
                <a:gd name="T75" fmla="*/ 124 h 222"/>
                <a:gd name="T76" fmla="*/ 584 w 1594"/>
                <a:gd name="T77" fmla="*/ 0 h 222"/>
                <a:gd name="T78" fmla="*/ 482 w 1594"/>
                <a:gd name="T79" fmla="*/ 151 h 222"/>
                <a:gd name="T80" fmla="*/ 526 w 1594"/>
                <a:gd name="T81" fmla="*/ 0 h 222"/>
                <a:gd name="T82" fmla="*/ 347 w 1594"/>
                <a:gd name="T83" fmla="*/ 31 h 222"/>
                <a:gd name="T84" fmla="*/ 375 w 1594"/>
                <a:gd name="T85" fmla="*/ 94 h 222"/>
                <a:gd name="T86" fmla="*/ 381 w 1594"/>
                <a:gd name="T87" fmla="*/ 53 h 222"/>
                <a:gd name="T88" fmla="*/ 374 w 1594"/>
                <a:gd name="T89" fmla="*/ 33 h 222"/>
                <a:gd name="T90" fmla="*/ 384 w 1594"/>
                <a:gd name="T91" fmla="*/ 215 h 222"/>
                <a:gd name="T92" fmla="*/ 381 w 1594"/>
                <a:gd name="T93" fmla="*/ 145 h 222"/>
                <a:gd name="T94" fmla="*/ 365 w 1594"/>
                <a:gd name="T95" fmla="*/ 130 h 222"/>
                <a:gd name="T96" fmla="*/ 365 w 1594"/>
                <a:gd name="T97" fmla="*/ 0 h 222"/>
                <a:gd name="T98" fmla="*/ 397 w 1594"/>
                <a:gd name="T99" fmla="*/ 7 h 222"/>
                <a:gd name="T100" fmla="*/ 413 w 1594"/>
                <a:gd name="T101" fmla="*/ 28 h 222"/>
                <a:gd name="T102" fmla="*/ 416 w 1594"/>
                <a:gd name="T103" fmla="*/ 75 h 222"/>
                <a:gd name="T104" fmla="*/ 405 w 1594"/>
                <a:gd name="T105" fmla="*/ 103 h 222"/>
                <a:gd name="T106" fmla="*/ 402 w 1594"/>
                <a:gd name="T107" fmla="*/ 117 h 222"/>
                <a:gd name="T108" fmla="*/ 416 w 1594"/>
                <a:gd name="T109" fmla="*/ 146 h 222"/>
                <a:gd name="T110" fmla="*/ 418 w 1594"/>
                <a:gd name="T111" fmla="*/ 213 h 222"/>
                <a:gd name="T112" fmla="*/ 227 w 1594"/>
                <a:gd name="T113" fmla="*/ 38 h 222"/>
                <a:gd name="T114" fmla="*/ 200 w 1594"/>
                <a:gd name="T115" fmla="*/ 219 h 222"/>
                <a:gd name="T116" fmla="*/ 97 w 1594"/>
                <a:gd name="T117" fmla="*/ 0 h 222"/>
                <a:gd name="T118" fmla="*/ 55 w 1594"/>
                <a:gd name="T119" fmla="*/ 219 h 222"/>
                <a:gd name="T120" fmla="*/ 73 w 1594"/>
                <a:gd name="T121" fmla="*/ 15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94" h="222">
                  <a:moveTo>
                    <a:pt x="1516" y="149"/>
                  </a:moveTo>
                  <a:lnTo>
                    <a:pt x="1549" y="149"/>
                  </a:lnTo>
                  <a:lnTo>
                    <a:pt x="1533" y="38"/>
                  </a:lnTo>
                  <a:lnTo>
                    <a:pt x="1516" y="149"/>
                  </a:lnTo>
                  <a:close/>
                  <a:moveTo>
                    <a:pt x="1594" y="219"/>
                  </a:moveTo>
                  <a:lnTo>
                    <a:pt x="1559" y="219"/>
                  </a:lnTo>
                  <a:lnTo>
                    <a:pt x="1554" y="179"/>
                  </a:lnTo>
                  <a:lnTo>
                    <a:pt x="1512" y="179"/>
                  </a:lnTo>
                  <a:lnTo>
                    <a:pt x="1505" y="219"/>
                  </a:lnTo>
                  <a:lnTo>
                    <a:pt x="1474" y="219"/>
                  </a:lnTo>
                  <a:lnTo>
                    <a:pt x="1508" y="0"/>
                  </a:lnTo>
                  <a:lnTo>
                    <a:pt x="1559" y="0"/>
                  </a:lnTo>
                  <a:lnTo>
                    <a:pt x="1594" y="219"/>
                  </a:lnTo>
                  <a:close/>
                  <a:moveTo>
                    <a:pt x="1394" y="31"/>
                  </a:moveTo>
                  <a:lnTo>
                    <a:pt x="1394" y="105"/>
                  </a:lnTo>
                  <a:lnTo>
                    <a:pt x="1410" y="105"/>
                  </a:lnTo>
                  <a:lnTo>
                    <a:pt x="1414" y="105"/>
                  </a:lnTo>
                  <a:lnTo>
                    <a:pt x="1418" y="104"/>
                  </a:lnTo>
                  <a:lnTo>
                    <a:pt x="1421" y="103"/>
                  </a:lnTo>
                  <a:lnTo>
                    <a:pt x="1423" y="101"/>
                  </a:lnTo>
                  <a:lnTo>
                    <a:pt x="1425" y="99"/>
                  </a:lnTo>
                  <a:lnTo>
                    <a:pt x="1426" y="94"/>
                  </a:lnTo>
                  <a:lnTo>
                    <a:pt x="1427" y="90"/>
                  </a:lnTo>
                  <a:lnTo>
                    <a:pt x="1427" y="85"/>
                  </a:lnTo>
                  <a:lnTo>
                    <a:pt x="1427" y="52"/>
                  </a:lnTo>
                  <a:lnTo>
                    <a:pt x="1427" y="47"/>
                  </a:lnTo>
                  <a:lnTo>
                    <a:pt x="1426" y="41"/>
                  </a:lnTo>
                  <a:lnTo>
                    <a:pt x="1425" y="38"/>
                  </a:lnTo>
                  <a:lnTo>
                    <a:pt x="1423" y="35"/>
                  </a:lnTo>
                  <a:lnTo>
                    <a:pt x="1421" y="33"/>
                  </a:lnTo>
                  <a:lnTo>
                    <a:pt x="1418" y="32"/>
                  </a:lnTo>
                  <a:lnTo>
                    <a:pt x="1414" y="31"/>
                  </a:lnTo>
                  <a:lnTo>
                    <a:pt x="1410" y="31"/>
                  </a:lnTo>
                  <a:lnTo>
                    <a:pt x="1394" y="31"/>
                  </a:lnTo>
                  <a:close/>
                  <a:moveTo>
                    <a:pt x="1462" y="54"/>
                  </a:moveTo>
                  <a:lnTo>
                    <a:pt x="1462" y="83"/>
                  </a:lnTo>
                  <a:lnTo>
                    <a:pt x="1461" y="89"/>
                  </a:lnTo>
                  <a:lnTo>
                    <a:pt x="1461" y="94"/>
                  </a:lnTo>
                  <a:lnTo>
                    <a:pt x="1460" y="101"/>
                  </a:lnTo>
                  <a:lnTo>
                    <a:pt x="1459" y="106"/>
                  </a:lnTo>
                  <a:lnTo>
                    <a:pt x="1457" y="110"/>
                  </a:lnTo>
                  <a:lnTo>
                    <a:pt x="1455" y="115"/>
                  </a:lnTo>
                  <a:lnTo>
                    <a:pt x="1451" y="119"/>
                  </a:lnTo>
                  <a:lnTo>
                    <a:pt x="1449" y="123"/>
                  </a:lnTo>
                  <a:lnTo>
                    <a:pt x="1445" y="126"/>
                  </a:lnTo>
                  <a:lnTo>
                    <a:pt x="1442" y="129"/>
                  </a:lnTo>
                  <a:lnTo>
                    <a:pt x="1438" y="131"/>
                  </a:lnTo>
                  <a:lnTo>
                    <a:pt x="1432" y="133"/>
                  </a:lnTo>
                  <a:lnTo>
                    <a:pt x="1428" y="135"/>
                  </a:lnTo>
                  <a:lnTo>
                    <a:pt x="1423" y="136"/>
                  </a:lnTo>
                  <a:lnTo>
                    <a:pt x="1416" y="137"/>
                  </a:lnTo>
                  <a:lnTo>
                    <a:pt x="1410" y="137"/>
                  </a:lnTo>
                  <a:lnTo>
                    <a:pt x="1394" y="137"/>
                  </a:lnTo>
                  <a:lnTo>
                    <a:pt x="1394" y="219"/>
                  </a:lnTo>
                  <a:lnTo>
                    <a:pt x="1359" y="219"/>
                  </a:lnTo>
                  <a:lnTo>
                    <a:pt x="1359" y="0"/>
                  </a:lnTo>
                  <a:lnTo>
                    <a:pt x="1410" y="0"/>
                  </a:lnTo>
                  <a:lnTo>
                    <a:pt x="1416" y="0"/>
                  </a:lnTo>
                  <a:lnTo>
                    <a:pt x="1423" y="0"/>
                  </a:lnTo>
                  <a:lnTo>
                    <a:pt x="1428" y="1"/>
                  </a:lnTo>
                  <a:lnTo>
                    <a:pt x="1432" y="3"/>
                  </a:lnTo>
                  <a:lnTo>
                    <a:pt x="1438" y="6"/>
                  </a:lnTo>
                  <a:lnTo>
                    <a:pt x="1442" y="8"/>
                  </a:lnTo>
                  <a:lnTo>
                    <a:pt x="1445" y="11"/>
                  </a:lnTo>
                  <a:lnTo>
                    <a:pt x="1449" y="14"/>
                  </a:lnTo>
                  <a:lnTo>
                    <a:pt x="1451" y="17"/>
                  </a:lnTo>
                  <a:lnTo>
                    <a:pt x="1455" y="21"/>
                  </a:lnTo>
                  <a:lnTo>
                    <a:pt x="1457" y="26"/>
                  </a:lnTo>
                  <a:lnTo>
                    <a:pt x="1459" y="31"/>
                  </a:lnTo>
                  <a:lnTo>
                    <a:pt x="1460" y="36"/>
                  </a:lnTo>
                  <a:lnTo>
                    <a:pt x="1461" y="41"/>
                  </a:lnTo>
                  <a:lnTo>
                    <a:pt x="1461" y="48"/>
                  </a:lnTo>
                  <a:lnTo>
                    <a:pt x="1462" y="54"/>
                  </a:lnTo>
                  <a:close/>
                  <a:moveTo>
                    <a:pt x="1266" y="31"/>
                  </a:moveTo>
                  <a:lnTo>
                    <a:pt x="1266" y="105"/>
                  </a:lnTo>
                  <a:lnTo>
                    <a:pt x="1283" y="105"/>
                  </a:lnTo>
                  <a:lnTo>
                    <a:pt x="1286" y="105"/>
                  </a:lnTo>
                  <a:lnTo>
                    <a:pt x="1290" y="104"/>
                  </a:lnTo>
                  <a:lnTo>
                    <a:pt x="1293" y="103"/>
                  </a:lnTo>
                  <a:lnTo>
                    <a:pt x="1295" y="101"/>
                  </a:lnTo>
                  <a:lnTo>
                    <a:pt x="1297" y="99"/>
                  </a:lnTo>
                  <a:lnTo>
                    <a:pt x="1298" y="94"/>
                  </a:lnTo>
                  <a:lnTo>
                    <a:pt x="1299" y="90"/>
                  </a:lnTo>
                  <a:lnTo>
                    <a:pt x="1300" y="85"/>
                  </a:lnTo>
                  <a:lnTo>
                    <a:pt x="1300" y="52"/>
                  </a:lnTo>
                  <a:lnTo>
                    <a:pt x="1299" y="47"/>
                  </a:lnTo>
                  <a:lnTo>
                    <a:pt x="1298" y="41"/>
                  </a:lnTo>
                  <a:lnTo>
                    <a:pt x="1297" y="38"/>
                  </a:lnTo>
                  <a:lnTo>
                    <a:pt x="1295" y="35"/>
                  </a:lnTo>
                  <a:lnTo>
                    <a:pt x="1293" y="33"/>
                  </a:lnTo>
                  <a:lnTo>
                    <a:pt x="1290" y="32"/>
                  </a:lnTo>
                  <a:lnTo>
                    <a:pt x="1286" y="31"/>
                  </a:lnTo>
                  <a:lnTo>
                    <a:pt x="1283" y="31"/>
                  </a:lnTo>
                  <a:lnTo>
                    <a:pt x="1266" y="31"/>
                  </a:lnTo>
                  <a:close/>
                  <a:moveTo>
                    <a:pt x="1334" y="54"/>
                  </a:moveTo>
                  <a:lnTo>
                    <a:pt x="1334" y="83"/>
                  </a:lnTo>
                  <a:lnTo>
                    <a:pt x="1334" y="89"/>
                  </a:lnTo>
                  <a:lnTo>
                    <a:pt x="1333" y="94"/>
                  </a:lnTo>
                  <a:lnTo>
                    <a:pt x="1332" y="101"/>
                  </a:lnTo>
                  <a:lnTo>
                    <a:pt x="1331" y="106"/>
                  </a:lnTo>
                  <a:lnTo>
                    <a:pt x="1329" y="110"/>
                  </a:lnTo>
                  <a:lnTo>
                    <a:pt x="1327" y="115"/>
                  </a:lnTo>
                  <a:lnTo>
                    <a:pt x="1324" y="119"/>
                  </a:lnTo>
                  <a:lnTo>
                    <a:pt x="1321" y="123"/>
                  </a:lnTo>
                  <a:lnTo>
                    <a:pt x="1318" y="126"/>
                  </a:lnTo>
                  <a:lnTo>
                    <a:pt x="1314" y="129"/>
                  </a:lnTo>
                  <a:lnTo>
                    <a:pt x="1310" y="131"/>
                  </a:lnTo>
                  <a:lnTo>
                    <a:pt x="1305" y="133"/>
                  </a:lnTo>
                  <a:lnTo>
                    <a:pt x="1300" y="135"/>
                  </a:lnTo>
                  <a:lnTo>
                    <a:pt x="1295" y="136"/>
                  </a:lnTo>
                  <a:lnTo>
                    <a:pt x="1289" y="137"/>
                  </a:lnTo>
                  <a:lnTo>
                    <a:pt x="1283" y="137"/>
                  </a:lnTo>
                  <a:lnTo>
                    <a:pt x="1266" y="137"/>
                  </a:lnTo>
                  <a:lnTo>
                    <a:pt x="1266" y="219"/>
                  </a:lnTo>
                  <a:lnTo>
                    <a:pt x="1232" y="219"/>
                  </a:lnTo>
                  <a:lnTo>
                    <a:pt x="1232" y="0"/>
                  </a:lnTo>
                  <a:lnTo>
                    <a:pt x="1283" y="0"/>
                  </a:lnTo>
                  <a:lnTo>
                    <a:pt x="1289" y="0"/>
                  </a:lnTo>
                  <a:lnTo>
                    <a:pt x="1295" y="0"/>
                  </a:lnTo>
                  <a:lnTo>
                    <a:pt x="1300" y="1"/>
                  </a:lnTo>
                  <a:lnTo>
                    <a:pt x="1305" y="3"/>
                  </a:lnTo>
                  <a:lnTo>
                    <a:pt x="1310" y="6"/>
                  </a:lnTo>
                  <a:lnTo>
                    <a:pt x="1314" y="8"/>
                  </a:lnTo>
                  <a:lnTo>
                    <a:pt x="1318" y="11"/>
                  </a:lnTo>
                  <a:lnTo>
                    <a:pt x="1321" y="14"/>
                  </a:lnTo>
                  <a:lnTo>
                    <a:pt x="1324" y="17"/>
                  </a:lnTo>
                  <a:lnTo>
                    <a:pt x="1327" y="21"/>
                  </a:lnTo>
                  <a:lnTo>
                    <a:pt x="1329" y="26"/>
                  </a:lnTo>
                  <a:lnTo>
                    <a:pt x="1331" y="31"/>
                  </a:lnTo>
                  <a:lnTo>
                    <a:pt x="1332" y="36"/>
                  </a:lnTo>
                  <a:lnTo>
                    <a:pt x="1333" y="41"/>
                  </a:lnTo>
                  <a:lnTo>
                    <a:pt x="1334" y="48"/>
                  </a:lnTo>
                  <a:lnTo>
                    <a:pt x="1334" y="54"/>
                  </a:lnTo>
                  <a:close/>
                  <a:moveTo>
                    <a:pt x="1132" y="0"/>
                  </a:moveTo>
                  <a:lnTo>
                    <a:pt x="1132" y="169"/>
                  </a:lnTo>
                  <a:lnTo>
                    <a:pt x="1133" y="175"/>
                  </a:lnTo>
                  <a:lnTo>
                    <a:pt x="1134" y="179"/>
                  </a:lnTo>
                  <a:lnTo>
                    <a:pt x="1134" y="181"/>
                  </a:lnTo>
                  <a:lnTo>
                    <a:pt x="1135" y="182"/>
                  </a:lnTo>
                  <a:lnTo>
                    <a:pt x="1137" y="185"/>
                  </a:lnTo>
                  <a:lnTo>
                    <a:pt x="1139" y="187"/>
                  </a:lnTo>
                  <a:lnTo>
                    <a:pt x="1143" y="190"/>
                  </a:lnTo>
                  <a:lnTo>
                    <a:pt x="1147" y="190"/>
                  </a:lnTo>
                  <a:lnTo>
                    <a:pt x="1150" y="191"/>
                  </a:lnTo>
                  <a:lnTo>
                    <a:pt x="1154" y="190"/>
                  </a:lnTo>
                  <a:lnTo>
                    <a:pt x="1157" y="190"/>
                  </a:lnTo>
                  <a:lnTo>
                    <a:pt x="1161" y="187"/>
                  </a:lnTo>
                  <a:lnTo>
                    <a:pt x="1164" y="185"/>
                  </a:lnTo>
                  <a:lnTo>
                    <a:pt x="1166" y="182"/>
                  </a:lnTo>
                  <a:lnTo>
                    <a:pt x="1167" y="179"/>
                  </a:lnTo>
                  <a:lnTo>
                    <a:pt x="1168" y="175"/>
                  </a:lnTo>
                  <a:lnTo>
                    <a:pt x="1168" y="169"/>
                  </a:lnTo>
                  <a:lnTo>
                    <a:pt x="1168" y="0"/>
                  </a:lnTo>
                  <a:lnTo>
                    <a:pt x="1201" y="0"/>
                  </a:lnTo>
                  <a:lnTo>
                    <a:pt x="1201" y="166"/>
                  </a:lnTo>
                  <a:lnTo>
                    <a:pt x="1201" y="173"/>
                  </a:lnTo>
                  <a:lnTo>
                    <a:pt x="1200" y="179"/>
                  </a:lnTo>
                  <a:lnTo>
                    <a:pt x="1199" y="185"/>
                  </a:lnTo>
                  <a:lnTo>
                    <a:pt x="1198" y="191"/>
                  </a:lnTo>
                  <a:lnTo>
                    <a:pt x="1195" y="195"/>
                  </a:lnTo>
                  <a:lnTo>
                    <a:pt x="1193" y="200"/>
                  </a:lnTo>
                  <a:lnTo>
                    <a:pt x="1191" y="203"/>
                  </a:lnTo>
                  <a:lnTo>
                    <a:pt x="1188" y="208"/>
                  </a:lnTo>
                  <a:lnTo>
                    <a:pt x="1184" y="211"/>
                  </a:lnTo>
                  <a:lnTo>
                    <a:pt x="1181" y="214"/>
                  </a:lnTo>
                  <a:lnTo>
                    <a:pt x="1179" y="215"/>
                  </a:lnTo>
                  <a:lnTo>
                    <a:pt x="1176" y="216"/>
                  </a:lnTo>
                  <a:lnTo>
                    <a:pt x="1171" y="218"/>
                  </a:lnTo>
                  <a:lnTo>
                    <a:pt x="1167" y="220"/>
                  </a:lnTo>
                  <a:lnTo>
                    <a:pt x="1162" y="221"/>
                  </a:lnTo>
                  <a:lnTo>
                    <a:pt x="1155" y="221"/>
                  </a:lnTo>
                  <a:lnTo>
                    <a:pt x="1149" y="222"/>
                  </a:lnTo>
                  <a:lnTo>
                    <a:pt x="1144" y="221"/>
                  </a:lnTo>
                  <a:lnTo>
                    <a:pt x="1137" y="221"/>
                  </a:lnTo>
                  <a:lnTo>
                    <a:pt x="1132" y="220"/>
                  </a:lnTo>
                  <a:lnTo>
                    <a:pt x="1127" y="218"/>
                  </a:lnTo>
                  <a:lnTo>
                    <a:pt x="1122" y="216"/>
                  </a:lnTo>
                  <a:lnTo>
                    <a:pt x="1118" y="214"/>
                  </a:lnTo>
                  <a:lnTo>
                    <a:pt x="1114" y="211"/>
                  </a:lnTo>
                  <a:lnTo>
                    <a:pt x="1111" y="208"/>
                  </a:lnTo>
                  <a:lnTo>
                    <a:pt x="1108" y="203"/>
                  </a:lnTo>
                  <a:lnTo>
                    <a:pt x="1106" y="200"/>
                  </a:lnTo>
                  <a:lnTo>
                    <a:pt x="1103" y="195"/>
                  </a:lnTo>
                  <a:lnTo>
                    <a:pt x="1101" y="191"/>
                  </a:lnTo>
                  <a:lnTo>
                    <a:pt x="1100" y="185"/>
                  </a:lnTo>
                  <a:lnTo>
                    <a:pt x="1099" y="179"/>
                  </a:lnTo>
                  <a:lnTo>
                    <a:pt x="1098" y="173"/>
                  </a:lnTo>
                  <a:lnTo>
                    <a:pt x="1098" y="166"/>
                  </a:lnTo>
                  <a:lnTo>
                    <a:pt x="1098" y="0"/>
                  </a:lnTo>
                  <a:lnTo>
                    <a:pt x="1132" y="0"/>
                  </a:lnTo>
                  <a:close/>
                  <a:moveTo>
                    <a:pt x="997" y="149"/>
                  </a:moveTo>
                  <a:lnTo>
                    <a:pt x="1030" y="149"/>
                  </a:lnTo>
                  <a:lnTo>
                    <a:pt x="1014" y="38"/>
                  </a:lnTo>
                  <a:lnTo>
                    <a:pt x="997" y="149"/>
                  </a:lnTo>
                  <a:close/>
                  <a:moveTo>
                    <a:pt x="1076" y="219"/>
                  </a:moveTo>
                  <a:lnTo>
                    <a:pt x="1041" y="219"/>
                  </a:lnTo>
                  <a:lnTo>
                    <a:pt x="1035" y="179"/>
                  </a:lnTo>
                  <a:lnTo>
                    <a:pt x="992" y="179"/>
                  </a:lnTo>
                  <a:lnTo>
                    <a:pt x="987" y="219"/>
                  </a:lnTo>
                  <a:lnTo>
                    <a:pt x="955" y="219"/>
                  </a:lnTo>
                  <a:lnTo>
                    <a:pt x="990" y="0"/>
                  </a:lnTo>
                  <a:lnTo>
                    <a:pt x="1041" y="0"/>
                  </a:lnTo>
                  <a:lnTo>
                    <a:pt x="1076" y="219"/>
                  </a:lnTo>
                  <a:close/>
                  <a:moveTo>
                    <a:pt x="872" y="131"/>
                  </a:moveTo>
                  <a:lnTo>
                    <a:pt x="861" y="151"/>
                  </a:lnTo>
                  <a:lnTo>
                    <a:pt x="861" y="219"/>
                  </a:lnTo>
                  <a:lnTo>
                    <a:pt x="826" y="219"/>
                  </a:lnTo>
                  <a:lnTo>
                    <a:pt x="826" y="0"/>
                  </a:lnTo>
                  <a:lnTo>
                    <a:pt x="861" y="0"/>
                  </a:lnTo>
                  <a:lnTo>
                    <a:pt x="861" y="95"/>
                  </a:lnTo>
                  <a:lnTo>
                    <a:pt x="907" y="0"/>
                  </a:lnTo>
                  <a:lnTo>
                    <a:pt x="941" y="0"/>
                  </a:lnTo>
                  <a:lnTo>
                    <a:pt x="893" y="98"/>
                  </a:lnTo>
                  <a:lnTo>
                    <a:pt x="941" y="219"/>
                  </a:lnTo>
                  <a:lnTo>
                    <a:pt x="906" y="219"/>
                  </a:lnTo>
                  <a:lnTo>
                    <a:pt x="872" y="131"/>
                  </a:lnTo>
                  <a:close/>
                  <a:moveTo>
                    <a:pt x="697" y="0"/>
                  </a:moveTo>
                  <a:lnTo>
                    <a:pt x="804" y="0"/>
                  </a:lnTo>
                  <a:lnTo>
                    <a:pt x="804" y="31"/>
                  </a:lnTo>
                  <a:lnTo>
                    <a:pt x="768" y="31"/>
                  </a:lnTo>
                  <a:lnTo>
                    <a:pt x="768" y="219"/>
                  </a:lnTo>
                  <a:lnTo>
                    <a:pt x="733" y="219"/>
                  </a:lnTo>
                  <a:lnTo>
                    <a:pt x="733" y="31"/>
                  </a:lnTo>
                  <a:lnTo>
                    <a:pt x="697" y="31"/>
                  </a:lnTo>
                  <a:lnTo>
                    <a:pt x="697" y="0"/>
                  </a:lnTo>
                  <a:close/>
                  <a:moveTo>
                    <a:pt x="619" y="92"/>
                  </a:moveTo>
                  <a:lnTo>
                    <a:pt x="666" y="92"/>
                  </a:lnTo>
                  <a:lnTo>
                    <a:pt x="666" y="124"/>
                  </a:lnTo>
                  <a:lnTo>
                    <a:pt x="619" y="124"/>
                  </a:lnTo>
                  <a:lnTo>
                    <a:pt x="619" y="187"/>
                  </a:lnTo>
                  <a:lnTo>
                    <a:pt x="678" y="187"/>
                  </a:lnTo>
                  <a:lnTo>
                    <a:pt x="678" y="219"/>
                  </a:lnTo>
                  <a:lnTo>
                    <a:pt x="584" y="219"/>
                  </a:lnTo>
                  <a:lnTo>
                    <a:pt x="584" y="0"/>
                  </a:lnTo>
                  <a:lnTo>
                    <a:pt x="678" y="0"/>
                  </a:lnTo>
                  <a:lnTo>
                    <a:pt x="678" y="31"/>
                  </a:lnTo>
                  <a:lnTo>
                    <a:pt x="619" y="31"/>
                  </a:lnTo>
                  <a:lnTo>
                    <a:pt x="619" y="92"/>
                  </a:lnTo>
                  <a:close/>
                  <a:moveTo>
                    <a:pt x="492" y="131"/>
                  </a:moveTo>
                  <a:lnTo>
                    <a:pt x="482" y="151"/>
                  </a:lnTo>
                  <a:lnTo>
                    <a:pt x="482" y="219"/>
                  </a:lnTo>
                  <a:lnTo>
                    <a:pt x="447" y="219"/>
                  </a:lnTo>
                  <a:lnTo>
                    <a:pt x="447" y="0"/>
                  </a:lnTo>
                  <a:lnTo>
                    <a:pt x="482" y="0"/>
                  </a:lnTo>
                  <a:lnTo>
                    <a:pt x="482" y="95"/>
                  </a:lnTo>
                  <a:lnTo>
                    <a:pt x="526" y="0"/>
                  </a:lnTo>
                  <a:lnTo>
                    <a:pt x="561" y="0"/>
                  </a:lnTo>
                  <a:lnTo>
                    <a:pt x="513" y="98"/>
                  </a:lnTo>
                  <a:lnTo>
                    <a:pt x="561" y="219"/>
                  </a:lnTo>
                  <a:lnTo>
                    <a:pt x="525" y="219"/>
                  </a:lnTo>
                  <a:lnTo>
                    <a:pt x="492" y="131"/>
                  </a:lnTo>
                  <a:close/>
                  <a:moveTo>
                    <a:pt x="347" y="31"/>
                  </a:moveTo>
                  <a:lnTo>
                    <a:pt x="347" y="99"/>
                  </a:lnTo>
                  <a:lnTo>
                    <a:pt x="361" y="99"/>
                  </a:lnTo>
                  <a:lnTo>
                    <a:pt x="365" y="99"/>
                  </a:lnTo>
                  <a:lnTo>
                    <a:pt x="370" y="98"/>
                  </a:lnTo>
                  <a:lnTo>
                    <a:pt x="373" y="95"/>
                  </a:lnTo>
                  <a:lnTo>
                    <a:pt x="375" y="94"/>
                  </a:lnTo>
                  <a:lnTo>
                    <a:pt x="376" y="93"/>
                  </a:lnTo>
                  <a:lnTo>
                    <a:pt x="378" y="90"/>
                  </a:lnTo>
                  <a:lnTo>
                    <a:pt x="380" y="86"/>
                  </a:lnTo>
                  <a:lnTo>
                    <a:pt x="381" y="82"/>
                  </a:lnTo>
                  <a:lnTo>
                    <a:pt x="381" y="75"/>
                  </a:lnTo>
                  <a:lnTo>
                    <a:pt x="381" y="53"/>
                  </a:lnTo>
                  <a:lnTo>
                    <a:pt x="381" y="48"/>
                  </a:lnTo>
                  <a:lnTo>
                    <a:pt x="381" y="44"/>
                  </a:lnTo>
                  <a:lnTo>
                    <a:pt x="379" y="39"/>
                  </a:lnTo>
                  <a:lnTo>
                    <a:pt x="378" y="36"/>
                  </a:lnTo>
                  <a:lnTo>
                    <a:pt x="375" y="34"/>
                  </a:lnTo>
                  <a:lnTo>
                    <a:pt x="374" y="33"/>
                  </a:lnTo>
                  <a:lnTo>
                    <a:pt x="372" y="32"/>
                  </a:lnTo>
                  <a:lnTo>
                    <a:pt x="368" y="31"/>
                  </a:lnTo>
                  <a:lnTo>
                    <a:pt x="364" y="31"/>
                  </a:lnTo>
                  <a:lnTo>
                    <a:pt x="347" y="31"/>
                  </a:lnTo>
                  <a:close/>
                  <a:moveTo>
                    <a:pt x="385" y="219"/>
                  </a:moveTo>
                  <a:lnTo>
                    <a:pt x="384" y="215"/>
                  </a:lnTo>
                  <a:lnTo>
                    <a:pt x="383" y="211"/>
                  </a:lnTo>
                  <a:lnTo>
                    <a:pt x="382" y="203"/>
                  </a:lnTo>
                  <a:lnTo>
                    <a:pt x="382" y="192"/>
                  </a:lnTo>
                  <a:lnTo>
                    <a:pt x="382" y="158"/>
                  </a:lnTo>
                  <a:lnTo>
                    <a:pt x="381" y="150"/>
                  </a:lnTo>
                  <a:lnTo>
                    <a:pt x="381" y="145"/>
                  </a:lnTo>
                  <a:lnTo>
                    <a:pt x="379" y="140"/>
                  </a:lnTo>
                  <a:lnTo>
                    <a:pt x="377" y="136"/>
                  </a:lnTo>
                  <a:lnTo>
                    <a:pt x="375" y="135"/>
                  </a:lnTo>
                  <a:lnTo>
                    <a:pt x="374" y="133"/>
                  </a:lnTo>
                  <a:lnTo>
                    <a:pt x="370" y="131"/>
                  </a:lnTo>
                  <a:lnTo>
                    <a:pt x="365" y="130"/>
                  </a:lnTo>
                  <a:lnTo>
                    <a:pt x="359" y="129"/>
                  </a:lnTo>
                  <a:lnTo>
                    <a:pt x="347" y="129"/>
                  </a:lnTo>
                  <a:lnTo>
                    <a:pt x="347" y="219"/>
                  </a:lnTo>
                  <a:lnTo>
                    <a:pt x="313" y="219"/>
                  </a:lnTo>
                  <a:lnTo>
                    <a:pt x="313" y="0"/>
                  </a:lnTo>
                  <a:lnTo>
                    <a:pt x="365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83" y="1"/>
                  </a:lnTo>
                  <a:lnTo>
                    <a:pt x="389" y="2"/>
                  </a:lnTo>
                  <a:lnTo>
                    <a:pt x="393" y="4"/>
                  </a:lnTo>
                  <a:lnTo>
                    <a:pt x="397" y="7"/>
                  </a:lnTo>
                  <a:lnTo>
                    <a:pt x="400" y="10"/>
                  </a:lnTo>
                  <a:lnTo>
                    <a:pt x="404" y="12"/>
                  </a:lnTo>
                  <a:lnTo>
                    <a:pt x="407" y="16"/>
                  </a:lnTo>
                  <a:lnTo>
                    <a:pt x="410" y="19"/>
                  </a:lnTo>
                  <a:lnTo>
                    <a:pt x="412" y="23"/>
                  </a:lnTo>
                  <a:lnTo>
                    <a:pt x="413" y="28"/>
                  </a:lnTo>
                  <a:lnTo>
                    <a:pt x="414" y="33"/>
                  </a:lnTo>
                  <a:lnTo>
                    <a:pt x="415" y="38"/>
                  </a:lnTo>
                  <a:lnTo>
                    <a:pt x="416" y="44"/>
                  </a:lnTo>
                  <a:lnTo>
                    <a:pt x="416" y="50"/>
                  </a:lnTo>
                  <a:lnTo>
                    <a:pt x="416" y="68"/>
                  </a:lnTo>
                  <a:lnTo>
                    <a:pt x="416" y="75"/>
                  </a:lnTo>
                  <a:lnTo>
                    <a:pt x="415" y="83"/>
                  </a:lnTo>
                  <a:lnTo>
                    <a:pt x="413" y="89"/>
                  </a:lnTo>
                  <a:lnTo>
                    <a:pt x="411" y="95"/>
                  </a:lnTo>
                  <a:lnTo>
                    <a:pt x="409" y="99"/>
                  </a:lnTo>
                  <a:lnTo>
                    <a:pt x="408" y="101"/>
                  </a:lnTo>
                  <a:lnTo>
                    <a:pt x="405" y="103"/>
                  </a:lnTo>
                  <a:lnTo>
                    <a:pt x="403" y="105"/>
                  </a:lnTo>
                  <a:lnTo>
                    <a:pt x="399" y="109"/>
                  </a:lnTo>
                  <a:lnTo>
                    <a:pt x="394" y="112"/>
                  </a:lnTo>
                  <a:lnTo>
                    <a:pt x="397" y="113"/>
                  </a:lnTo>
                  <a:lnTo>
                    <a:pt x="399" y="115"/>
                  </a:lnTo>
                  <a:lnTo>
                    <a:pt x="402" y="117"/>
                  </a:lnTo>
                  <a:lnTo>
                    <a:pt x="404" y="119"/>
                  </a:lnTo>
                  <a:lnTo>
                    <a:pt x="409" y="124"/>
                  </a:lnTo>
                  <a:lnTo>
                    <a:pt x="412" y="129"/>
                  </a:lnTo>
                  <a:lnTo>
                    <a:pt x="414" y="136"/>
                  </a:lnTo>
                  <a:lnTo>
                    <a:pt x="415" y="143"/>
                  </a:lnTo>
                  <a:lnTo>
                    <a:pt x="416" y="146"/>
                  </a:lnTo>
                  <a:lnTo>
                    <a:pt x="416" y="150"/>
                  </a:lnTo>
                  <a:lnTo>
                    <a:pt x="416" y="159"/>
                  </a:lnTo>
                  <a:lnTo>
                    <a:pt x="416" y="193"/>
                  </a:lnTo>
                  <a:lnTo>
                    <a:pt x="416" y="200"/>
                  </a:lnTo>
                  <a:lnTo>
                    <a:pt x="417" y="206"/>
                  </a:lnTo>
                  <a:lnTo>
                    <a:pt x="418" y="213"/>
                  </a:lnTo>
                  <a:lnTo>
                    <a:pt x="419" y="216"/>
                  </a:lnTo>
                  <a:lnTo>
                    <a:pt x="420" y="219"/>
                  </a:lnTo>
                  <a:lnTo>
                    <a:pt x="385" y="219"/>
                  </a:lnTo>
                  <a:close/>
                  <a:moveTo>
                    <a:pt x="211" y="149"/>
                  </a:moveTo>
                  <a:lnTo>
                    <a:pt x="244" y="149"/>
                  </a:lnTo>
                  <a:lnTo>
                    <a:pt x="227" y="38"/>
                  </a:lnTo>
                  <a:lnTo>
                    <a:pt x="211" y="149"/>
                  </a:lnTo>
                  <a:close/>
                  <a:moveTo>
                    <a:pt x="289" y="219"/>
                  </a:moveTo>
                  <a:lnTo>
                    <a:pt x="254" y="219"/>
                  </a:lnTo>
                  <a:lnTo>
                    <a:pt x="249" y="179"/>
                  </a:lnTo>
                  <a:lnTo>
                    <a:pt x="207" y="179"/>
                  </a:lnTo>
                  <a:lnTo>
                    <a:pt x="200" y="219"/>
                  </a:lnTo>
                  <a:lnTo>
                    <a:pt x="169" y="219"/>
                  </a:lnTo>
                  <a:lnTo>
                    <a:pt x="203" y="0"/>
                  </a:lnTo>
                  <a:lnTo>
                    <a:pt x="254" y="0"/>
                  </a:lnTo>
                  <a:lnTo>
                    <a:pt x="289" y="219"/>
                  </a:lnTo>
                  <a:close/>
                  <a:moveTo>
                    <a:pt x="73" y="156"/>
                  </a:moveTo>
                  <a:lnTo>
                    <a:pt x="97" y="0"/>
                  </a:lnTo>
                  <a:lnTo>
                    <a:pt x="145" y="0"/>
                  </a:lnTo>
                  <a:lnTo>
                    <a:pt x="145" y="219"/>
                  </a:lnTo>
                  <a:lnTo>
                    <a:pt x="113" y="219"/>
                  </a:lnTo>
                  <a:lnTo>
                    <a:pt x="113" y="62"/>
                  </a:lnTo>
                  <a:lnTo>
                    <a:pt x="88" y="219"/>
                  </a:lnTo>
                  <a:lnTo>
                    <a:pt x="55" y="219"/>
                  </a:lnTo>
                  <a:lnTo>
                    <a:pt x="30" y="64"/>
                  </a:lnTo>
                  <a:lnTo>
                    <a:pt x="30" y="219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48" y="0"/>
                  </a:lnTo>
                  <a:lnTo>
                    <a:pt x="73" y="1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97882233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F95059-81E0-4885-B39F-F4B31C84443A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30"/>
            <p:cNvSpPr>
              <a:spLocks noEditPoints="1"/>
            </p:cNvSpPr>
            <p:nvPr userDrawn="1"/>
          </p:nvSpPr>
          <p:spPr bwMode="auto">
            <a:xfrm>
              <a:off x="9094170" y="6475574"/>
              <a:ext cx="1502915" cy="209315"/>
            </a:xfrm>
            <a:custGeom>
              <a:avLst/>
              <a:gdLst>
                <a:gd name="T0" fmla="*/ 1559 w 1594"/>
                <a:gd name="T1" fmla="*/ 219 h 222"/>
                <a:gd name="T2" fmla="*/ 1559 w 1594"/>
                <a:gd name="T3" fmla="*/ 0 h 222"/>
                <a:gd name="T4" fmla="*/ 1418 w 1594"/>
                <a:gd name="T5" fmla="*/ 104 h 222"/>
                <a:gd name="T6" fmla="*/ 1427 w 1594"/>
                <a:gd name="T7" fmla="*/ 85 h 222"/>
                <a:gd name="T8" fmla="*/ 1421 w 1594"/>
                <a:gd name="T9" fmla="*/ 33 h 222"/>
                <a:gd name="T10" fmla="*/ 1462 w 1594"/>
                <a:gd name="T11" fmla="*/ 83 h 222"/>
                <a:gd name="T12" fmla="*/ 1455 w 1594"/>
                <a:gd name="T13" fmla="*/ 115 h 222"/>
                <a:gd name="T14" fmla="*/ 1432 w 1594"/>
                <a:gd name="T15" fmla="*/ 133 h 222"/>
                <a:gd name="T16" fmla="*/ 1394 w 1594"/>
                <a:gd name="T17" fmla="*/ 219 h 222"/>
                <a:gd name="T18" fmla="*/ 1428 w 1594"/>
                <a:gd name="T19" fmla="*/ 1 h 222"/>
                <a:gd name="T20" fmla="*/ 1451 w 1594"/>
                <a:gd name="T21" fmla="*/ 17 h 222"/>
                <a:gd name="T22" fmla="*/ 1461 w 1594"/>
                <a:gd name="T23" fmla="*/ 48 h 222"/>
                <a:gd name="T24" fmla="*/ 1290 w 1594"/>
                <a:gd name="T25" fmla="*/ 104 h 222"/>
                <a:gd name="T26" fmla="*/ 1300 w 1594"/>
                <a:gd name="T27" fmla="*/ 85 h 222"/>
                <a:gd name="T28" fmla="*/ 1293 w 1594"/>
                <a:gd name="T29" fmla="*/ 33 h 222"/>
                <a:gd name="T30" fmla="*/ 1334 w 1594"/>
                <a:gd name="T31" fmla="*/ 83 h 222"/>
                <a:gd name="T32" fmla="*/ 1327 w 1594"/>
                <a:gd name="T33" fmla="*/ 115 h 222"/>
                <a:gd name="T34" fmla="*/ 1305 w 1594"/>
                <a:gd name="T35" fmla="*/ 133 h 222"/>
                <a:gd name="T36" fmla="*/ 1266 w 1594"/>
                <a:gd name="T37" fmla="*/ 219 h 222"/>
                <a:gd name="T38" fmla="*/ 1300 w 1594"/>
                <a:gd name="T39" fmla="*/ 1 h 222"/>
                <a:gd name="T40" fmla="*/ 1324 w 1594"/>
                <a:gd name="T41" fmla="*/ 17 h 222"/>
                <a:gd name="T42" fmla="*/ 1334 w 1594"/>
                <a:gd name="T43" fmla="*/ 48 h 222"/>
                <a:gd name="T44" fmla="*/ 1134 w 1594"/>
                <a:gd name="T45" fmla="*/ 181 h 222"/>
                <a:gd name="T46" fmla="*/ 1150 w 1594"/>
                <a:gd name="T47" fmla="*/ 191 h 222"/>
                <a:gd name="T48" fmla="*/ 1167 w 1594"/>
                <a:gd name="T49" fmla="*/ 179 h 222"/>
                <a:gd name="T50" fmla="*/ 1201 w 1594"/>
                <a:gd name="T51" fmla="*/ 173 h 222"/>
                <a:gd name="T52" fmla="*/ 1191 w 1594"/>
                <a:gd name="T53" fmla="*/ 203 h 222"/>
                <a:gd name="T54" fmla="*/ 1171 w 1594"/>
                <a:gd name="T55" fmla="*/ 218 h 222"/>
                <a:gd name="T56" fmla="*/ 1137 w 1594"/>
                <a:gd name="T57" fmla="*/ 221 h 222"/>
                <a:gd name="T58" fmla="*/ 1111 w 1594"/>
                <a:gd name="T59" fmla="*/ 208 h 222"/>
                <a:gd name="T60" fmla="*/ 1099 w 1594"/>
                <a:gd name="T61" fmla="*/ 179 h 222"/>
                <a:gd name="T62" fmla="*/ 1030 w 1594"/>
                <a:gd name="T63" fmla="*/ 149 h 222"/>
                <a:gd name="T64" fmla="*/ 992 w 1594"/>
                <a:gd name="T65" fmla="*/ 179 h 222"/>
                <a:gd name="T66" fmla="*/ 872 w 1594"/>
                <a:gd name="T67" fmla="*/ 131 h 222"/>
                <a:gd name="T68" fmla="*/ 861 w 1594"/>
                <a:gd name="T69" fmla="*/ 95 h 222"/>
                <a:gd name="T70" fmla="*/ 872 w 1594"/>
                <a:gd name="T71" fmla="*/ 131 h 222"/>
                <a:gd name="T72" fmla="*/ 733 w 1594"/>
                <a:gd name="T73" fmla="*/ 219 h 222"/>
                <a:gd name="T74" fmla="*/ 666 w 1594"/>
                <a:gd name="T75" fmla="*/ 124 h 222"/>
                <a:gd name="T76" fmla="*/ 584 w 1594"/>
                <a:gd name="T77" fmla="*/ 0 h 222"/>
                <a:gd name="T78" fmla="*/ 482 w 1594"/>
                <a:gd name="T79" fmla="*/ 151 h 222"/>
                <a:gd name="T80" fmla="*/ 526 w 1594"/>
                <a:gd name="T81" fmla="*/ 0 h 222"/>
                <a:gd name="T82" fmla="*/ 347 w 1594"/>
                <a:gd name="T83" fmla="*/ 31 h 222"/>
                <a:gd name="T84" fmla="*/ 375 w 1594"/>
                <a:gd name="T85" fmla="*/ 94 h 222"/>
                <a:gd name="T86" fmla="*/ 381 w 1594"/>
                <a:gd name="T87" fmla="*/ 53 h 222"/>
                <a:gd name="T88" fmla="*/ 374 w 1594"/>
                <a:gd name="T89" fmla="*/ 33 h 222"/>
                <a:gd name="T90" fmla="*/ 384 w 1594"/>
                <a:gd name="T91" fmla="*/ 215 h 222"/>
                <a:gd name="T92" fmla="*/ 381 w 1594"/>
                <a:gd name="T93" fmla="*/ 145 h 222"/>
                <a:gd name="T94" fmla="*/ 365 w 1594"/>
                <a:gd name="T95" fmla="*/ 130 h 222"/>
                <a:gd name="T96" fmla="*/ 365 w 1594"/>
                <a:gd name="T97" fmla="*/ 0 h 222"/>
                <a:gd name="T98" fmla="*/ 397 w 1594"/>
                <a:gd name="T99" fmla="*/ 7 h 222"/>
                <a:gd name="T100" fmla="*/ 413 w 1594"/>
                <a:gd name="T101" fmla="*/ 28 h 222"/>
                <a:gd name="T102" fmla="*/ 416 w 1594"/>
                <a:gd name="T103" fmla="*/ 75 h 222"/>
                <a:gd name="T104" fmla="*/ 405 w 1594"/>
                <a:gd name="T105" fmla="*/ 103 h 222"/>
                <a:gd name="T106" fmla="*/ 402 w 1594"/>
                <a:gd name="T107" fmla="*/ 117 h 222"/>
                <a:gd name="T108" fmla="*/ 416 w 1594"/>
                <a:gd name="T109" fmla="*/ 146 h 222"/>
                <a:gd name="T110" fmla="*/ 418 w 1594"/>
                <a:gd name="T111" fmla="*/ 213 h 222"/>
                <a:gd name="T112" fmla="*/ 227 w 1594"/>
                <a:gd name="T113" fmla="*/ 38 h 222"/>
                <a:gd name="T114" fmla="*/ 200 w 1594"/>
                <a:gd name="T115" fmla="*/ 219 h 222"/>
                <a:gd name="T116" fmla="*/ 97 w 1594"/>
                <a:gd name="T117" fmla="*/ 0 h 222"/>
                <a:gd name="T118" fmla="*/ 55 w 1594"/>
                <a:gd name="T119" fmla="*/ 219 h 222"/>
                <a:gd name="T120" fmla="*/ 73 w 1594"/>
                <a:gd name="T121" fmla="*/ 15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94" h="222">
                  <a:moveTo>
                    <a:pt x="1516" y="149"/>
                  </a:moveTo>
                  <a:lnTo>
                    <a:pt x="1549" y="149"/>
                  </a:lnTo>
                  <a:lnTo>
                    <a:pt x="1533" y="38"/>
                  </a:lnTo>
                  <a:lnTo>
                    <a:pt x="1516" y="149"/>
                  </a:lnTo>
                  <a:close/>
                  <a:moveTo>
                    <a:pt x="1594" y="219"/>
                  </a:moveTo>
                  <a:lnTo>
                    <a:pt x="1559" y="219"/>
                  </a:lnTo>
                  <a:lnTo>
                    <a:pt x="1554" y="179"/>
                  </a:lnTo>
                  <a:lnTo>
                    <a:pt x="1512" y="179"/>
                  </a:lnTo>
                  <a:lnTo>
                    <a:pt x="1505" y="219"/>
                  </a:lnTo>
                  <a:lnTo>
                    <a:pt x="1474" y="219"/>
                  </a:lnTo>
                  <a:lnTo>
                    <a:pt x="1508" y="0"/>
                  </a:lnTo>
                  <a:lnTo>
                    <a:pt x="1559" y="0"/>
                  </a:lnTo>
                  <a:lnTo>
                    <a:pt x="1594" y="219"/>
                  </a:lnTo>
                  <a:close/>
                  <a:moveTo>
                    <a:pt x="1394" y="31"/>
                  </a:moveTo>
                  <a:lnTo>
                    <a:pt x="1394" y="105"/>
                  </a:lnTo>
                  <a:lnTo>
                    <a:pt x="1410" y="105"/>
                  </a:lnTo>
                  <a:lnTo>
                    <a:pt x="1414" y="105"/>
                  </a:lnTo>
                  <a:lnTo>
                    <a:pt x="1418" y="104"/>
                  </a:lnTo>
                  <a:lnTo>
                    <a:pt x="1421" y="103"/>
                  </a:lnTo>
                  <a:lnTo>
                    <a:pt x="1423" y="101"/>
                  </a:lnTo>
                  <a:lnTo>
                    <a:pt x="1425" y="99"/>
                  </a:lnTo>
                  <a:lnTo>
                    <a:pt x="1426" y="94"/>
                  </a:lnTo>
                  <a:lnTo>
                    <a:pt x="1427" y="90"/>
                  </a:lnTo>
                  <a:lnTo>
                    <a:pt x="1427" y="85"/>
                  </a:lnTo>
                  <a:lnTo>
                    <a:pt x="1427" y="52"/>
                  </a:lnTo>
                  <a:lnTo>
                    <a:pt x="1427" y="47"/>
                  </a:lnTo>
                  <a:lnTo>
                    <a:pt x="1426" y="41"/>
                  </a:lnTo>
                  <a:lnTo>
                    <a:pt x="1425" y="38"/>
                  </a:lnTo>
                  <a:lnTo>
                    <a:pt x="1423" y="35"/>
                  </a:lnTo>
                  <a:lnTo>
                    <a:pt x="1421" y="33"/>
                  </a:lnTo>
                  <a:lnTo>
                    <a:pt x="1418" y="32"/>
                  </a:lnTo>
                  <a:lnTo>
                    <a:pt x="1414" y="31"/>
                  </a:lnTo>
                  <a:lnTo>
                    <a:pt x="1410" y="31"/>
                  </a:lnTo>
                  <a:lnTo>
                    <a:pt x="1394" y="31"/>
                  </a:lnTo>
                  <a:close/>
                  <a:moveTo>
                    <a:pt x="1462" y="54"/>
                  </a:moveTo>
                  <a:lnTo>
                    <a:pt x="1462" y="83"/>
                  </a:lnTo>
                  <a:lnTo>
                    <a:pt x="1461" y="89"/>
                  </a:lnTo>
                  <a:lnTo>
                    <a:pt x="1461" y="94"/>
                  </a:lnTo>
                  <a:lnTo>
                    <a:pt x="1460" y="101"/>
                  </a:lnTo>
                  <a:lnTo>
                    <a:pt x="1459" y="106"/>
                  </a:lnTo>
                  <a:lnTo>
                    <a:pt x="1457" y="110"/>
                  </a:lnTo>
                  <a:lnTo>
                    <a:pt x="1455" y="115"/>
                  </a:lnTo>
                  <a:lnTo>
                    <a:pt x="1451" y="119"/>
                  </a:lnTo>
                  <a:lnTo>
                    <a:pt x="1449" y="123"/>
                  </a:lnTo>
                  <a:lnTo>
                    <a:pt x="1445" y="126"/>
                  </a:lnTo>
                  <a:lnTo>
                    <a:pt x="1442" y="129"/>
                  </a:lnTo>
                  <a:lnTo>
                    <a:pt x="1438" y="131"/>
                  </a:lnTo>
                  <a:lnTo>
                    <a:pt x="1432" y="133"/>
                  </a:lnTo>
                  <a:lnTo>
                    <a:pt x="1428" y="135"/>
                  </a:lnTo>
                  <a:lnTo>
                    <a:pt x="1423" y="136"/>
                  </a:lnTo>
                  <a:lnTo>
                    <a:pt x="1416" y="137"/>
                  </a:lnTo>
                  <a:lnTo>
                    <a:pt x="1410" y="137"/>
                  </a:lnTo>
                  <a:lnTo>
                    <a:pt x="1394" y="137"/>
                  </a:lnTo>
                  <a:lnTo>
                    <a:pt x="1394" y="219"/>
                  </a:lnTo>
                  <a:lnTo>
                    <a:pt x="1359" y="219"/>
                  </a:lnTo>
                  <a:lnTo>
                    <a:pt x="1359" y="0"/>
                  </a:lnTo>
                  <a:lnTo>
                    <a:pt x="1410" y="0"/>
                  </a:lnTo>
                  <a:lnTo>
                    <a:pt x="1416" y="0"/>
                  </a:lnTo>
                  <a:lnTo>
                    <a:pt x="1423" y="0"/>
                  </a:lnTo>
                  <a:lnTo>
                    <a:pt x="1428" y="1"/>
                  </a:lnTo>
                  <a:lnTo>
                    <a:pt x="1432" y="3"/>
                  </a:lnTo>
                  <a:lnTo>
                    <a:pt x="1438" y="6"/>
                  </a:lnTo>
                  <a:lnTo>
                    <a:pt x="1442" y="8"/>
                  </a:lnTo>
                  <a:lnTo>
                    <a:pt x="1445" y="11"/>
                  </a:lnTo>
                  <a:lnTo>
                    <a:pt x="1449" y="14"/>
                  </a:lnTo>
                  <a:lnTo>
                    <a:pt x="1451" y="17"/>
                  </a:lnTo>
                  <a:lnTo>
                    <a:pt x="1455" y="21"/>
                  </a:lnTo>
                  <a:lnTo>
                    <a:pt x="1457" y="26"/>
                  </a:lnTo>
                  <a:lnTo>
                    <a:pt x="1459" y="31"/>
                  </a:lnTo>
                  <a:lnTo>
                    <a:pt x="1460" y="36"/>
                  </a:lnTo>
                  <a:lnTo>
                    <a:pt x="1461" y="41"/>
                  </a:lnTo>
                  <a:lnTo>
                    <a:pt x="1461" y="48"/>
                  </a:lnTo>
                  <a:lnTo>
                    <a:pt x="1462" y="54"/>
                  </a:lnTo>
                  <a:close/>
                  <a:moveTo>
                    <a:pt x="1266" y="31"/>
                  </a:moveTo>
                  <a:lnTo>
                    <a:pt x="1266" y="105"/>
                  </a:lnTo>
                  <a:lnTo>
                    <a:pt x="1283" y="105"/>
                  </a:lnTo>
                  <a:lnTo>
                    <a:pt x="1286" y="105"/>
                  </a:lnTo>
                  <a:lnTo>
                    <a:pt x="1290" y="104"/>
                  </a:lnTo>
                  <a:lnTo>
                    <a:pt x="1293" y="103"/>
                  </a:lnTo>
                  <a:lnTo>
                    <a:pt x="1295" y="101"/>
                  </a:lnTo>
                  <a:lnTo>
                    <a:pt x="1297" y="99"/>
                  </a:lnTo>
                  <a:lnTo>
                    <a:pt x="1298" y="94"/>
                  </a:lnTo>
                  <a:lnTo>
                    <a:pt x="1299" y="90"/>
                  </a:lnTo>
                  <a:lnTo>
                    <a:pt x="1300" y="85"/>
                  </a:lnTo>
                  <a:lnTo>
                    <a:pt x="1300" y="52"/>
                  </a:lnTo>
                  <a:lnTo>
                    <a:pt x="1299" y="47"/>
                  </a:lnTo>
                  <a:lnTo>
                    <a:pt x="1298" y="41"/>
                  </a:lnTo>
                  <a:lnTo>
                    <a:pt x="1297" y="38"/>
                  </a:lnTo>
                  <a:lnTo>
                    <a:pt x="1295" y="35"/>
                  </a:lnTo>
                  <a:lnTo>
                    <a:pt x="1293" y="33"/>
                  </a:lnTo>
                  <a:lnTo>
                    <a:pt x="1290" y="32"/>
                  </a:lnTo>
                  <a:lnTo>
                    <a:pt x="1286" y="31"/>
                  </a:lnTo>
                  <a:lnTo>
                    <a:pt x="1283" y="31"/>
                  </a:lnTo>
                  <a:lnTo>
                    <a:pt x="1266" y="31"/>
                  </a:lnTo>
                  <a:close/>
                  <a:moveTo>
                    <a:pt x="1334" y="54"/>
                  </a:moveTo>
                  <a:lnTo>
                    <a:pt x="1334" y="83"/>
                  </a:lnTo>
                  <a:lnTo>
                    <a:pt x="1334" y="89"/>
                  </a:lnTo>
                  <a:lnTo>
                    <a:pt x="1333" y="94"/>
                  </a:lnTo>
                  <a:lnTo>
                    <a:pt x="1332" y="101"/>
                  </a:lnTo>
                  <a:lnTo>
                    <a:pt x="1331" y="106"/>
                  </a:lnTo>
                  <a:lnTo>
                    <a:pt x="1329" y="110"/>
                  </a:lnTo>
                  <a:lnTo>
                    <a:pt x="1327" y="115"/>
                  </a:lnTo>
                  <a:lnTo>
                    <a:pt x="1324" y="119"/>
                  </a:lnTo>
                  <a:lnTo>
                    <a:pt x="1321" y="123"/>
                  </a:lnTo>
                  <a:lnTo>
                    <a:pt x="1318" y="126"/>
                  </a:lnTo>
                  <a:lnTo>
                    <a:pt x="1314" y="129"/>
                  </a:lnTo>
                  <a:lnTo>
                    <a:pt x="1310" y="131"/>
                  </a:lnTo>
                  <a:lnTo>
                    <a:pt x="1305" y="133"/>
                  </a:lnTo>
                  <a:lnTo>
                    <a:pt x="1300" y="135"/>
                  </a:lnTo>
                  <a:lnTo>
                    <a:pt x="1295" y="136"/>
                  </a:lnTo>
                  <a:lnTo>
                    <a:pt x="1289" y="137"/>
                  </a:lnTo>
                  <a:lnTo>
                    <a:pt x="1283" y="137"/>
                  </a:lnTo>
                  <a:lnTo>
                    <a:pt x="1266" y="137"/>
                  </a:lnTo>
                  <a:lnTo>
                    <a:pt x="1266" y="219"/>
                  </a:lnTo>
                  <a:lnTo>
                    <a:pt x="1232" y="219"/>
                  </a:lnTo>
                  <a:lnTo>
                    <a:pt x="1232" y="0"/>
                  </a:lnTo>
                  <a:lnTo>
                    <a:pt x="1283" y="0"/>
                  </a:lnTo>
                  <a:lnTo>
                    <a:pt x="1289" y="0"/>
                  </a:lnTo>
                  <a:lnTo>
                    <a:pt x="1295" y="0"/>
                  </a:lnTo>
                  <a:lnTo>
                    <a:pt x="1300" y="1"/>
                  </a:lnTo>
                  <a:lnTo>
                    <a:pt x="1305" y="3"/>
                  </a:lnTo>
                  <a:lnTo>
                    <a:pt x="1310" y="6"/>
                  </a:lnTo>
                  <a:lnTo>
                    <a:pt x="1314" y="8"/>
                  </a:lnTo>
                  <a:lnTo>
                    <a:pt x="1318" y="11"/>
                  </a:lnTo>
                  <a:lnTo>
                    <a:pt x="1321" y="14"/>
                  </a:lnTo>
                  <a:lnTo>
                    <a:pt x="1324" y="17"/>
                  </a:lnTo>
                  <a:lnTo>
                    <a:pt x="1327" y="21"/>
                  </a:lnTo>
                  <a:lnTo>
                    <a:pt x="1329" y="26"/>
                  </a:lnTo>
                  <a:lnTo>
                    <a:pt x="1331" y="31"/>
                  </a:lnTo>
                  <a:lnTo>
                    <a:pt x="1332" y="36"/>
                  </a:lnTo>
                  <a:lnTo>
                    <a:pt x="1333" y="41"/>
                  </a:lnTo>
                  <a:lnTo>
                    <a:pt x="1334" y="48"/>
                  </a:lnTo>
                  <a:lnTo>
                    <a:pt x="1334" y="54"/>
                  </a:lnTo>
                  <a:close/>
                  <a:moveTo>
                    <a:pt x="1132" y="0"/>
                  </a:moveTo>
                  <a:lnTo>
                    <a:pt x="1132" y="169"/>
                  </a:lnTo>
                  <a:lnTo>
                    <a:pt x="1133" y="175"/>
                  </a:lnTo>
                  <a:lnTo>
                    <a:pt x="1134" y="179"/>
                  </a:lnTo>
                  <a:lnTo>
                    <a:pt x="1134" y="181"/>
                  </a:lnTo>
                  <a:lnTo>
                    <a:pt x="1135" y="182"/>
                  </a:lnTo>
                  <a:lnTo>
                    <a:pt x="1137" y="185"/>
                  </a:lnTo>
                  <a:lnTo>
                    <a:pt x="1139" y="187"/>
                  </a:lnTo>
                  <a:lnTo>
                    <a:pt x="1143" y="190"/>
                  </a:lnTo>
                  <a:lnTo>
                    <a:pt x="1147" y="190"/>
                  </a:lnTo>
                  <a:lnTo>
                    <a:pt x="1150" y="191"/>
                  </a:lnTo>
                  <a:lnTo>
                    <a:pt x="1154" y="190"/>
                  </a:lnTo>
                  <a:lnTo>
                    <a:pt x="1157" y="190"/>
                  </a:lnTo>
                  <a:lnTo>
                    <a:pt x="1161" y="187"/>
                  </a:lnTo>
                  <a:lnTo>
                    <a:pt x="1164" y="185"/>
                  </a:lnTo>
                  <a:lnTo>
                    <a:pt x="1166" y="182"/>
                  </a:lnTo>
                  <a:lnTo>
                    <a:pt x="1167" y="179"/>
                  </a:lnTo>
                  <a:lnTo>
                    <a:pt x="1168" y="175"/>
                  </a:lnTo>
                  <a:lnTo>
                    <a:pt x="1168" y="169"/>
                  </a:lnTo>
                  <a:lnTo>
                    <a:pt x="1168" y="0"/>
                  </a:lnTo>
                  <a:lnTo>
                    <a:pt x="1201" y="0"/>
                  </a:lnTo>
                  <a:lnTo>
                    <a:pt x="1201" y="166"/>
                  </a:lnTo>
                  <a:lnTo>
                    <a:pt x="1201" y="173"/>
                  </a:lnTo>
                  <a:lnTo>
                    <a:pt x="1200" y="179"/>
                  </a:lnTo>
                  <a:lnTo>
                    <a:pt x="1199" y="185"/>
                  </a:lnTo>
                  <a:lnTo>
                    <a:pt x="1198" y="191"/>
                  </a:lnTo>
                  <a:lnTo>
                    <a:pt x="1195" y="195"/>
                  </a:lnTo>
                  <a:lnTo>
                    <a:pt x="1193" y="200"/>
                  </a:lnTo>
                  <a:lnTo>
                    <a:pt x="1191" y="203"/>
                  </a:lnTo>
                  <a:lnTo>
                    <a:pt x="1188" y="208"/>
                  </a:lnTo>
                  <a:lnTo>
                    <a:pt x="1184" y="211"/>
                  </a:lnTo>
                  <a:lnTo>
                    <a:pt x="1181" y="214"/>
                  </a:lnTo>
                  <a:lnTo>
                    <a:pt x="1179" y="215"/>
                  </a:lnTo>
                  <a:lnTo>
                    <a:pt x="1176" y="216"/>
                  </a:lnTo>
                  <a:lnTo>
                    <a:pt x="1171" y="218"/>
                  </a:lnTo>
                  <a:lnTo>
                    <a:pt x="1167" y="220"/>
                  </a:lnTo>
                  <a:lnTo>
                    <a:pt x="1162" y="221"/>
                  </a:lnTo>
                  <a:lnTo>
                    <a:pt x="1155" y="221"/>
                  </a:lnTo>
                  <a:lnTo>
                    <a:pt x="1149" y="222"/>
                  </a:lnTo>
                  <a:lnTo>
                    <a:pt x="1144" y="221"/>
                  </a:lnTo>
                  <a:lnTo>
                    <a:pt x="1137" y="221"/>
                  </a:lnTo>
                  <a:lnTo>
                    <a:pt x="1132" y="220"/>
                  </a:lnTo>
                  <a:lnTo>
                    <a:pt x="1127" y="218"/>
                  </a:lnTo>
                  <a:lnTo>
                    <a:pt x="1122" y="216"/>
                  </a:lnTo>
                  <a:lnTo>
                    <a:pt x="1118" y="214"/>
                  </a:lnTo>
                  <a:lnTo>
                    <a:pt x="1114" y="211"/>
                  </a:lnTo>
                  <a:lnTo>
                    <a:pt x="1111" y="208"/>
                  </a:lnTo>
                  <a:lnTo>
                    <a:pt x="1108" y="203"/>
                  </a:lnTo>
                  <a:lnTo>
                    <a:pt x="1106" y="200"/>
                  </a:lnTo>
                  <a:lnTo>
                    <a:pt x="1103" y="195"/>
                  </a:lnTo>
                  <a:lnTo>
                    <a:pt x="1101" y="191"/>
                  </a:lnTo>
                  <a:lnTo>
                    <a:pt x="1100" y="185"/>
                  </a:lnTo>
                  <a:lnTo>
                    <a:pt x="1099" y="179"/>
                  </a:lnTo>
                  <a:lnTo>
                    <a:pt x="1098" y="173"/>
                  </a:lnTo>
                  <a:lnTo>
                    <a:pt x="1098" y="166"/>
                  </a:lnTo>
                  <a:lnTo>
                    <a:pt x="1098" y="0"/>
                  </a:lnTo>
                  <a:lnTo>
                    <a:pt x="1132" y="0"/>
                  </a:lnTo>
                  <a:close/>
                  <a:moveTo>
                    <a:pt x="997" y="149"/>
                  </a:moveTo>
                  <a:lnTo>
                    <a:pt x="1030" y="149"/>
                  </a:lnTo>
                  <a:lnTo>
                    <a:pt x="1014" y="38"/>
                  </a:lnTo>
                  <a:lnTo>
                    <a:pt x="997" y="149"/>
                  </a:lnTo>
                  <a:close/>
                  <a:moveTo>
                    <a:pt x="1076" y="219"/>
                  </a:moveTo>
                  <a:lnTo>
                    <a:pt x="1041" y="219"/>
                  </a:lnTo>
                  <a:lnTo>
                    <a:pt x="1035" y="179"/>
                  </a:lnTo>
                  <a:lnTo>
                    <a:pt x="992" y="179"/>
                  </a:lnTo>
                  <a:lnTo>
                    <a:pt x="987" y="219"/>
                  </a:lnTo>
                  <a:lnTo>
                    <a:pt x="955" y="219"/>
                  </a:lnTo>
                  <a:lnTo>
                    <a:pt x="990" y="0"/>
                  </a:lnTo>
                  <a:lnTo>
                    <a:pt x="1041" y="0"/>
                  </a:lnTo>
                  <a:lnTo>
                    <a:pt x="1076" y="219"/>
                  </a:lnTo>
                  <a:close/>
                  <a:moveTo>
                    <a:pt x="872" y="131"/>
                  </a:moveTo>
                  <a:lnTo>
                    <a:pt x="861" y="151"/>
                  </a:lnTo>
                  <a:lnTo>
                    <a:pt x="861" y="219"/>
                  </a:lnTo>
                  <a:lnTo>
                    <a:pt x="826" y="219"/>
                  </a:lnTo>
                  <a:lnTo>
                    <a:pt x="826" y="0"/>
                  </a:lnTo>
                  <a:lnTo>
                    <a:pt x="861" y="0"/>
                  </a:lnTo>
                  <a:lnTo>
                    <a:pt x="861" y="95"/>
                  </a:lnTo>
                  <a:lnTo>
                    <a:pt x="907" y="0"/>
                  </a:lnTo>
                  <a:lnTo>
                    <a:pt x="941" y="0"/>
                  </a:lnTo>
                  <a:lnTo>
                    <a:pt x="893" y="98"/>
                  </a:lnTo>
                  <a:lnTo>
                    <a:pt x="941" y="219"/>
                  </a:lnTo>
                  <a:lnTo>
                    <a:pt x="906" y="219"/>
                  </a:lnTo>
                  <a:lnTo>
                    <a:pt x="872" y="131"/>
                  </a:lnTo>
                  <a:close/>
                  <a:moveTo>
                    <a:pt x="697" y="0"/>
                  </a:moveTo>
                  <a:lnTo>
                    <a:pt x="804" y="0"/>
                  </a:lnTo>
                  <a:lnTo>
                    <a:pt x="804" y="31"/>
                  </a:lnTo>
                  <a:lnTo>
                    <a:pt x="768" y="31"/>
                  </a:lnTo>
                  <a:lnTo>
                    <a:pt x="768" y="219"/>
                  </a:lnTo>
                  <a:lnTo>
                    <a:pt x="733" y="219"/>
                  </a:lnTo>
                  <a:lnTo>
                    <a:pt x="733" y="31"/>
                  </a:lnTo>
                  <a:lnTo>
                    <a:pt x="697" y="31"/>
                  </a:lnTo>
                  <a:lnTo>
                    <a:pt x="697" y="0"/>
                  </a:lnTo>
                  <a:close/>
                  <a:moveTo>
                    <a:pt x="619" y="92"/>
                  </a:moveTo>
                  <a:lnTo>
                    <a:pt x="666" y="92"/>
                  </a:lnTo>
                  <a:lnTo>
                    <a:pt x="666" y="124"/>
                  </a:lnTo>
                  <a:lnTo>
                    <a:pt x="619" y="124"/>
                  </a:lnTo>
                  <a:lnTo>
                    <a:pt x="619" y="187"/>
                  </a:lnTo>
                  <a:lnTo>
                    <a:pt x="678" y="187"/>
                  </a:lnTo>
                  <a:lnTo>
                    <a:pt x="678" y="219"/>
                  </a:lnTo>
                  <a:lnTo>
                    <a:pt x="584" y="219"/>
                  </a:lnTo>
                  <a:lnTo>
                    <a:pt x="584" y="0"/>
                  </a:lnTo>
                  <a:lnTo>
                    <a:pt x="678" y="0"/>
                  </a:lnTo>
                  <a:lnTo>
                    <a:pt x="678" y="31"/>
                  </a:lnTo>
                  <a:lnTo>
                    <a:pt x="619" y="31"/>
                  </a:lnTo>
                  <a:lnTo>
                    <a:pt x="619" y="92"/>
                  </a:lnTo>
                  <a:close/>
                  <a:moveTo>
                    <a:pt x="492" y="131"/>
                  </a:moveTo>
                  <a:lnTo>
                    <a:pt x="482" y="151"/>
                  </a:lnTo>
                  <a:lnTo>
                    <a:pt x="482" y="219"/>
                  </a:lnTo>
                  <a:lnTo>
                    <a:pt x="447" y="219"/>
                  </a:lnTo>
                  <a:lnTo>
                    <a:pt x="447" y="0"/>
                  </a:lnTo>
                  <a:lnTo>
                    <a:pt x="482" y="0"/>
                  </a:lnTo>
                  <a:lnTo>
                    <a:pt x="482" y="95"/>
                  </a:lnTo>
                  <a:lnTo>
                    <a:pt x="526" y="0"/>
                  </a:lnTo>
                  <a:lnTo>
                    <a:pt x="561" y="0"/>
                  </a:lnTo>
                  <a:lnTo>
                    <a:pt x="513" y="98"/>
                  </a:lnTo>
                  <a:lnTo>
                    <a:pt x="561" y="219"/>
                  </a:lnTo>
                  <a:lnTo>
                    <a:pt x="525" y="219"/>
                  </a:lnTo>
                  <a:lnTo>
                    <a:pt x="492" y="131"/>
                  </a:lnTo>
                  <a:close/>
                  <a:moveTo>
                    <a:pt x="347" y="31"/>
                  </a:moveTo>
                  <a:lnTo>
                    <a:pt x="347" y="99"/>
                  </a:lnTo>
                  <a:lnTo>
                    <a:pt x="361" y="99"/>
                  </a:lnTo>
                  <a:lnTo>
                    <a:pt x="365" y="99"/>
                  </a:lnTo>
                  <a:lnTo>
                    <a:pt x="370" y="98"/>
                  </a:lnTo>
                  <a:lnTo>
                    <a:pt x="373" y="95"/>
                  </a:lnTo>
                  <a:lnTo>
                    <a:pt x="375" y="94"/>
                  </a:lnTo>
                  <a:lnTo>
                    <a:pt x="376" y="93"/>
                  </a:lnTo>
                  <a:lnTo>
                    <a:pt x="378" y="90"/>
                  </a:lnTo>
                  <a:lnTo>
                    <a:pt x="380" y="86"/>
                  </a:lnTo>
                  <a:lnTo>
                    <a:pt x="381" y="82"/>
                  </a:lnTo>
                  <a:lnTo>
                    <a:pt x="381" y="75"/>
                  </a:lnTo>
                  <a:lnTo>
                    <a:pt x="381" y="53"/>
                  </a:lnTo>
                  <a:lnTo>
                    <a:pt x="381" y="48"/>
                  </a:lnTo>
                  <a:lnTo>
                    <a:pt x="381" y="44"/>
                  </a:lnTo>
                  <a:lnTo>
                    <a:pt x="379" y="39"/>
                  </a:lnTo>
                  <a:lnTo>
                    <a:pt x="378" y="36"/>
                  </a:lnTo>
                  <a:lnTo>
                    <a:pt x="375" y="34"/>
                  </a:lnTo>
                  <a:lnTo>
                    <a:pt x="374" y="33"/>
                  </a:lnTo>
                  <a:lnTo>
                    <a:pt x="372" y="32"/>
                  </a:lnTo>
                  <a:lnTo>
                    <a:pt x="368" y="31"/>
                  </a:lnTo>
                  <a:lnTo>
                    <a:pt x="364" y="31"/>
                  </a:lnTo>
                  <a:lnTo>
                    <a:pt x="347" y="31"/>
                  </a:lnTo>
                  <a:close/>
                  <a:moveTo>
                    <a:pt x="385" y="219"/>
                  </a:moveTo>
                  <a:lnTo>
                    <a:pt x="384" y="215"/>
                  </a:lnTo>
                  <a:lnTo>
                    <a:pt x="383" y="211"/>
                  </a:lnTo>
                  <a:lnTo>
                    <a:pt x="382" y="203"/>
                  </a:lnTo>
                  <a:lnTo>
                    <a:pt x="382" y="192"/>
                  </a:lnTo>
                  <a:lnTo>
                    <a:pt x="382" y="158"/>
                  </a:lnTo>
                  <a:lnTo>
                    <a:pt x="381" y="150"/>
                  </a:lnTo>
                  <a:lnTo>
                    <a:pt x="381" y="145"/>
                  </a:lnTo>
                  <a:lnTo>
                    <a:pt x="379" y="140"/>
                  </a:lnTo>
                  <a:lnTo>
                    <a:pt x="377" y="136"/>
                  </a:lnTo>
                  <a:lnTo>
                    <a:pt x="375" y="135"/>
                  </a:lnTo>
                  <a:lnTo>
                    <a:pt x="374" y="133"/>
                  </a:lnTo>
                  <a:lnTo>
                    <a:pt x="370" y="131"/>
                  </a:lnTo>
                  <a:lnTo>
                    <a:pt x="365" y="130"/>
                  </a:lnTo>
                  <a:lnTo>
                    <a:pt x="359" y="129"/>
                  </a:lnTo>
                  <a:lnTo>
                    <a:pt x="347" y="129"/>
                  </a:lnTo>
                  <a:lnTo>
                    <a:pt x="347" y="219"/>
                  </a:lnTo>
                  <a:lnTo>
                    <a:pt x="313" y="219"/>
                  </a:lnTo>
                  <a:lnTo>
                    <a:pt x="313" y="0"/>
                  </a:lnTo>
                  <a:lnTo>
                    <a:pt x="365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83" y="1"/>
                  </a:lnTo>
                  <a:lnTo>
                    <a:pt x="389" y="2"/>
                  </a:lnTo>
                  <a:lnTo>
                    <a:pt x="393" y="4"/>
                  </a:lnTo>
                  <a:lnTo>
                    <a:pt x="397" y="7"/>
                  </a:lnTo>
                  <a:lnTo>
                    <a:pt x="400" y="10"/>
                  </a:lnTo>
                  <a:lnTo>
                    <a:pt x="404" y="12"/>
                  </a:lnTo>
                  <a:lnTo>
                    <a:pt x="407" y="16"/>
                  </a:lnTo>
                  <a:lnTo>
                    <a:pt x="410" y="19"/>
                  </a:lnTo>
                  <a:lnTo>
                    <a:pt x="412" y="23"/>
                  </a:lnTo>
                  <a:lnTo>
                    <a:pt x="413" y="28"/>
                  </a:lnTo>
                  <a:lnTo>
                    <a:pt x="414" y="33"/>
                  </a:lnTo>
                  <a:lnTo>
                    <a:pt x="415" y="38"/>
                  </a:lnTo>
                  <a:lnTo>
                    <a:pt x="416" y="44"/>
                  </a:lnTo>
                  <a:lnTo>
                    <a:pt x="416" y="50"/>
                  </a:lnTo>
                  <a:lnTo>
                    <a:pt x="416" y="68"/>
                  </a:lnTo>
                  <a:lnTo>
                    <a:pt x="416" y="75"/>
                  </a:lnTo>
                  <a:lnTo>
                    <a:pt x="415" y="83"/>
                  </a:lnTo>
                  <a:lnTo>
                    <a:pt x="413" y="89"/>
                  </a:lnTo>
                  <a:lnTo>
                    <a:pt x="411" y="95"/>
                  </a:lnTo>
                  <a:lnTo>
                    <a:pt x="409" y="99"/>
                  </a:lnTo>
                  <a:lnTo>
                    <a:pt x="408" y="101"/>
                  </a:lnTo>
                  <a:lnTo>
                    <a:pt x="405" y="103"/>
                  </a:lnTo>
                  <a:lnTo>
                    <a:pt x="403" y="105"/>
                  </a:lnTo>
                  <a:lnTo>
                    <a:pt x="399" y="109"/>
                  </a:lnTo>
                  <a:lnTo>
                    <a:pt x="394" y="112"/>
                  </a:lnTo>
                  <a:lnTo>
                    <a:pt x="397" y="113"/>
                  </a:lnTo>
                  <a:lnTo>
                    <a:pt x="399" y="115"/>
                  </a:lnTo>
                  <a:lnTo>
                    <a:pt x="402" y="117"/>
                  </a:lnTo>
                  <a:lnTo>
                    <a:pt x="404" y="119"/>
                  </a:lnTo>
                  <a:lnTo>
                    <a:pt x="409" y="124"/>
                  </a:lnTo>
                  <a:lnTo>
                    <a:pt x="412" y="129"/>
                  </a:lnTo>
                  <a:lnTo>
                    <a:pt x="414" y="136"/>
                  </a:lnTo>
                  <a:lnTo>
                    <a:pt x="415" y="143"/>
                  </a:lnTo>
                  <a:lnTo>
                    <a:pt x="416" y="146"/>
                  </a:lnTo>
                  <a:lnTo>
                    <a:pt x="416" y="150"/>
                  </a:lnTo>
                  <a:lnTo>
                    <a:pt x="416" y="159"/>
                  </a:lnTo>
                  <a:lnTo>
                    <a:pt x="416" y="193"/>
                  </a:lnTo>
                  <a:lnTo>
                    <a:pt x="416" y="200"/>
                  </a:lnTo>
                  <a:lnTo>
                    <a:pt x="417" y="206"/>
                  </a:lnTo>
                  <a:lnTo>
                    <a:pt x="418" y="213"/>
                  </a:lnTo>
                  <a:lnTo>
                    <a:pt x="419" y="216"/>
                  </a:lnTo>
                  <a:lnTo>
                    <a:pt x="420" y="219"/>
                  </a:lnTo>
                  <a:lnTo>
                    <a:pt x="385" y="219"/>
                  </a:lnTo>
                  <a:close/>
                  <a:moveTo>
                    <a:pt x="211" y="149"/>
                  </a:moveTo>
                  <a:lnTo>
                    <a:pt x="244" y="149"/>
                  </a:lnTo>
                  <a:lnTo>
                    <a:pt x="227" y="38"/>
                  </a:lnTo>
                  <a:lnTo>
                    <a:pt x="211" y="149"/>
                  </a:lnTo>
                  <a:close/>
                  <a:moveTo>
                    <a:pt x="289" y="219"/>
                  </a:moveTo>
                  <a:lnTo>
                    <a:pt x="254" y="219"/>
                  </a:lnTo>
                  <a:lnTo>
                    <a:pt x="249" y="179"/>
                  </a:lnTo>
                  <a:lnTo>
                    <a:pt x="207" y="179"/>
                  </a:lnTo>
                  <a:lnTo>
                    <a:pt x="200" y="219"/>
                  </a:lnTo>
                  <a:lnTo>
                    <a:pt x="169" y="219"/>
                  </a:lnTo>
                  <a:lnTo>
                    <a:pt x="203" y="0"/>
                  </a:lnTo>
                  <a:lnTo>
                    <a:pt x="254" y="0"/>
                  </a:lnTo>
                  <a:lnTo>
                    <a:pt x="289" y="219"/>
                  </a:lnTo>
                  <a:close/>
                  <a:moveTo>
                    <a:pt x="73" y="156"/>
                  </a:moveTo>
                  <a:lnTo>
                    <a:pt x="97" y="0"/>
                  </a:lnTo>
                  <a:lnTo>
                    <a:pt x="145" y="0"/>
                  </a:lnTo>
                  <a:lnTo>
                    <a:pt x="145" y="219"/>
                  </a:lnTo>
                  <a:lnTo>
                    <a:pt x="113" y="219"/>
                  </a:lnTo>
                  <a:lnTo>
                    <a:pt x="113" y="62"/>
                  </a:lnTo>
                  <a:lnTo>
                    <a:pt x="88" y="219"/>
                  </a:lnTo>
                  <a:lnTo>
                    <a:pt x="55" y="219"/>
                  </a:lnTo>
                  <a:lnTo>
                    <a:pt x="30" y="64"/>
                  </a:lnTo>
                  <a:lnTo>
                    <a:pt x="30" y="219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48" y="0"/>
                  </a:lnTo>
                  <a:lnTo>
                    <a:pt x="73" y="1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11414767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FABF9C-1066-47FD-B88F-64F733EB63DD}" type="datetime1">
              <a:rPr lang="fi-FI" smtClean="0"/>
              <a:t>28.2.2018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30"/>
            <p:cNvSpPr>
              <a:spLocks noEditPoints="1"/>
            </p:cNvSpPr>
            <p:nvPr userDrawn="1"/>
          </p:nvSpPr>
          <p:spPr bwMode="auto">
            <a:xfrm>
              <a:off x="9094170" y="6475574"/>
              <a:ext cx="1502915" cy="209315"/>
            </a:xfrm>
            <a:custGeom>
              <a:avLst/>
              <a:gdLst>
                <a:gd name="T0" fmla="*/ 1559 w 1594"/>
                <a:gd name="T1" fmla="*/ 219 h 222"/>
                <a:gd name="T2" fmla="*/ 1559 w 1594"/>
                <a:gd name="T3" fmla="*/ 0 h 222"/>
                <a:gd name="T4" fmla="*/ 1418 w 1594"/>
                <a:gd name="T5" fmla="*/ 104 h 222"/>
                <a:gd name="T6" fmla="*/ 1427 w 1594"/>
                <a:gd name="T7" fmla="*/ 85 h 222"/>
                <a:gd name="T8" fmla="*/ 1421 w 1594"/>
                <a:gd name="T9" fmla="*/ 33 h 222"/>
                <a:gd name="T10" fmla="*/ 1462 w 1594"/>
                <a:gd name="T11" fmla="*/ 83 h 222"/>
                <a:gd name="T12" fmla="*/ 1455 w 1594"/>
                <a:gd name="T13" fmla="*/ 115 h 222"/>
                <a:gd name="T14" fmla="*/ 1432 w 1594"/>
                <a:gd name="T15" fmla="*/ 133 h 222"/>
                <a:gd name="T16" fmla="*/ 1394 w 1594"/>
                <a:gd name="T17" fmla="*/ 219 h 222"/>
                <a:gd name="T18" fmla="*/ 1428 w 1594"/>
                <a:gd name="T19" fmla="*/ 1 h 222"/>
                <a:gd name="T20" fmla="*/ 1451 w 1594"/>
                <a:gd name="T21" fmla="*/ 17 h 222"/>
                <a:gd name="T22" fmla="*/ 1461 w 1594"/>
                <a:gd name="T23" fmla="*/ 48 h 222"/>
                <a:gd name="T24" fmla="*/ 1290 w 1594"/>
                <a:gd name="T25" fmla="*/ 104 h 222"/>
                <a:gd name="T26" fmla="*/ 1300 w 1594"/>
                <a:gd name="T27" fmla="*/ 85 h 222"/>
                <a:gd name="T28" fmla="*/ 1293 w 1594"/>
                <a:gd name="T29" fmla="*/ 33 h 222"/>
                <a:gd name="T30" fmla="*/ 1334 w 1594"/>
                <a:gd name="T31" fmla="*/ 83 h 222"/>
                <a:gd name="T32" fmla="*/ 1327 w 1594"/>
                <a:gd name="T33" fmla="*/ 115 h 222"/>
                <a:gd name="T34" fmla="*/ 1305 w 1594"/>
                <a:gd name="T35" fmla="*/ 133 h 222"/>
                <a:gd name="T36" fmla="*/ 1266 w 1594"/>
                <a:gd name="T37" fmla="*/ 219 h 222"/>
                <a:gd name="T38" fmla="*/ 1300 w 1594"/>
                <a:gd name="T39" fmla="*/ 1 h 222"/>
                <a:gd name="T40" fmla="*/ 1324 w 1594"/>
                <a:gd name="T41" fmla="*/ 17 h 222"/>
                <a:gd name="T42" fmla="*/ 1334 w 1594"/>
                <a:gd name="T43" fmla="*/ 48 h 222"/>
                <a:gd name="T44" fmla="*/ 1134 w 1594"/>
                <a:gd name="T45" fmla="*/ 181 h 222"/>
                <a:gd name="T46" fmla="*/ 1150 w 1594"/>
                <a:gd name="T47" fmla="*/ 191 h 222"/>
                <a:gd name="T48" fmla="*/ 1167 w 1594"/>
                <a:gd name="T49" fmla="*/ 179 h 222"/>
                <a:gd name="T50" fmla="*/ 1201 w 1594"/>
                <a:gd name="T51" fmla="*/ 173 h 222"/>
                <a:gd name="T52" fmla="*/ 1191 w 1594"/>
                <a:gd name="T53" fmla="*/ 203 h 222"/>
                <a:gd name="T54" fmla="*/ 1171 w 1594"/>
                <a:gd name="T55" fmla="*/ 218 h 222"/>
                <a:gd name="T56" fmla="*/ 1137 w 1594"/>
                <a:gd name="T57" fmla="*/ 221 h 222"/>
                <a:gd name="T58" fmla="*/ 1111 w 1594"/>
                <a:gd name="T59" fmla="*/ 208 h 222"/>
                <a:gd name="T60" fmla="*/ 1099 w 1594"/>
                <a:gd name="T61" fmla="*/ 179 h 222"/>
                <a:gd name="T62" fmla="*/ 1030 w 1594"/>
                <a:gd name="T63" fmla="*/ 149 h 222"/>
                <a:gd name="T64" fmla="*/ 992 w 1594"/>
                <a:gd name="T65" fmla="*/ 179 h 222"/>
                <a:gd name="T66" fmla="*/ 872 w 1594"/>
                <a:gd name="T67" fmla="*/ 131 h 222"/>
                <a:gd name="T68" fmla="*/ 861 w 1594"/>
                <a:gd name="T69" fmla="*/ 95 h 222"/>
                <a:gd name="T70" fmla="*/ 872 w 1594"/>
                <a:gd name="T71" fmla="*/ 131 h 222"/>
                <a:gd name="T72" fmla="*/ 733 w 1594"/>
                <a:gd name="T73" fmla="*/ 219 h 222"/>
                <a:gd name="T74" fmla="*/ 666 w 1594"/>
                <a:gd name="T75" fmla="*/ 124 h 222"/>
                <a:gd name="T76" fmla="*/ 584 w 1594"/>
                <a:gd name="T77" fmla="*/ 0 h 222"/>
                <a:gd name="T78" fmla="*/ 482 w 1594"/>
                <a:gd name="T79" fmla="*/ 151 h 222"/>
                <a:gd name="T80" fmla="*/ 526 w 1594"/>
                <a:gd name="T81" fmla="*/ 0 h 222"/>
                <a:gd name="T82" fmla="*/ 347 w 1594"/>
                <a:gd name="T83" fmla="*/ 31 h 222"/>
                <a:gd name="T84" fmla="*/ 375 w 1594"/>
                <a:gd name="T85" fmla="*/ 94 h 222"/>
                <a:gd name="T86" fmla="*/ 381 w 1594"/>
                <a:gd name="T87" fmla="*/ 53 h 222"/>
                <a:gd name="T88" fmla="*/ 374 w 1594"/>
                <a:gd name="T89" fmla="*/ 33 h 222"/>
                <a:gd name="T90" fmla="*/ 384 w 1594"/>
                <a:gd name="T91" fmla="*/ 215 h 222"/>
                <a:gd name="T92" fmla="*/ 381 w 1594"/>
                <a:gd name="T93" fmla="*/ 145 h 222"/>
                <a:gd name="T94" fmla="*/ 365 w 1594"/>
                <a:gd name="T95" fmla="*/ 130 h 222"/>
                <a:gd name="T96" fmla="*/ 365 w 1594"/>
                <a:gd name="T97" fmla="*/ 0 h 222"/>
                <a:gd name="T98" fmla="*/ 397 w 1594"/>
                <a:gd name="T99" fmla="*/ 7 h 222"/>
                <a:gd name="T100" fmla="*/ 413 w 1594"/>
                <a:gd name="T101" fmla="*/ 28 h 222"/>
                <a:gd name="T102" fmla="*/ 416 w 1594"/>
                <a:gd name="T103" fmla="*/ 75 h 222"/>
                <a:gd name="T104" fmla="*/ 405 w 1594"/>
                <a:gd name="T105" fmla="*/ 103 h 222"/>
                <a:gd name="T106" fmla="*/ 402 w 1594"/>
                <a:gd name="T107" fmla="*/ 117 h 222"/>
                <a:gd name="T108" fmla="*/ 416 w 1594"/>
                <a:gd name="T109" fmla="*/ 146 h 222"/>
                <a:gd name="T110" fmla="*/ 418 w 1594"/>
                <a:gd name="T111" fmla="*/ 213 h 222"/>
                <a:gd name="T112" fmla="*/ 227 w 1594"/>
                <a:gd name="T113" fmla="*/ 38 h 222"/>
                <a:gd name="T114" fmla="*/ 200 w 1594"/>
                <a:gd name="T115" fmla="*/ 219 h 222"/>
                <a:gd name="T116" fmla="*/ 97 w 1594"/>
                <a:gd name="T117" fmla="*/ 0 h 222"/>
                <a:gd name="T118" fmla="*/ 55 w 1594"/>
                <a:gd name="T119" fmla="*/ 219 h 222"/>
                <a:gd name="T120" fmla="*/ 73 w 1594"/>
                <a:gd name="T121" fmla="*/ 15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94" h="222">
                  <a:moveTo>
                    <a:pt x="1516" y="149"/>
                  </a:moveTo>
                  <a:lnTo>
                    <a:pt x="1549" y="149"/>
                  </a:lnTo>
                  <a:lnTo>
                    <a:pt x="1533" y="38"/>
                  </a:lnTo>
                  <a:lnTo>
                    <a:pt x="1516" y="149"/>
                  </a:lnTo>
                  <a:close/>
                  <a:moveTo>
                    <a:pt x="1594" y="219"/>
                  </a:moveTo>
                  <a:lnTo>
                    <a:pt x="1559" y="219"/>
                  </a:lnTo>
                  <a:lnTo>
                    <a:pt x="1554" y="179"/>
                  </a:lnTo>
                  <a:lnTo>
                    <a:pt x="1512" y="179"/>
                  </a:lnTo>
                  <a:lnTo>
                    <a:pt x="1505" y="219"/>
                  </a:lnTo>
                  <a:lnTo>
                    <a:pt x="1474" y="219"/>
                  </a:lnTo>
                  <a:lnTo>
                    <a:pt x="1508" y="0"/>
                  </a:lnTo>
                  <a:lnTo>
                    <a:pt x="1559" y="0"/>
                  </a:lnTo>
                  <a:lnTo>
                    <a:pt x="1594" y="219"/>
                  </a:lnTo>
                  <a:close/>
                  <a:moveTo>
                    <a:pt x="1394" y="31"/>
                  </a:moveTo>
                  <a:lnTo>
                    <a:pt x="1394" y="105"/>
                  </a:lnTo>
                  <a:lnTo>
                    <a:pt x="1410" y="105"/>
                  </a:lnTo>
                  <a:lnTo>
                    <a:pt x="1414" y="105"/>
                  </a:lnTo>
                  <a:lnTo>
                    <a:pt x="1418" y="104"/>
                  </a:lnTo>
                  <a:lnTo>
                    <a:pt x="1421" y="103"/>
                  </a:lnTo>
                  <a:lnTo>
                    <a:pt x="1423" y="101"/>
                  </a:lnTo>
                  <a:lnTo>
                    <a:pt x="1425" y="99"/>
                  </a:lnTo>
                  <a:lnTo>
                    <a:pt x="1426" y="94"/>
                  </a:lnTo>
                  <a:lnTo>
                    <a:pt x="1427" y="90"/>
                  </a:lnTo>
                  <a:lnTo>
                    <a:pt x="1427" y="85"/>
                  </a:lnTo>
                  <a:lnTo>
                    <a:pt x="1427" y="52"/>
                  </a:lnTo>
                  <a:lnTo>
                    <a:pt x="1427" y="47"/>
                  </a:lnTo>
                  <a:lnTo>
                    <a:pt x="1426" y="41"/>
                  </a:lnTo>
                  <a:lnTo>
                    <a:pt x="1425" y="38"/>
                  </a:lnTo>
                  <a:lnTo>
                    <a:pt x="1423" y="35"/>
                  </a:lnTo>
                  <a:lnTo>
                    <a:pt x="1421" y="33"/>
                  </a:lnTo>
                  <a:lnTo>
                    <a:pt x="1418" y="32"/>
                  </a:lnTo>
                  <a:lnTo>
                    <a:pt x="1414" y="31"/>
                  </a:lnTo>
                  <a:lnTo>
                    <a:pt x="1410" y="31"/>
                  </a:lnTo>
                  <a:lnTo>
                    <a:pt x="1394" y="31"/>
                  </a:lnTo>
                  <a:close/>
                  <a:moveTo>
                    <a:pt x="1462" y="54"/>
                  </a:moveTo>
                  <a:lnTo>
                    <a:pt x="1462" y="83"/>
                  </a:lnTo>
                  <a:lnTo>
                    <a:pt x="1461" y="89"/>
                  </a:lnTo>
                  <a:lnTo>
                    <a:pt x="1461" y="94"/>
                  </a:lnTo>
                  <a:lnTo>
                    <a:pt x="1460" y="101"/>
                  </a:lnTo>
                  <a:lnTo>
                    <a:pt x="1459" y="106"/>
                  </a:lnTo>
                  <a:lnTo>
                    <a:pt x="1457" y="110"/>
                  </a:lnTo>
                  <a:lnTo>
                    <a:pt x="1455" y="115"/>
                  </a:lnTo>
                  <a:lnTo>
                    <a:pt x="1451" y="119"/>
                  </a:lnTo>
                  <a:lnTo>
                    <a:pt x="1449" y="123"/>
                  </a:lnTo>
                  <a:lnTo>
                    <a:pt x="1445" y="126"/>
                  </a:lnTo>
                  <a:lnTo>
                    <a:pt x="1442" y="129"/>
                  </a:lnTo>
                  <a:lnTo>
                    <a:pt x="1438" y="131"/>
                  </a:lnTo>
                  <a:lnTo>
                    <a:pt x="1432" y="133"/>
                  </a:lnTo>
                  <a:lnTo>
                    <a:pt x="1428" y="135"/>
                  </a:lnTo>
                  <a:lnTo>
                    <a:pt x="1423" y="136"/>
                  </a:lnTo>
                  <a:lnTo>
                    <a:pt x="1416" y="137"/>
                  </a:lnTo>
                  <a:lnTo>
                    <a:pt x="1410" y="137"/>
                  </a:lnTo>
                  <a:lnTo>
                    <a:pt x="1394" y="137"/>
                  </a:lnTo>
                  <a:lnTo>
                    <a:pt x="1394" y="219"/>
                  </a:lnTo>
                  <a:lnTo>
                    <a:pt x="1359" y="219"/>
                  </a:lnTo>
                  <a:lnTo>
                    <a:pt x="1359" y="0"/>
                  </a:lnTo>
                  <a:lnTo>
                    <a:pt x="1410" y="0"/>
                  </a:lnTo>
                  <a:lnTo>
                    <a:pt x="1416" y="0"/>
                  </a:lnTo>
                  <a:lnTo>
                    <a:pt x="1423" y="0"/>
                  </a:lnTo>
                  <a:lnTo>
                    <a:pt x="1428" y="1"/>
                  </a:lnTo>
                  <a:lnTo>
                    <a:pt x="1432" y="3"/>
                  </a:lnTo>
                  <a:lnTo>
                    <a:pt x="1438" y="6"/>
                  </a:lnTo>
                  <a:lnTo>
                    <a:pt x="1442" y="8"/>
                  </a:lnTo>
                  <a:lnTo>
                    <a:pt x="1445" y="11"/>
                  </a:lnTo>
                  <a:lnTo>
                    <a:pt x="1449" y="14"/>
                  </a:lnTo>
                  <a:lnTo>
                    <a:pt x="1451" y="17"/>
                  </a:lnTo>
                  <a:lnTo>
                    <a:pt x="1455" y="21"/>
                  </a:lnTo>
                  <a:lnTo>
                    <a:pt x="1457" y="26"/>
                  </a:lnTo>
                  <a:lnTo>
                    <a:pt x="1459" y="31"/>
                  </a:lnTo>
                  <a:lnTo>
                    <a:pt x="1460" y="36"/>
                  </a:lnTo>
                  <a:lnTo>
                    <a:pt x="1461" y="41"/>
                  </a:lnTo>
                  <a:lnTo>
                    <a:pt x="1461" y="48"/>
                  </a:lnTo>
                  <a:lnTo>
                    <a:pt x="1462" y="54"/>
                  </a:lnTo>
                  <a:close/>
                  <a:moveTo>
                    <a:pt x="1266" y="31"/>
                  </a:moveTo>
                  <a:lnTo>
                    <a:pt x="1266" y="105"/>
                  </a:lnTo>
                  <a:lnTo>
                    <a:pt x="1283" y="105"/>
                  </a:lnTo>
                  <a:lnTo>
                    <a:pt x="1286" y="105"/>
                  </a:lnTo>
                  <a:lnTo>
                    <a:pt x="1290" y="104"/>
                  </a:lnTo>
                  <a:lnTo>
                    <a:pt x="1293" y="103"/>
                  </a:lnTo>
                  <a:lnTo>
                    <a:pt x="1295" y="101"/>
                  </a:lnTo>
                  <a:lnTo>
                    <a:pt x="1297" y="99"/>
                  </a:lnTo>
                  <a:lnTo>
                    <a:pt x="1298" y="94"/>
                  </a:lnTo>
                  <a:lnTo>
                    <a:pt x="1299" y="90"/>
                  </a:lnTo>
                  <a:lnTo>
                    <a:pt x="1300" y="85"/>
                  </a:lnTo>
                  <a:lnTo>
                    <a:pt x="1300" y="52"/>
                  </a:lnTo>
                  <a:lnTo>
                    <a:pt x="1299" y="47"/>
                  </a:lnTo>
                  <a:lnTo>
                    <a:pt x="1298" y="41"/>
                  </a:lnTo>
                  <a:lnTo>
                    <a:pt x="1297" y="38"/>
                  </a:lnTo>
                  <a:lnTo>
                    <a:pt x="1295" y="35"/>
                  </a:lnTo>
                  <a:lnTo>
                    <a:pt x="1293" y="33"/>
                  </a:lnTo>
                  <a:lnTo>
                    <a:pt x="1290" y="32"/>
                  </a:lnTo>
                  <a:lnTo>
                    <a:pt x="1286" y="31"/>
                  </a:lnTo>
                  <a:lnTo>
                    <a:pt x="1283" y="31"/>
                  </a:lnTo>
                  <a:lnTo>
                    <a:pt x="1266" y="31"/>
                  </a:lnTo>
                  <a:close/>
                  <a:moveTo>
                    <a:pt x="1334" y="54"/>
                  </a:moveTo>
                  <a:lnTo>
                    <a:pt x="1334" y="83"/>
                  </a:lnTo>
                  <a:lnTo>
                    <a:pt x="1334" y="89"/>
                  </a:lnTo>
                  <a:lnTo>
                    <a:pt x="1333" y="94"/>
                  </a:lnTo>
                  <a:lnTo>
                    <a:pt x="1332" y="101"/>
                  </a:lnTo>
                  <a:lnTo>
                    <a:pt x="1331" y="106"/>
                  </a:lnTo>
                  <a:lnTo>
                    <a:pt x="1329" y="110"/>
                  </a:lnTo>
                  <a:lnTo>
                    <a:pt x="1327" y="115"/>
                  </a:lnTo>
                  <a:lnTo>
                    <a:pt x="1324" y="119"/>
                  </a:lnTo>
                  <a:lnTo>
                    <a:pt x="1321" y="123"/>
                  </a:lnTo>
                  <a:lnTo>
                    <a:pt x="1318" y="126"/>
                  </a:lnTo>
                  <a:lnTo>
                    <a:pt x="1314" y="129"/>
                  </a:lnTo>
                  <a:lnTo>
                    <a:pt x="1310" y="131"/>
                  </a:lnTo>
                  <a:lnTo>
                    <a:pt x="1305" y="133"/>
                  </a:lnTo>
                  <a:lnTo>
                    <a:pt x="1300" y="135"/>
                  </a:lnTo>
                  <a:lnTo>
                    <a:pt x="1295" y="136"/>
                  </a:lnTo>
                  <a:lnTo>
                    <a:pt x="1289" y="137"/>
                  </a:lnTo>
                  <a:lnTo>
                    <a:pt x="1283" y="137"/>
                  </a:lnTo>
                  <a:lnTo>
                    <a:pt x="1266" y="137"/>
                  </a:lnTo>
                  <a:lnTo>
                    <a:pt x="1266" y="219"/>
                  </a:lnTo>
                  <a:lnTo>
                    <a:pt x="1232" y="219"/>
                  </a:lnTo>
                  <a:lnTo>
                    <a:pt x="1232" y="0"/>
                  </a:lnTo>
                  <a:lnTo>
                    <a:pt x="1283" y="0"/>
                  </a:lnTo>
                  <a:lnTo>
                    <a:pt x="1289" y="0"/>
                  </a:lnTo>
                  <a:lnTo>
                    <a:pt x="1295" y="0"/>
                  </a:lnTo>
                  <a:lnTo>
                    <a:pt x="1300" y="1"/>
                  </a:lnTo>
                  <a:lnTo>
                    <a:pt x="1305" y="3"/>
                  </a:lnTo>
                  <a:lnTo>
                    <a:pt x="1310" y="6"/>
                  </a:lnTo>
                  <a:lnTo>
                    <a:pt x="1314" y="8"/>
                  </a:lnTo>
                  <a:lnTo>
                    <a:pt x="1318" y="11"/>
                  </a:lnTo>
                  <a:lnTo>
                    <a:pt x="1321" y="14"/>
                  </a:lnTo>
                  <a:lnTo>
                    <a:pt x="1324" y="17"/>
                  </a:lnTo>
                  <a:lnTo>
                    <a:pt x="1327" y="21"/>
                  </a:lnTo>
                  <a:lnTo>
                    <a:pt x="1329" y="26"/>
                  </a:lnTo>
                  <a:lnTo>
                    <a:pt x="1331" y="31"/>
                  </a:lnTo>
                  <a:lnTo>
                    <a:pt x="1332" y="36"/>
                  </a:lnTo>
                  <a:lnTo>
                    <a:pt x="1333" y="41"/>
                  </a:lnTo>
                  <a:lnTo>
                    <a:pt x="1334" y="48"/>
                  </a:lnTo>
                  <a:lnTo>
                    <a:pt x="1334" y="54"/>
                  </a:lnTo>
                  <a:close/>
                  <a:moveTo>
                    <a:pt x="1132" y="0"/>
                  </a:moveTo>
                  <a:lnTo>
                    <a:pt x="1132" y="169"/>
                  </a:lnTo>
                  <a:lnTo>
                    <a:pt x="1133" y="175"/>
                  </a:lnTo>
                  <a:lnTo>
                    <a:pt x="1134" y="179"/>
                  </a:lnTo>
                  <a:lnTo>
                    <a:pt x="1134" y="181"/>
                  </a:lnTo>
                  <a:lnTo>
                    <a:pt x="1135" y="182"/>
                  </a:lnTo>
                  <a:lnTo>
                    <a:pt x="1137" y="185"/>
                  </a:lnTo>
                  <a:lnTo>
                    <a:pt x="1139" y="187"/>
                  </a:lnTo>
                  <a:lnTo>
                    <a:pt x="1143" y="190"/>
                  </a:lnTo>
                  <a:lnTo>
                    <a:pt x="1147" y="190"/>
                  </a:lnTo>
                  <a:lnTo>
                    <a:pt x="1150" y="191"/>
                  </a:lnTo>
                  <a:lnTo>
                    <a:pt x="1154" y="190"/>
                  </a:lnTo>
                  <a:lnTo>
                    <a:pt x="1157" y="190"/>
                  </a:lnTo>
                  <a:lnTo>
                    <a:pt x="1161" y="187"/>
                  </a:lnTo>
                  <a:lnTo>
                    <a:pt x="1164" y="185"/>
                  </a:lnTo>
                  <a:lnTo>
                    <a:pt x="1166" y="182"/>
                  </a:lnTo>
                  <a:lnTo>
                    <a:pt x="1167" y="179"/>
                  </a:lnTo>
                  <a:lnTo>
                    <a:pt x="1168" y="175"/>
                  </a:lnTo>
                  <a:lnTo>
                    <a:pt x="1168" y="169"/>
                  </a:lnTo>
                  <a:lnTo>
                    <a:pt x="1168" y="0"/>
                  </a:lnTo>
                  <a:lnTo>
                    <a:pt x="1201" y="0"/>
                  </a:lnTo>
                  <a:lnTo>
                    <a:pt x="1201" y="166"/>
                  </a:lnTo>
                  <a:lnTo>
                    <a:pt x="1201" y="173"/>
                  </a:lnTo>
                  <a:lnTo>
                    <a:pt x="1200" y="179"/>
                  </a:lnTo>
                  <a:lnTo>
                    <a:pt x="1199" y="185"/>
                  </a:lnTo>
                  <a:lnTo>
                    <a:pt x="1198" y="191"/>
                  </a:lnTo>
                  <a:lnTo>
                    <a:pt x="1195" y="195"/>
                  </a:lnTo>
                  <a:lnTo>
                    <a:pt x="1193" y="200"/>
                  </a:lnTo>
                  <a:lnTo>
                    <a:pt x="1191" y="203"/>
                  </a:lnTo>
                  <a:lnTo>
                    <a:pt x="1188" y="208"/>
                  </a:lnTo>
                  <a:lnTo>
                    <a:pt x="1184" y="211"/>
                  </a:lnTo>
                  <a:lnTo>
                    <a:pt x="1181" y="214"/>
                  </a:lnTo>
                  <a:lnTo>
                    <a:pt x="1179" y="215"/>
                  </a:lnTo>
                  <a:lnTo>
                    <a:pt x="1176" y="216"/>
                  </a:lnTo>
                  <a:lnTo>
                    <a:pt x="1171" y="218"/>
                  </a:lnTo>
                  <a:lnTo>
                    <a:pt x="1167" y="220"/>
                  </a:lnTo>
                  <a:lnTo>
                    <a:pt x="1162" y="221"/>
                  </a:lnTo>
                  <a:lnTo>
                    <a:pt x="1155" y="221"/>
                  </a:lnTo>
                  <a:lnTo>
                    <a:pt x="1149" y="222"/>
                  </a:lnTo>
                  <a:lnTo>
                    <a:pt x="1144" y="221"/>
                  </a:lnTo>
                  <a:lnTo>
                    <a:pt x="1137" y="221"/>
                  </a:lnTo>
                  <a:lnTo>
                    <a:pt x="1132" y="220"/>
                  </a:lnTo>
                  <a:lnTo>
                    <a:pt x="1127" y="218"/>
                  </a:lnTo>
                  <a:lnTo>
                    <a:pt x="1122" y="216"/>
                  </a:lnTo>
                  <a:lnTo>
                    <a:pt x="1118" y="214"/>
                  </a:lnTo>
                  <a:lnTo>
                    <a:pt x="1114" y="211"/>
                  </a:lnTo>
                  <a:lnTo>
                    <a:pt x="1111" y="208"/>
                  </a:lnTo>
                  <a:lnTo>
                    <a:pt x="1108" y="203"/>
                  </a:lnTo>
                  <a:lnTo>
                    <a:pt x="1106" y="200"/>
                  </a:lnTo>
                  <a:lnTo>
                    <a:pt x="1103" y="195"/>
                  </a:lnTo>
                  <a:lnTo>
                    <a:pt x="1101" y="191"/>
                  </a:lnTo>
                  <a:lnTo>
                    <a:pt x="1100" y="185"/>
                  </a:lnTo>
                  <a:lnTo>
                    <a:pt x="1099" y="179"/>
                  </a:lnTo>
                  <a:lnTo>
                    <a:pt x="1098" y="173"/>
                  </a:lnTo>
                  <a:lnTo>
                    <a:pt x="1098" y="166"/>
                  </a:lnTo>
                  <a:lnTo>
                    <a:pt x="1098" y="0"/>
                  </a:lnTo>
                  <a:lnTo>
                    <a:pt x="1132" y="0"/>
                  </a:lnTo>
                  <a:close/>
                  <a:moveTo>
                    <a:pt x="997" y="149"/>
                  </a:moveTo>
                  <a:lnTo>
                    <a:pt x="1030" y="149"/>
                  </a:lnTo>
                  <a:lnTo>
                    <a:pt x="1014" y="38"/>
                  </a:lnTo>
                  <a:lnTo>
                    <a:pt x="997" y="149"/>
                  </a:lnTo>
                  <a:close/>
                  <a:moveTo>
                    <a:pt x="1076" y="219"/>
                  </a:moveTo>
                  <a:lnTo>
                    <a:pt x="1041" y="219"/>
                  </a:lnTo>
                  <a:lnTo>
                    <a:pt x="1035" y="179"/>
                  </a:lnTo>
                  <a:lnTo>
                    <a:pt x="992" y="179"/>
                  </a:lnTo>
                  <a:lnTo>
                    <a:pt x="987" y="219"/>
                  </a:lnTo>
                  <a:lnTo>
                    <a:pt x="955" y="219"/>
                  </a:lnTo>
                  <a:lnTo>
                    <a:pt x="990" y="0"/>
                  </a:lnTo>
                  <a:lnTo>
                    <a:pt x="1041" y="0"/>
                  </a:lnTo>
                  <a:lnTo>
                    <a:pt x="1076" y="219"/>
                  </a:lnTo>
                  <a:close/>
                  <a:moveTo>
                    <a:pt x="872" y="131"/>
                  </a:moveTo>
                  <a:lnTo>
                    <a:pt x="861" y="151"/>
                  </a:lnTo>
                  <a:lnTo>
                    <a:pt x="861" y="219"/>
                  </a:lnTo>
                  <a:lnTo>
                    <a:pt x="826" y="219"/>
                  </a:lnTo>
                  <a:lnTo>
                    <a:pt x="826" y="0"/>
                  </a:lnTo>
                  <a:lnTo>
                    <a:pt x="861" y="0"/>
                  </a:lnTo>
                  <a:lnTo>
                    <a:pt x="861" y="95"/>
                  </a:lnTo>
                  <a:lnTo>
                    <a:pt x="907" y="0"/>
                  </a:lnTo>
                  <a:lnTo>
                    <a:pt x="941" y="0"/>
                  </a:lnTo>
                  <a:lnTo>
                    <a:pt x="893" y="98"/>
                  </a:lnTo>
                  <a:lnTo>
                    <a:pt x="941" y="219"/>
                  </a:lnTo>
                  <a:lnTo>
                    <a:pt x="906" y="219"/>
                  </a:lnTo>
                  <a:lnTo>
                    <a:pt x="872" y="131"/>
                  </a:lnTo>
                  <a:close/>
                  <a:moveTo>
                    <a:pt x="697" y="0"/>
                  </a:moveTo>
                  <a:lnTo>
                    <a:pt x="804" y="0"/>
                  </a:lnTo>
                  <a:lnTo>
                    <a:pt x="804" y="31"/>
                  </a:lnTo>
                  <a:lnTo>
                    <a:pt x="768" y="31"/>
                  </a:lnTo>
                  <a:lnTo>
                    <a:pt x="768" y="219"/>
                  </a:lnTo>
                  <a:lnTo>
                    <a:pt x="733" y="219"/>
                  </a:lnTo>
                  <a:lnTo>
                    <a:pt x="733" y="31"/>
                  </a:lnTo>
                  <a:lnTo>
                    <a:pt x="697" y="31"/>
                  </a:lnTo>
                  <a:lnTo>
                    <a:pt x="697" y="0"/>
                  </a:lnTo>
                  <a:close/>
                  <a:moveTo>
                    <a:pt x="619" y="92"/>
                  </a:moveTo>
                  <a:lnTo>
                    <a:pt x="666" y="92"/>
                  </a:lnTo>
                  <a:lnTo>
                    <a:pt x="666" y="124"/>
                  </a:lnTo>
                  <a:lnTo>
                    <a:pt x="619" y="124"/>
                  </a:lnTo>
                  <a:lnTo>
                    <a:pt x="619" y="187"/>
                  </a:lnTo>
                  <a:lnTo>
                    <a:pt x="678" y="187"/>
                  </a:lnTo>
                  <a:lnTo>
                    <a:pt x="678" y="219"/>
                  </a:lnTo>
                  <a:lnTo>
                    <a:pt x="584" y="219"/>
                  </a:lnTo>
                  <a:lnTo>
                    <a:pt x="584" y="0"/>
                  </a:lnTo>
                  <a:lnTo>
                    <a:pt x="678" y="0"/>
                  </a:lnTo>
                  <a:lnTo>
                    <a:pt x="678" y="31"/>
                  </a:lnTo>
                  <a:lnTo>
                    <a:pt x="619" y="31"/>
                  </a:lnTo>
                  <a:lnTo>
                    <a:pt x="619" y="92"/>
                  </a:lnTo>
                  <a:close/>
                  <a:moveTo>
                    <a:pt x="492" y="131"/>
                  </a:moveTo>
                  <a:lnTo>
                    <a:pt x="482" y="151"/>
                  </a:lnTo>
                  <a:lnTo>
                    <a:pt x="482" y="219"/>
                  </a:lnTo>
                  <a:lnTo>
                    <a:pt x="447" y="219"/>
                  </a:lnTo>
                  <a:lnTo>
                    <a:pt x="447" y="0"/>
                  </a:lnTo>
                  <a:lnTo>
                    <a:pt x="482" y="0"/>
                  </a:lnTo>
                  <a:lnTo>
                    <a:pt x="482" y="95"/>
                  </a:lnTo>
                  <a:lnTo>
                    <a:pt x="526" y="0"/>
                  </a:lnTo>
                  <a:lnTo>
                    <a:pt x="561" y="0"/>
                  </a:lnTo>
                  <a:lnTo>
                    <a:pt x="513" y="98"/>
                  </a:lnTo>
                  <a:lnTo>
                    <a:pt x="561" y="219"/>
                  </a:lnTo>
                  <a:lnTo>
                    <a:pt x="525" y="219"/>
                  </a:lnTo>
                  <a:lnTo>
                    <a:pt x="492" y="131"/>
                  </a:lnTo>
                  <a:close/>
                  <a:moveTo>
                    <a:pt x="347" y="31"/>
                  </a:moveTo>
                  <a:lnTo>
                    <a:pt x="347" y="99"/>
                  </a:lnTo>
                  <a:lnTo>
                    <a:pt x="361" y="99"/>
                  </a:lnTo>
                  <a:lnTo>
                    <a:pt x="365" y="99"/>
                  </a:lnTo>
                  <a:lnTo>
                    <a:pt x="370" y="98"/>
                  </a:lnTo>
                  <a:lnTo>
                    <a:pt x="373" y="95"/>
                  </a:lnTo>
                  <a:lnTo>
                    <a:pt x="375" y="94"/>
                  </a:lnTo>
                  <a:lnTo>
                    <a:pt x="376" y="93"/>
                  </a:lnTo>
                  <a:lnTo>
                    <a:pt x="378" y="90"/>
                  </a:lnTo>
                  <a:lnTo>
                    <a:pt x="380" y="86"/>
                  </a:lnTo>
                  <a:lnTo>
                    <a:pt x="381" y="82"/>
                  </a:lnTo>
                  <a:lnTo>
                    <a:pt x="381" y="75"/>
                  </a:lnTo>
                  <a:lnTo>
                    <a:pt x="381" y="53"/>
                  </a:lnTo>
                  <a:lnTo>
                    <a:pt x="381" y="48"/>
                  </a:lnTo>
                  <a:lnTo>
                    <a:pt x="381" y="44"/>
                  </a:lnTo>
                  <a:lnTo>
                    <a:pt x="379" y="39"/>
                  </a:lnTo>
                  <a:lnTo>
                    <a:pt x="378" y="36"/>
                  </a:lnTo>
                  <a:lnTo>
                    <a:pt x="375" y="34"/>
                  </a:lnTo>
                  <a:lnTo>
                    <a:pt x="374" y="33"/>
                  </a:lnTo>
                  <a:lnTo>
                    <a:pt x="372" y="32"/>
                  </a:lnTo>
                  <a:lnTo>
                    <a:pt x="368" y="31"/>
                  </a:lnTo>
                  <a:lnTo>
                    <a:pt x="364" y="31"/>
                  </a:lnTo>
                  <a:lnTo>
                    <a:pt x="347" y="31"/>
                  </a:lnTo>
                  <a:close/>
                  <a:moveTo>
                    <a:pt x="385" y="219"/>
                  </a:moveTo>
                  <a:lnTo>
                    <a:pt x="384" y="215"/>
                  </a:lnTo>
                  <a:lnTo>
                    <a:pt x="383" y="211"/>
                  </a:lnTo>
                  <a:lnTo>
                    <a:pt x="382" y="203"/>
                  </a:lnTo>
                  <a:lnTo>
                    <a:pt x="382" y="192"/>
                  </a:lnTo>
                  <a:lnTo>
                    <a:pt x="382" y="158"/>
                  </a:lnTo>
                  <a:lnTo>
                    <a:pt x="381" y="150"/>
                  </a:lnTo>
                  <a:lnTo>
                    <a:pt x="381" y="145"/>
                  </a:lnTo>
                  <a:lnTo>
                    <a:pt x="379" y="140"/>
                  </a:lnTo>
                  <a:lnTo>
                    <a:pt x="377" y="136"/>
                  </a:lnTo>
                  <a:lnTo>
                    <a:pt x="375" y="135"/>
                  </a:lnTo>
                  <a:lnTo>
                    <a:pt x="374" y="133"/>
                  </a:lnTo>
                  <a:lnTo>
                    <a:pt x="370" y="131"/>
                  </a:lnTo>
                  <a:lnTo>
                    <a:pt x="365" y="130"/>
                  </a:lnTo>
                  <a:lnTo>
                    <a:pt x="359" y="129"/>
                  </a:lnTo>
                  <a:lnTo>
                    <a:pt x="347" y="129"/>
                  </a:lnTo>
                  <a:lnTo>
                    <a:pt x="347" y="219"/>
                  </a:lnTo>
                  <a:lnTo>
                    <a:pt x="313" y="219"/>
                  </a:lnTo>
                  <a:lnTo>
                    <a:pt x="313" y="0"/>
                  </a:lnTo>
                  <a:lnTo>
                    <a:pt x="365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83" y="1"/>
                  </a:lnTo>
                  <a:lnTo>
                    <a:pt x="389" y="2"/>
                  </a:lnTo>
                  <a:lnTo>
                    <a:pt x="393" y="4"/>
                  </a:lnTo>
                  <a:lnTo>
                    <a:pt x="397" y="7"/>
                  </a:lnTo>
                  <a:lnTo>
                    <a:pt x="400" y="10"/>
                  </a:lnTo>
                  <a:lnTo>
                    <a:pt x="404" y="12"/>
                  </a:lnTo>
                  <a:lnTo>
                    <a:pt x="407" y="16"/>
                  </a:lnTo>
                  <a:lnTo>
                    <a:pt x="410" y="19"/>
                  </a:lnTo>
                  <a:lnTo>
                    <a:pt x="412" y="23"/>
                  </a:lnTo>
                  <a:lnTo>
                    <a:pt x="413" y="28"/>
                  </a:lnTo>
                  <a:lnTo>
                    <a:pt x="414" y="33"/>
                  </a:lnTo>
                  <a:lnTo>
                    <a:pt x="415" y="38"/>
                  </a:lnTo>
                  <a:lnTo>
                    <a:pt x="416" y="44"/>
                  </a:lnTo>
                  <a:lnTo>
                    <a:pt x="416" y="50"/>
                  </a:lnTo>
                  <a:lnTo>
                    <a:pt x="416" y="68"/>
                  </a:lnTo>
                  <a:lnTo>
                    <a:pt x="416" y="75"/>
                  </a:lnTo>
                  <a:lnTo>
                    <a:pt x="415" y="83"/>
                  </a:lnTo>
                  <a:lnTo>
                    <a:pt x="413" y="89"/>
                  </a:lnTo>
                  <a:lnTo>
                    <a:pt x="411" y="95"/>
                  </a:lnTo>
                  <a:lnTo>
                    <a:pt x="409" y="99"/>
                  </a:lnTo>
                  <a:lnTo>
                    <a:pt x="408" y="101"/>
                  </a:lnTo>
                  <a:lnTo>
                    <a:pt x="405" y="103"/>
                  </a:lnTo>
                  <a:lnTo>
                    <a:pt x="403" y="105"/>
                  </a:lnTo>
                  <a:lnTo>
                    <a:pt x="399" y="109"/>
                  </a:lnTo>
                  <a:lnTo>
                    <a:pt x="394" y="112"/>
                  </a:lnTo>
                  <a:lnTo>
                    <a:pt x="397" y="113"/>
                  </a:lnTo>
                  <a:lnTo>
                    <a:pt x="399" y="115"/>
                  </a:lnTo>
                  <a:lnTo>
                    <a:pt x="402" y="117"/>
                  </a:lnTo>
                  <a:lnTo>
                    <a:pt x="404" y="119"/>
                  </a:lnTo>
                  <a:lnTo>
                    <a:pt x="409" y="124"/>
                  </a:lnTo>
                  <a:lnTo>
                    <a:pt x="412" y="129"/>
                  </a:lnTo>
                  <a:lnTo>
                    <a:pt x="414" y="136"/>
                  </a:lnTo>
                  <a:lnTo>
                    <a:pt x="415" y="143"/>
                  </a:lnTo>
                  <a:lnTo>
                    <a:pt x="416" y="146"/>
                  </a:lnTo>
                  <a:lnTo>
                    <a:pt x="416" y="150"/>
                  </a:lnTo>
                  <a:lnTo>
                    <a:pt x="416" y="159"/>
                  </a:lnTo>
                  <a:lnTo>
                    <a:pt x="416" y="193"/>
                  </a:lnTo>
                  <a:lnTo>
                    <a:pt x="416" y="200"/>
                  </a:lnTo>
                  <a:lnTo>
                    <a:pt x="417" y="206"/>
                  </a:lnTo>
                  <a:lnTo>
                    <a:pt x="418" y="213"/>
                  </a:lnTo>
                  <a:lnTo>
                    <a:pt x="419" y="216"/>
                  </a:lnTo>
                  <a:lnTo>
                    <a:pt x="420" y="219"/>
                  </a:lnTo>
                  <a:lnTo>
                    <a:pt x="385" y="219"/>
                  </a:lnTo>
                  <a:close/>
                  <a:moveTo>
                    <a:pt x="211" y="149"/>
                  </a:moveTo>
                  <a:lnTo>
                    <a:pt x="244" y="149"/>
                  </a:lnTo>
                  <a:lnTo>
                    <a:pt x="227" y="38"/>
                  </a:lnTo>
                  <a:lnTo>
                    <a:pt x="211" y="149"/>
                  </a:lnTo>
                  <a:close/>
                  <a:moveTo>
                    <a:pt x="289" y="219"/>
                  </a:moveTo>
                  <a:lnTo>
                    <a:pt x="254" y="219"/>
                  </a:lnTo>
                  <a:lnTo>
                    <a:pt x="249" y="179"/>
                  </a:lnTo>
                  <a:lnTo>
                    <a:pt x="207" y="179"/>
                  </a:lnTo>
                  <a:lnTo>
                    <a:pt x="200" y="219"/>
                  </a:lnTo>
                  <a:lnTo>
                    <a:pt x="169" y="219"/>
                  </a:lnTo>
                  <a:lnTo>
                    <a:pt x="203" y="0"/>
                  </a:lnTo>
                  <a:lnTo>
                    <a:pt x="254" y="0"/>
                  </a:lnTo>
                  <a:lnTo>
                    <a:pt x="289" y="219"/>
                  </a:lnTo>
                  <a:close/>
                  <a:moveTo>
                    <a:pt x="73" y="156"/>
                  </a:moveTo>
                  <a:lnTo>
                    <a:pt x="97" y="0"/>
                  </a:lnTo>
                  <a:lnTo>
                    <a:pt x="145" y="0"/>
                  </a:lnTo>
                  <a:lnTo>
                    <a:pt x="145" y="219"/>
                  </a:lnTo>
                  <a:lnTo>
                    <a:pt x="113" y="219"/>
                  </a:lnTo>
                  <a:lnTo>
                    <a:pt x="113" y="62"/>
                  </a:lnTo>
                  <a:lnTo>
                    <a:pt x="88" y="219"/>
                  </a:lnTo>
                  <a:lnTo>
                    <a:pt x="55" y="219"/>
                  </a:lnTo>
                  <a:lnTo>
                    <a:pt x="30" y="64"/>
                  </a:lnTo>
                  <a:lnTo>
                    <a:pt x="30" y="219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48" y="0"/>
                  </a:lnTo>
                  <a:lnTo>
                    <a:pt x="73" y="1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6595931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7" name="Rectangle 6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0B44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3271EF7-FA46-4887-B8AA-B903C20C7EA1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17876144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5BDD74-410D-461A-B4F2-7135E018B796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944649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4766C1-EAE8-4B48-963C-FD7EA653BF60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3522375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E02E0-A3A3-41AF-A949-83F3836CBF3F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165152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8969CA-AE75-4BAE-B634-3DC9D067FCB6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5594025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4E299-E810-4501-A23B-2EDCDF598F52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2486338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6C54B5-6D34-479C-AC3A-EE52FE5213C0}" type="datetime1">
              <a:rPr lang="fi-FI" smtClean="0"/>
              <a:t>28.2.2018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8473708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488E6-EC98-41B5-9FC5-F53BED195C18}" type="datetime1">
              <a:rPr lang="fi-FI" smtClean="0"/>
              <a:t>28.2.2018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0243219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EAC46A-AEB0-43D4-847B-5B17D60D63F3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8389101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C0A58A9-232D-4A98-AB62-EAD242D4F4A7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8"/>
            <p:cNvSpPr>
              <a:spLocks noEditPoints="1"/>
            </p:cNvSpPr>
            <p:nvPr userDrawn="1"/>
          </p:nvSpPr>
          <p:spPr bwMode="auto">
            <a:xfrm>
              <a:off x="9180914" y="6472295"/>
              <a:ext cx="1318115" cy="247029"/>
            </a:xfrm>
            <a:custGeom>
              <a:avLst/>
              <a:gdLst>
                <a:gd name="T0" fmla="*/ 1324 w 1397"/>
                <a:gd name="T1" fmla="*/ 49 h 263"/>
                <a:gd name="T2" fmla="*/ 1356 w 1397"/>
                <a:gd name="T3" fmla="*/ 260 h 263"/>
                <a:gd name="T4" fmla="*/ 1293 w 1397"/>
                <a:gd name="T5" fmla="*/ 260 h 263"/>
                <a:gd name="T6" fmla="*/ 1355 w 1397"/>
                <a:gd name="T7" fmla="*/ 4 h 263"/>
                <a:gd name="T8" fmla="*/ 1172 w 1397"/>
                <a:gd name="T9" fmla="*/ 4 h 263"/>
                <a:gd name="T10" fmla="*/ 1190 w 1397"/>
                <a:gd name="T11" fmla="*/ 260 h 263"/>
                <a:gd name="T12" fmla="*/ 1124 w 1397"/>
                <a:gd name="T13" fmla="*/ 260 h 263"/>
                <a:gd name="T14" fmla="*/ 1059 w 1397"/>
                <a:gd name="T15" fmla="*/ 260 h 263"/>
                <a:gd name="T16" fmla="*/ 1145 w 1397"/>
                <a:gd name="T17" fmla="*/ 186 h 263"/>
                <a:gd name="T18" fmla="*/ 1021 w 1397"/>
                <a:gd name="T19" fmla="*/ 260 h 263"/>
                <a:gd name="T20" fmla="*/ 865 w 1397"/>
                <a:gd name="T21" fmla="*/ 200 h 263"/>
                <a:gd name="T22" fmla="*/ 876 w 1397"/>
                <a:gd name="T23" fmla="*/ 225 h 263"/>
                <a:gd name="T24" fmla="*/ 901 w 1397"/>
                <a:gd name="T25" fmla="*/ 219 h 263"/>
                <a:gd name="T26" fmla="*/ 906 w 1397"/>
                <a:gd name="T27" fmla="*/ 62 h 263"/>
                <a:gd name="T28" fmla="*/ 893 w 1397"/>
                <a:gd name="T29" fmla="*/ 39 h 263"/>
                <a:gd name="T30" fmla="*/ 870 w 1397"/>
                <a:gd name="T31" fmla="*/ 43 h 263"/>
                <a:gd name="T32" fmla="*/ 865 w 1397"/>
                <a:gd name="T33" fmla="*/ 200 h 263"/>
                <a:gd name="T34" fmla="*/ 828 w 1397"/>
                <a:gd name="T35" fmla="*/ 37 h 263"/>
                <a:gd name="T36" fmla="*/ 849 w 1397"/>
                <a:gd name="T37" fmla="*/ 10 h 263"/>
                <a:gd name="T38" fmla="*/ 885 w 1397"/>
                <a:gd name="T39" fmla="*/ 0 h 263"/>
                <a:gd name="T40" fmla="*/ 922 w 1397"/>
                <a:gd name="T41" fmla="*/ 10 h 263"/>
                <a:gd name="T42" fmla="*/ 936 w 1397"/>
                <a:gd name="T43" fmla="*/ 27 h 263"/>
                <a:gd name="T44" fmla="*/ 946 w 1397"/>
                <a:gd name="T45" fmla="*/ 65 h 263"/>
                <a:gd name="T46" fmla="*/ 942 w 1397"/>
                <a:gd name="T47" fmla="*/ 225 h 263"/>
                <a:gd name="T48" fmla="*/ 922 w 1397"/>
                <a:gd name="T49" fmla="*/ 252 h 263"/>
                <a:gd name="T50" fmla="*/ 885 w 1397"/>
                <a:gd name="T51" fmla="*/ 262 h 263"/>
                <a:gd name="T52" fmla="*/ 849 w 1397"/>
                <a:gd name="T53" fmla="*/ 252 h 263"/>
                <a:gd name="T54" fmla="*/ 833 w 1397"/>
                <a:gd name="T55" fmla="*/ 236 h 263"/>
                <a:gd name="T56" fmla="*/ 824 w 1397"/>
                <a:gd name="T57" fmla="*/ 198 h 263"/>
                <a:gd name="T58" fmla="*/ 763 w 1397"/>
                <a:gd name="T59" fmla="*/ 4 h 263"/>
                <a:gd name="T60" fmla="*/ 701 w 1397"/>
                <a:gd name="T61" fmla="*/ 260 h 263"/>
                <a:gd name="T62" fmla="*/ 732 w 1397"/>
                <a:gd name="T63" fmla="*/ 212 h 263"/>
                <a:gd name="T64" fmla="*/ 633 w 1397"/>
                <a:gd name="T65" fmla="*/ 260 h 263"/>
                <a:gd name="T66" fmla="*/ 460 w 1397"/>
                <a:gd name="T67" fmla="*/ 4 h 263"/>
                <a:gd name="T68" fmla="*/ 566 w 1397"/>
                <a:gd name="T69" fmla="*/ 223 h 263"/>
                <a:gd name="T70" fmla="*/ 460 w 1397"/>
                <a:gd name="T71" fmla="*/ 4 h 263"/>
                <a:gd name="T72" fmla="*/ 345 w 1397"/>
                <a:gd name="T73" fmla="*/ 212 h 263"/>
                <a:gd name="T74" fmla="*/ 364 w 1397"/>
                <a:gd name="T75" fmla="*/ 226 h 263"/>
                <a:gd name="T76" fmla="*/ 384 w 1397"/>
                <a:gd name="T77" fmla="*/ 212 h 263"/>
                <a:gd name="T78" fmla="*/ 424 w 1397"/>
                <a:gd name="T79" fmla="*/ 4 h 263"/>
                <a:gd name="T80" fmla="*/ 419 w 1397"/>
                <a:gd name="T81" fmla="*/ 226 h 263"/>
                <a:gd name="T82" fmla="*/ 399 w 1397"/>
                <a:gd name="T83" fmla="*/ 253 h 263"/>
                <a:gd name="T84" fmla="*/ 363 w 1397"/>
                <a:gd name="T85" fmla="*/ 263 h 263"/>
                <a:gd name="T86" fmla="*/ 327 w 1397"/>
                <a:gd name="T87" fmla="*/ 253 h 263"/>
                <a:gd name="T88" fmla="*/ 307 w 1397"/>
                <a:gd name="T89" fmla="*/ 226 h 263"/>
                <a:gd name="T90" fmla="*/ 304 w 1397"/>
                <a:gd name="T91" fmla="*/ 4 h 263"/>
                <a:gd name="T92" fmla="*/ 189 w 1397"/>
                <a:gd name="T93" fmla="*/ 200 h 263"/>
                <a:gd name="T94" fmla="*/ 201 w 1397"/>
                <a:gd name="T95" fmla="*/ 225 h 263"/>
                <a:gd name="T96" fmla="*/ 225 w 1397"/>
                <a:gd name="T97" fmla="*/ 220 h 263"/>
                <a:gd name="T98" fmla="*/ 231 w 1397"/>
                <a:gd name="T99" fmla="*/ 4 h 263"/>
                <a:gd name="T100" fmla="*/ 268 w 1397"/>
                <a:gd name="T101" fmla="*/ 213 h 263"/>
                <a:gd name="T102" fmla="*/ 253 w 1397"/>
                <a:gd name="T103" fmla="*/ 246 h 263"/>
                <a:gd name="T104" fmla="*/ 223 w 1397"/>
                <a:gd name="T105" fmla="*/ 262 h 263"/>
                <a:gd name="T106" fmla="*/ 182 w 1397"/>
                <a:gd name="T107" fmla="*/ 259 h 263"/>
                <a:gd name="T108" fmla="*/ 157 w 1397"/>
                <a:gd name="T109" fmla="*/ 236 h 263"/>
                <a:gd name="T110" fmla="*/ 149 w 1397"/>
                <a:gd name="T111" fmla="*/ 198 h 263"/>
                <a:gd name="T112" fmla="*/ 0 w 1397"/>
                <a:gd name="T113" fmla="*/ 4 h 263"/>
                <a:gd name="T114" fmla="*/ 82 w 1397"/>
                <a:gd name="T115" fmla="*/ 40 h 263"/>
                <a:gd name="T116" fmla="*/ 42 w 1397"/>
                <a:gd name="T117" fmla="*/ 4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7" h="263">
                  <a:moveTo>
                    <a:pt x="1305" y="178"/>
                  </a:moveTo>
                  <a:lnTo>
                    <a:pt x="1344" y="178"/>
                  </a:lnTo>
                  <a:lnTo>
                    <a:pt x="1324" y="49"/>
                  </a:lnTo>
                  <a:lnTo>
                    <a:pt x="1305" y="178"/>
                  </a:lnTo>
                  <a:close/>
                  <a:moveTo>
                    <a:pt x="1397" y="260"/>
                  </a:moveTo>
                  <a:lnTo>
                    <a:pt x="1356" y="260"/>
                  </a:lnTo>
                  <a:lnTo>
                    <a:pt x="1349" y="213"/>
                  </a:lnTo>
                  <a:lnTo>
                    <a:pt x="1299" y="213"/>
                  </a:lnTo>
                  <a:lnTo>
                    <a:pt x="1293" y="260"/>
                  </a:lnTo>
                  <a:lnTo>
                    <a:pt x="1256" y="260"/>
                  </a:lnTo>
                  <a:lnTo>
                    <a:pt x="1297" y="4"/>
                  </a:lnTo>
                  <a:lnTo>
                    <a:pt x="1355" y="4"/>
                  </a:lnTo>
                  <a:lnTo>
                    <a:pt x="1397" y="260"/>
                  </a:lnTo>
                  <a:close/>
                  <a:moveTo>
                    <a:pt x="1145" y="186"/>
                  </a:moveTo>
                  <a:lnTo>
                    <a:pt x="1172" y="4"/>
                  </a:lnTo>
                  <a:lnTo>
                    <a:pt x="1228" y="4"/>
                  </a:lnTo>
                  <a:lnTo>
                    <a:pt x="1228" y="260"/>
                  </a:lnTo>
                  <a:lnTo>
                    <a:pt x="1190" y="260"/>
                  </a:lnTo>
                  <a:lnTo>
                    <a:pt x="1190" y="76"/>
                  </a:lnTo>
                  <a:lnTo>
                    <a:pt x="1162" y="260"/>
                  </a:lnTo>
                  <a:lnTo>
                    <a:pt x="1124" y="260"/>
                  </a:lnTo>
                  <a:lnTo>
                    <a:pt x="1094" y="79"/>
                  </a:lnTo>
                  <a:lnTo>
                    <a:pt x="1094" y="260"/>
                  </a:lnTo>
                  <a:lnTo>
                    <a:pt x="1059" y="260"/>
                  </a:lnTo>
                  <a:lnTo>
                    <a:pt x="1059" y="4"/>
                  </a:lnTo>
                  <a:lnTo>
                    <a:pt x="1115" y="4"/>
                  </a:lnTo>
                  <a:lnTo>
                    <a:pt x="1145" y="186"/>
                  </a:lnTo>
                  <a:close/>
                  <a:moveTo>
                    <a:pt x="981" y="4"/>
                  </a:moveTo>
                  <a:lnTo>
                    <a:pt x="1021" y="4"/>
                  </a:lnTo>
                  <a:lnTo>
                    <a:pt x="1021" y="260"/>
                  </a:lnTo>
                  <a:lnTo>
                    <a:pt x="981" y="260"/>
                  </a:lnTo>
                  <a:lnTo>
                    <a:pt x="981" y="4"/>
                  </a:lnTo>
                  <a:close/>
                  <a:moveTo>
                    <a:pt x="865" y="200"/>
                  </a:moveTo>
                  <a:lnTo>
                    <a:pt x="866" y="212"/>
                  </a:lnTo>
                  <a:lnTo>
                    <a:pt x="870" y="219"/>
                  </a:lnTo>
                  <a:lnTo>
                    <a:pt x="876" y="225"/>
                  </a:lnTo>
                  <a:lnTo>
                    <a:pt x="885" y="226"/>
                  </a:lnTo>
                  <a:lnTo>
                    <a:pt x="893" y="225"/>
                  </a:lnTo>
                  <a:lnTo>
                    <a:pt x="901" y="219"/>
                  </a:lnTo>
                  <a:lnTo>
                    <a:pt x="905" y="212"/>
                  </a:lnTo>
                  <a:lnTo>
                    <a:pt x="906" y="200"/>
                  </a:lnTo>
                  <a:lnTo>
                    <a:pt x="906" y="62"/>
                  </a:lnTo>
                  <a:lnTo>
                    <a:pt x="905" y="50"/>
                  </a:lnTo>
                  <a:lnTo>
                    <a:pt x="901" y="43"/>
                  </a:lnTo>
                  <a:lnTo>
                    <a:pt x="893" y="39"/>
                  </a:lnTo>
                  <a:lnTo>
                    <a:pt x="885" y="37"/>
                  </a:lnTo>
                  <a:lnTo>
                    <a:pt x="876" y="39"/>
                  </a:lnTo>
                  <a:lnTo>
                    <a:pt x="870" y="43"/>
                  </a:lnTo>
                  <a:lnTo>
                    <a:pt x="866" y="50"/>
                  </a:lnTo>
                  <a:lnTo>
                    <a:pt x="865" y="62"/>
                  </a:lnTo>
                  <a:lnTo>
                    <a:pt x="865" y="200"/>
                  </a:lnTo>
                  <a:close/>
                  <a:moveTo>
                    <a:pt x="824" y="65"/>
                  </a:moveTo>
                  <a:lnTo>
                    <a:pt x="824" y="50"/>
                  </a:lnTo>
                  <a:lnTo>
                    <a:pt x="828" y="37"/>
                  </a:lnTo>
                  <a:lnTo>
                    <a:pt x="833" y="27"/>
                  </a:lnTo>
                  <a:lnTo>
                    <a:pt x="839" y="17"/>
                  </a:lnTo>
                  <a:lnTo>
                    <a:pt x="849" y="10"/>
                  </a:lnTo>
                  <a:lnTo>
                    <a:pt x="858" y="5"/>
                  </a:lnTo>
                  <a:lnTo>
                    <a:pt x="871" y="2"/>
                  </a:lnTo>
                  <a:lnTo>
                    <a:pt x="885" y="0"/>
                  </a:lnTo>
                  <a:lnTo>
                    <a:pt x="898" y="2"/>
                  </a:lnTo>
                  <a:lnTo>
                    <a:pt x="911" y="5"/>
                  </a:lnTo>
                  <a:lnTo>
                    <a:pt x="922" y="10"/>
                  </a:lnTo>
                  <a:lnTo>
                    <a:pt x="930" y="17"/>
                  </a:lnTo>
                  <a:lnTo>
                    <a:pt x="933" y="22"/>
                  </a:lnTo>
                  <a:lnTo>
                    <a:pt x="936" y="27"/>
                  </a:lnTo>
                  <a:lnTo>
                    <a:pt x="942" y="37"/>
                  </a:lnTo>
                  <a:lnTo>
                    <a:pt x="945" y="50"/>
                  </a:lnTo>
                  <a:lnTo>
                    <a:pt x="946" y="65"/>
                  </a:lnTo>
                  <a:lnTo>
                    <a:pt x="946" y="198"/>
                  </a:lnTo>
                  <a:lnTo>
                    <a:pt x="945" y="212"/>
                  </a:lnTo>
                  <a:lnTo>
                    <a:pt x="942" y="225"/>
                  </a:lnTo>
                  <a:lnTo>
                    <a:pt x="936" y="236"/>
                  </a:lnTo>
                  <a:lnTo>
                    <a:pt x="930" y="246"/>
                  </a:lnTo>
                  <a:lnTo>
                    <a:pt x="922" y="252"/>
                  </a:lnTo>
                  <a:lnTo>
                    <a:pt x="911" y="257"/>
                  </a:lnTo>
                  <a:lnTo>
                    <a:pt x="898" y="261"/>
                  </a:lnTo>
                  <a:lnTo>
                    <a:pt x="885" y="262"/>
                  </a:lnTo>
                  <a:lnTo>
                    <a:pt x="871" y="261"/>
                  </a:lnTo>
                  <a:lnTo>
                    <a:pt x="858" y="257"/>
                  </a:lnTo>
                  <a:lnTo>
                    <a:pt x="849" y="252"/>
                  </a:lnTo>
                  <a:lnTo>
                    <a:pt x="839" y="246"/>
                  </a:lnTo>
                  <a:lnTo>
                    <a:pt x="836" y="241"/>
                  </a:lnTo>
                  <a:lnTo>
                    <a:pt x="833" y="236"/>
                  </a:lnTo>
                  <a:lnTo>
                    <a:pt x="828" y="225"/>
                  </a:lnTo>
                  <a:lnTo>
                    <a:pt x="824" y="212"/>
                  </a:lnTo>
                  <a:lnTo>
                    <a:pt x="824" y="198"/>
                  </a:lnTo>
                  <a:lnTo>
                    <a:pt x="824" y="65"/>
                  </a:lnTo>
                  <a:close/>
                  <a:moveTo>
                    <a:pt x="732" y="212"/>
                  </a:moveTo>
                  <a:lnTo>
                    <a:pt x="763" y="4"/>
                  </a:lnTo>
                  <a:lnTo>
                    <a:pt x="800" y="4"/>
                  </a:lnTo>
                  <a:lnTo>
                    <a:pt x="760" y="260"/>
                  </a:lnTo>
                  <a:lnTo>
                    <a:pt x="701" y="260"/>
                  </a:lnTo>
                  <a:lnTo>
                    <a:pt x="660" y="4"/>
                  </a:lnTo>
                  <a:lnTo>
                    <a:pt x="702" y="4"/>
                  </a:lnTo>
                  <a:lnTo>
                    <a:pt x="732" y="212"/>
                  </a:lnTo>
                  <a:close/>
                  <a:moveTo>
                    <a:pt x="593" y="4"/>
                  </a:moveTo>
                  <a:lnTo>
                    <a:pt x="633" y="4"/>
                  </a:lnTo>
                  <a:lnTo>
                    <a:pt x="633" y="260"/>
                  </a:lnTo>
                  <a:lnTo>
                    <a:pt x="593" y="260"/>
                  </a:lnTo>
                  <a:lnTo>
                    <a:pt x="593" y="4"/>
                  </a:lnTo>
                  <a:close/>
                  <a:moveTo>
                    <a:pt x="460" y="4"/>
                  </a:moveTo>
                  <a:lnTo>
                    <a:pt x="500" y="4"/>
                  </a:lnTo>
                  <a:lnTo>
                    <a:pt x="500" y="223"/>
                  </a:lnTo>
                  <a:lnTo>
                    <a:pt x="566" y="223"/>
                  </a:lnTo>
                  <a:lnTo>
                    <a:pt x="566" y="260"/>
                  </a:lnTo>
                  <a:lnTo>
                    <a:pt x="460" y="260"/>
                  </a:lnTo>
                  <a:lnTo>
                    <a:pt x="460" y="4"/>
                  </a:lnTo>
                  <a:close/>
                  <a:moveTo>
                    <a:pt x="343" y="4"/>
                  </a:moveTo>
                  <a:lnTo>
                    <a:pt x="343" y="200"/>
                  </a:lnTo>
                  <a:lnTo>
                    <a:pt x="345" y="212"/>
                  </a:lnTo>
                  <a:lnTo>
                    <a:pt x="350" y="220"/>
                  </a:lnTo>
                  <a:lnTo>
                    <a:pt x="356" y="225"/>
                  </a:lnTo>
                  <a:lnTo>
                    <a:pt x="364" y="226"/>
                  </a:lnTo>
                  <a:lnTo>
                    <a:pt x="373" y="225"/>
                  </a:lnTo>
                  <a:lnTo>
                    <a:pt x="380" y="220"/>
                  </a:lnTo>
                  <a:lnTo>
                    <a:pt x="384" y="212"/>
                  </a:lnTo>
                  <a:lnTo>
                    <a:pt x="386" y="200"/>
                  </a:lnTo>
                  <a:lnTo>
                    <a:pt x="386" y="4"/>
                  </a:lnTo>
                  <a:lnTo>
                    <a:pt x="424" y="4"/>
                  </a:lnTo>
                  <a:lnTo>
                    <a:pt x="424" y="198"/>
                  </a:lnTo>
                  <a:lnTo>
                    <a:pt x="423" y="213"/>
                  </a:lnTo>
                  <a:lnTo>
                    <a:pt x="419" y="226"/>
                  </a:lnTo>
                  <a:lnTo>
                    <a:pt x="415" y="236"/>
                  </a:lnTo>
                  <a:lnTo>
                    <a:pt x="408" y="246"/>
                  </a:lnTo>
                  <a:lnTo>
                    <a:pt x="399" y="253"/>
                  </a:lnTo>
                  <a:lnTo>
                    <a:pt x="390" y="259"/>
                  </a:lnTo>
                  <a:lnTo>
                    <a:pt x="377" y="262"/>
                  </a:lnTo>
                  <a:lnTo>
                    <a:pt x="363" y="263"/>
                  </a:lnTo>
                  <a:lnTo>
                    <a:pt x="350" y="262"/>
                  </a:lnTo>
                  <a:lnTo>
                    <a:pt x="338" y="259"/>
                  </a:lnTo>
                  <a:lnTo>
                    <a:pt x="327" y="253"/>
                  </a:lnTo>
                  <a:lnTo>
                    <a:pt x="319" y="246"/>
                  </a:lnTo>
                  <a:lnTo>
                    <a:pt x="313" y="236"/>
                  </a:lnTo>
                  <a:lnTo>
                    <a:pt x="307" y="226"/>
                  </a:lnTo>
                  <a:lnTo>
                    <a:pt x="304" y="213"/>
                  </a:lnTo>
                  <a:lnTo>
                    <a:pt x="304" y="198"/>
                  </a:lnTo>
                  <a:lnTo>
                    <a:pt x="304" y="4"/>
                  </a:lnTo>
                  <a:lnTo>
                    <a:pt x="343" y="4"/>
                  </a:lnTo>
                  <a:close/>
                  <a:moveTo>
                    <a:pt x="189" y="4"/>
                  </a:moveTo>
                  <a:lnTo>
                    <a:pt x="189" y="200"/>
                  </a:lnTo>
                  <a:lnTo>
                    <a:pt x="191" y="212"/>
                  </a:lnTo>
                  <a:lnTo>
                    <a:pt x="195" y="220"/>
                  </a:lnTo>
                  <a:lnTo>
                    <a:pt x="201" y="225"/>
                  </a:lnTo>
                  <a:lnTo>
                    <a:pt x="210" y="226"/>
                  </a:lnTo>
                  <a:lnTo>
                    <a:pt x="218" y="225"/>
                  </a:lnTo>
                  <a:lnTo>
                    <a:pt x="225" y="220"/>
                  </a:lnTo>
                  <a:lnTo>
                    <a:pt x="229" y="212"/>
                  </a:lnTo>
                  <a:lnTo>
                    <a:pt x="231" y="200"/>
                  </a:lnTo>
                  <a:lnTo>
                    <a:pt x="231" y="4"/>
                  </a:lnTo>
                  <a:lnTo>
                    <a:pt x="269" y="4"/>
                  </a:lnTo>
                  <a:lnTo>
                    <a:pt x="269" y="198"/>
                  </a:lnTo>
                  <a:lnTo>
                    <a:pt x="268" y="213"/>
                  </a:lnTo>
                  <a:lnTo>
                    <a:pt x="265" y="226"/>
                  </a:lnTo>
                  <a:lnTo>
                    <a:pt x="261" y="236"/>
                  </a:lnTo>
                  <a:lnTo>
                    <a:pt x="253" y="246"/>
                  </a:lnTo>
                  <a:lnTo>
                    <a:pt x="245" y="253"/>
                  </a:lnTo>
                  <a:lnTo>
                    <a:pt x="235" y="259"/>
                  </a:lnTo>
                  <a:lnTo>
                    <a:pt x="223" y="262"/>
                  </a:lnTo>
                  <a:lnTo>
                    <a:pt x="209" y="263"/>
                  </a:lnTo>
                  <a:lnTo>
                    <a:pt x="195" y="262"/>
                  </a:lnTo>
                  <a:lnTo>
                    <a:pt x="182" y="259"/>
                  </a:lnTo>
                  <a:lnTo>
                    <a:pt x="173" y="253"/>
                  </a:lnTo>
                  <a:lnTo>
                    <a:pt x="164" y="246"/>
                  </a:lnTo>
                  <a:lnTo>
                    <a:pt x="157" y="236"/>
                  </a:lnTo>
                  <a:lnTo>
                    <a:pt x="153" y="226"/>
                  </a:lnTo>
                  <a:lnTo>
                    <a:pt x="150" y="213"/>
                  </a:lnTo>
                  <a:lnTo>
                    <a:pt x="149" y="198"/>
                  </a:lnTo>
                  <a:lnTo>
                    <a:pt x="149" y="4"/>
                  </a:lnTo>
                  <a:lnTo>
                    <a:pt x="189" y="4"/>
                  </a:lnTo>
                  <a:close/>
                  <a:moveTo>
                    <a:pt x="0" y="4"/>
                  </a:moveTo>
                  <a:lnTo>
                    <a:pt x="124" y="4"/>
                  </a:lnTo>
                  <a:lnTo>
                    <a:pt x="124" y="40"/>
                  </a:lnTo>
                  <a:lnTo>
                    <a:pt x="82" y="40"/>
                  </a:lnTo>
                  <a:lnTo>
                    <a:pt x="82" y="260"/>
                  </a:lnTo>
                  <a:lnTo>
                    <a:pt x="42" y="260"/>
                  </a:lnTo>
                  <a:lnTo>
                    <a:pt x="42" y="40"/>
                  </a:lnTo>
                  <a:lnTo>
                    <a:pt x="0" y="4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51474271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5DA85E-C898-446F-B5AC-D3029684B465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8"/>
            <p:cNvSpPr>
              <a:spLocks noEditPoints="1"/>
            </p:cNvSpPr>
            <p:nvPr userDrawn="1"/>
          </p:nvSpPr>
          <p:spPr bwMode="auto">
            <a:xfrm>
              <a:off x="9180914" y="6472295"/>
              <a:ext cx="1318115" cy="247029"/>
            </a:xfrm>
            <a:custGeom>
              <a:avLst/>
              <a:gdLst>
                <a:gd name="T0" fmla="*/ 1324 w 1397"/>
                <a:gd name="T1" fmla="*/ 49 h 263"/>
                <a:gd name="T2" fmla="*/ 1356 w 1397"/>
                <a:gd name="T3" fmla="*/ 260 h 263"/>
                <a:gd name="T4" fmla="*/ 1293 w 1397"/>
                <a:gd name="T5" fmla="*/ 260 h 263"/>
                <a:gd name="T6" fmla="*/ 1355 w 1397"/>
                <a:gd name="T7" fmla="*/ 4 h 263"/>
                <a:gd name="T8" fmla="*/ 1172 w 1397"/>
                <a:gd name="T9" fmla="*/ 4 h 263"/>
                <a:gd name="T10" fmla="*/ 1190 w 1397"/>
                <a:gd name="T11" fmla="*/ 260 h 263"/>
                <a:gd name="T12" fmla="*/ 1124 w 1397"/>
                <a:gd name="T13" fmla="*/ 260 h 263"/>
                <a:gd name="T14" fmla="*/ 1059 w 1397"/>
                <a:gd name="T15" fmla="*/ 260 h 263"/>
                <a:gd name="T16" fmla="*/ 1145 w 1397"/>
                <a:gd name="T17" fmla="*/ 186 h 263"/>
                <a:gd name="T18" fmla="*/ 1021 w 1397"/>
                <a:gd name="T19" fmla="*/ 260 h 263"/>
                <a:gd name="T20" fmla="*/ 865 w 1397"/>
                <a:gd name="T21" fmla="*/ 200 h 263"/>
                <a:gd name="T22" fmla="*/ 876 w 1397"/>
                <a:gd name="T23" fmla="*/ 225 h 263"/>
                <a:gd name="T24" fmla="*/ 901 w 1397"/>
                <a:gd name="T25" fmla="*/ 219 h 263"/>
                <a:gd name="T26" fmla="*/ 906 w 1397"/>
                <a:gd name="T27" fmla="*/ 62 h 263"/>
                <a:gd name="T28" fmla="*/ 893 w 1397"/>
                <a:gd name="T29" fmla="*/ 39 h 263"/>
                <a:gd name="T30" fmla="*/ 870 w 1397"/>
                <a:gd name="T31" fmla="*/ 43 h 263"/>
                <a:gd name="T32" fmla="*/ 865 w 1397"/>
                <a:gd name="T33" fmla="*/ 200 h 263"/>
                <a:gd name="T34" fmla="*/ 828 w 1397"/>
                <a:gd name="T35" fmla="*/ 37 h 263"/>
                <a:gd name="T36" fmla="*/ 849 w 1397"/>
                <a:gd name="T37" fmla="*/ 10 h 263"/>
                <a:gd name="T38" fmla="*/ 885 w 1397"/>
                <a:gd name="T39" fmla="*/ 0 h 263"/>
                <a:gd name="T40" fmla="*/ 922 w 1397"/>
                <a:gd name="T41" fmla="*/ 10 h 263"/>
                <a:gd name="T42" fmla="*/ 936 w 1397"/>
                <a:gd name="T43" fmla="*/ 27 h 263"/>
                <a:gd name="T44" fmla="*/ 946 w 1397"/>
                <a:gd name="T45" fmla="*/ 65 h 263"/>
                <a:gd name="T46" fmla="*/ 942 w 1397"/>
                <a:gd name="T47" fmla="*/ 225 h 263"/>
                <a:gd name="T48" fmla="*/ 922 w 1397"/>
                <a:gd name="T49" fmla="*/ 252 h 263"/>
                <a:gd name="T50" fmla="*/ 885 w 1397"/>
                <a:gd name="T51" fmla="*/ 262 h 263"/>
                <a:gd name="T52" fmla="*/ 849 w 1397"/>
                <a:gd name="T53" fmla="*/ 252 h 263"/>
                <a:gd name="T54" fmla="*/ 833 w 1397"/>
                <a:gd name="T55" fmla="*/ 236 h 263"/>
                <a:gd name="T56" fmla="*/ 824 w 1397"/>
                <a:gd name="T57" fmla="*/ 198 h 263"/>
                <a:gd name="T58" fmla="*/ 763 w 1397"/>
                <a:gd name="T59" fmla="*/ 4 h 263"/>
                <a:gd name="T60" fmla="*/ 701 w 1397"/>
                <a:gd name="T61" fmla="*/ 260 h 263"/>
                <a:gd name="T62" fmla="*/ 732 w 1397"/>
                <a:gd name="T63" fmla="*/ 212 h 263"/>
                <a:gd name="T64" fmla="*/ 633 w 1397"/>
                <a:gd name="T65" fmla="*/ 260 h 263"/>
                <a:gd name="T66" fmla="*/ 460 w 1397"/>
                <a:gd name="T67" fmla="*/ 4 h 263"/>
                <a:gd name="T68" fmla="*/ 566 w 1397"/>
                <a:gd name="T69" fmla="*/ 223 h 263"/>
                <a:gd name="T70" fmla="*/ 460 w 1397"/>
                <a:gd name="T71" fmla="*/ 4 h 263"/>
                <a:gd name="T72" fmla="*/ 345 w 1397"/>
                <a:gd name="T73" fmla="*/ 212 h 263"/>
                <a:gd name="T74" fmla="*/ 364 w 1397"/>
                <a:gd name="T75" fmla="*/ 226 h 263"/>
                <a:gd name="T76" fmla="*/ 384 w 1397"/>
                <a:gd name="T77" fmla="*/ 212 h 263"/>
                <a:gd name="T78" fmla="*/ 424 w 1397"/>
                <a:gd name="T79" fmla="*/ 4 h 263"/>
                <a:gd name="T80" fmla="*/ 419 w 1397"/>
                <a:gd name="T81" fmla="*/ 226 h 263"/>
                <a:gd name="T82" fmla="*/ 399 w 1397"/>
                <a:gd name="T83" fmla="*/ 253 h 263"/>
                <a:gd name="T84" fmla="*/ 363 w 1397"/>
                <a:gd name="T85" fmla="*/ 263 h 263"/>
                <a:gd name="T86" fmla="*/ 327 w 1397"/>
                <a:gd name="T87" fmla="*/ 253 h 263"/>
                <a:gd name="T88" fmla="*/ 307 w 1397"/>
                <a:gd name="T89" fmla="*/ 226 h 263"/>
                <a:gd name="T90" fmla="*/ 304 w 1397"/>
                <a:gd name="T91" fmla="*/ 4 h 263"/>
                <a:gd name="T92" fmla="*/ 189 w 1397"/>
                <a:gd name="T93" fmla="*/ 200 h 263"/>
                <a:gd name="T94" fmla="*/ 201 w 1397"/>
                <a:gd name="T95" fmla="*/ 225 h 263"/>
                <a:gd name="T96" fmla="*/ 225 w 1397"/>
                <a:gd name="T97" fmla="*/ 220 h 263"/>
                <a:gd name="T98" fmla="*/ 231 w 1397"/>
                <a:gd name="T99" fmla="*/ 4 h 263"/>
                <a:gd name="T100" fmla="*/ 268 w 1397"/>
                <a:gd name="T101" fmla="*/ 213 h 263"/>
                <a:gd name="T102" fmla="*/ 253 w 1397"/>
                <a:gd name="T103" fmla="*/ 246 h 263"/>
                <a:gd name="T104" fmla="*/ 223 w 1397"/>
                <a:gd name="T105" fmla="*/ 262 h 263"/>
                <a:gd name="T106" fmla="*/ 182 w 1397"/>
                <a:gd name="T107" fmla="*/ 259 h 263"/>
                <a:gd name="T108" fmla="*/ 157 w 1397"/>
                <a:gd name="T109" fmla="*/ 236 h 263"/>
                <a:gd name="T110" fmla="*/ 149 w 1397"/>
                <a:gd name="T111" fmla="*/ 198 h 263"/>
                <a:gd name="T112" fmla="*/ 0 w 1397"/>
                <a:gd name="T113" fmla="*/ 4 h 263"/>
                <a:gd name="T114" fmla="*/ 82 w 1397"/>
                <a:gd name="T115" fmla="*/ 40 h 263"/>
                <a:gd name="T116" fmla="*/ 42 w 1397"/>
                <a:gd name="T117" fmla="*/ 4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7" h="263">
                  <a:moveTo>
                    <a:pt x="1305" y="178"/>
                  </a:moveTo>
                  <a:lnTo>
                    <a:pt x="1344" y="178"/>
                  </a:lnTo>
                  <a:lnTo>
                    <a:pt x="1324" y="49"/>
                  </a:lnTo>
                  <a:lnTo>
                    <a:pt x="1305" y="178"/>
                  </a:lnTo>
                  <a:close/>
                  <a:moveTo>
                    <a:pt x="1397" y="260"/>
                  </a:moveTo>
                  <a:lnTo>
                    <a:pt x="1356" y="260"/>
                  </a:lnTo>
                  <a:lnTo>
                    <a:pt x="1349" y="213"/>
                  </a:lnTo>
                  <a:lnTo>
                    <a:pt x="1299" y="213"/>
                  </a:lnTo>
                  <a:lnTo>
                    <a:pt x="1293" y="260"/>
                  </a:lnTo>
                  <a:lnTo>
                    <a:pt x="1256" y="260"/>
                  </a:lnTo>
                  <a:lnTo>
                    <a:pt x="1297" y="4"/>
                  </a:lnTo>
                  <a:lnTo>
                    <a:pt x="1355" y="4"/>
                  </a:lnTo>
                  <a:lnTo>
                    <a:pt x="1397" y="260"/>
                  </a:lnTo>
                  <a:close/>
                  <a:moveTo>
                    <a:pt x="1145" y="186"/>
                  </a:moveTo>
                  <a:lnTo>
                    <a:pt x="1172" y="4"/>
                  </a:lnTo>
                  <a:lnTo>
                    <a:pt x="1228" y="4"/>
                  </a:lnTo>
                  <a:lnTo>
                    <a:pt x="1228" y="260"/>
                  </a:lnTo>
                  <a:lnTo>
                    <a:pt x="1190" y="260"/>
                  </a:lnTo>
                  <a:lnTo>
                    <a:pt x="1190" y="76"/>
                  </a:lnTo>
                  <a:lnTo>
                    <a:pt x="1162" y="260"/>
                  </a:lnTo>
                  <a:lnTo>
                    <a:pt x="1124" y="260"/>
                  </a:lnTo>
                  <a:lnTo>
                    <a:pt x="1094" y="79"/>
                  </a:lnTo>
                  <a:lnTo>
                    <a:pt x="1094" y="260"/>
                  </a:lnTo>
                  <a:lnTo>
                    <a:pt x="1059" y="260"/>
                  </a:lnTo>
                  <a:lnTo>
                    <a:pt x="1059" y="4"/>
                  </a:lnTo>
                  <a:lnTo>
                    <a:pt x="1115" y="4"/>
                  </a:lnTo>
                  <a:lnTo>
                    <a:pt x="1145" y="186"/>
                  </a:lnTo>
                  <a:close/>
                  <a:moveTo>
                    <a:pt x="981" y="4"/>
                  </a:moveTo>
                  <a:lnTo>
                    <a:pt x="1021" y="4"/>
                  </a:lnTo>
                  <a:lnTo>
                    <a:pt x="1021" y="260"/>
                  </a:lnTo>
                  <a:lnTo>
                    <a:pt x="981" y="260"/>
                  </a:lnTo>
                  <a:lnTo>
                    <a:pt x="981" y="4"/>
                  </a:lnTo>
                  <a:close/>
                  <a:moveTo>
                    <a:pt x="865" y="200"/>
                  </a:moveTo>
                  <a:lnTo>
                    <a:pt x="866" y="212"/>
                  </a:lnTo>
                  <a:lnTo>
                    <a:pt x="870" y="219"/>
                  </a:lnTo>
                  <a:lnTo>
                    <a:pt x="876" y="225"/>
                  </a:lnTo>
                  <a:lnTo>
                    <a:pt x="885" y="226"/>
                  </a:lnTo>
                  <a:lnTo>
                    <a:pt x="893" y="225"/>
                  </a:lnTo>
                  <a:lnTo>
                    <a:pt x="901" y="219"/>
                  </a:lnTo>
                  <a:lnTo>
                    <a:pt x="905" y="212"/>
                  </a:lnTo>
                  <a:lnTo>
                    <a:pt x="906" y="200"/>
                  </a:lnTo>
                  <a:lnTo>
                    <a:pt x="906" y="62"/>
                  </a:lnTo>
                  <a:lnTo>
                    <a:pt x="905" y="50"/>
                  </a:lnTo>
                  <a:lnTo>
                    <a:pt x="901" y="43"/>
                  </a:lnTo>
                  <a:lnTo>
                    <a:pt x="893" y="39"/>
                  </a:lnTo>
                  <a:lnTo>
                    <a:pt x="885" y="37"/>
                  </a:lnTo>
                  <a:lnTo>
                    <a:pt x="876" y="39"/>
                  </a:lnTo>
                  <a:lnTo>
                    <a:pt x="870" y="43"/>
                  </a:lnTo>
                  <a:lnTo>
                    <a:pt x="866" y="50"/>
                  </a:lnTo>
                  <a:lnTo>
                    <a:pt x="865" y="62"/>
                  </a:lnTo>
                  <a:lnTo>
                    <a:pt x="865" y="200"/>
                  </a:lnTo>
                  <a:close/>
                  <a:moveTo>
                    <a:pt x="824" y="65"/>
                  </a:moveTo>
                  <a:lnTo>
                    <a:pt x="824" y="50"/>
                  </a:lnTo>
                  <a:lnTo>
                    <a:pt x="828" y="37"/>
                  </a:lnTo>
                  <a:lnTo>
                    <a:pt x="833" y="27"/>
                  </a:lnTo>
                  <a:lnTo>
                    <a:pt x="839" y="17"/>
                  </a:lnTo>
                  <a:lnTo>
                    <a:pt x="849" y="10"/>
                  </a:lnTo>
                  <a:lnTo>
                    <a:pt x="858" y="5"/>
                  </a:lnTo>
                  <a:lnTo>
                    <a:pt x="871" y="2"/>
                  </a:lnTo>
                  <a:lnTo>
                    <a:pt x="885" y="0"/>
                  </a:lnTo>
                  <a:lnTo>
                    <a:pt x="898" y="2"/>
                  </a:lnTo>
                  <a:lnTo>
                    <a:pt x="911" y="5"/>
                  </a:lnTo>
                  <a:lnTo>
                    <a:pt x="922" y="10"/>
                  </a:lnTo>
                  <a:lnTo>
                    <a:pt x="930" y="17"/>
                  </a:lnTo>
                  <a:lnTo>
                    <a:pt x="933" y="22"/>
                  </a:lnTo>
                  <a:lnTo>
                    <a:pt x="936" y="27"/>
                  </a:lnTo>
                  <a:lnTo>
                    <a:pt x="942" y="37"/>
                  </a:lnTo>
                  <a:lnTo>
                    <a:pt x="945" y="50"/>
                  </a:lnTo>
                  <a:lnTo>
                    <a:pt x="946" y="65"/>
                  </a:lnTo>
                  <a:lnTo>
                    <a:pt x="946" y="198"/>
                  </a:lnTo>
                  <a:lnTo>
                    <a:pt x="945" y="212"/>
                  </a:lnTo>
                  <a:lnTo>
                    <a:pt x="942" y="225"/>
                  </a:lnTo>
                  <a:lnTo>
                    <a:pt x="936" y="236"/>
                  </a:lnTo>
                  <a:lnTo>
                    <a:pt x="930" y="246"/>
                  </a:lnTo>
                  <a:lnTo>
                    <a:pt x="922" y="252"/>
                  </a:lnTo>
                  <a:lnTo>
                    <a:pt x="911" y="257"/>
                  </a:lnTo>
                  <a:lnTo>
                    <a:pt x="898" y="261"/>
                  </a:lnTo>
                  <a:lnTo>
                    <a:pt x="885" y="262"/>
                  </a:lnTo>
                  <a:lnTo>
                    <a:pt x="871" y="261"/>
                  </a:lnTo>
                  <a:lnTo>
                    <a:pt x="858" y="257"/>
                  </a:lnTo>
                  <a:lnTo>
                    <a:pt x="849" y="252"/>
                  </a:lnTo>
                  <a:lnTo>
                    <a:pt x="839" y="246"/>
                  </a:lnTo>
                  <a:lnTo>
                    <a:pt x="836" y="241"/>
                  </a:lnTo>
                  <a:lnTo>
                    <a:pt x="833" y="236"/>
                  </a:lnTo>
                  <a:lnTo>
                    <a:pt x="828" y="225"/>
                  </a:lnTo>
                  <a:lnTo>
                    <a:pt x="824" y="212"/>
                  </a:lnTo>
                  <a:lnTo>
                    <a:pt x="824" y="198"/>
                  </a:lnTo>
                  <a:lnTo>
                    <a:pt x="824" y="65"/>
                  </a:lnTo>
                  <a:close/>
                  <a:moveTo>
                    <a:pt x="732" y="212"/>
                  </a:moveTo>
                  <a:lnTo>
                    <a:pt x="763" y="4"/>
                  </a:lnTo>
                  <a:lnTo>
                    <a:pt x="800" y="4"/>
                  </a:lnTo>
                  <a:lnTo>
                    <a:pt x="760" y="260"/>
                  </a:lnTo>
                  <a:lnTo>
                    <a:pt x="701" y="260"/>
                  </a:lnTo>
                  <a:lnTo>
                    <a:pt x="660" y="4"/>
                  </a:lnTo>
                  <a:lnTo>
                    <a:pt x="702" y="4"/>
                  </a:lnTo>
                  <a:lnTo>
                    <a:pt x="732" y="212"/>
                  </a:lnTo>
                  <a:close/>
                  <a:moveTo>
                    <a:pt x="593" y="4"/>
                  </a:moveTo>
                  <a:lnTo>
                    <a:pt x="633" y="4"/>
                  </a:lnTo>
                  <a:lnTo>
                    <a:pt x="633" y="260"/>
                  </a:lnTo>
                  <a:lnTo>
                    <a:pt x="593" y="260"/>
                  </a:lnTo>
                  <a:lnTo>
                    <a:pt x="593" y="4"/>
                  </a:lnTo>
                  <a:close/>
                  <a:moveTo>
                    <a:pt x="460" y="4"/>
                  </a:moveTo>
                  <a:lnTo>
                    <a:pt x="500" y="4"/>
                  </a:lnTo>
                  <a:lnTo>
                    <a:pt x="500" y="223"/>
                  </a:lnTo>
                  <a:lnTo>
                    <a:pt x="566" y="223"/>
                  </a:lnTo>
                  <a:lnTo>
                    <a:pt x="566" y="260"/>
                  </a:lnTo>
                  <a:lnTo>
                    <a:pt x="460" y="260"/>
                  </a:lnTo>
                  <a:lnTo>
                    <a:pt x="460" y="4"/>
                  </a:lnTo>
                  <a:close/>
                  <a:moveTo>
                    <a:pt x="343" y="4"/>
                  </a:moveTo>
                  <a:lnTo>
                    <a:pt x="343" y="200"/>
                  </a:lnTo>
                  <a:lnTo>
                    <a:pt x="345" y="212"/>
                  </a:lnTo>
                  <a:lnTo>
                    <a:pt x="350" y="220"/>
                  </a:lnTo>
                  <a:lnTo>
                    <a:pt x="356" y="225"/>
                  </a:lnTo>
                  <a:lnTo>
                    <a:pt x="364" y="226"/>
                  </a:lnTo>
                  <a:lnTo>
                    <a:pt x="373" y="225"/>
                  </a:lnTo>
                  <a:lnTo>
                    <a:pt x="380" y="220"/>
                  </a:lnTo>
                  <a:lnTo>
                    <a:pt x="384" y="212"/>
                  </a:lnTo>
                  <a:lnTo>
                    <a:pt x="386" y="200"/>
                  </a:lnTo>
                  <a:lnTo>
                    <a:pt x="386" y="4"/>
                  </a:lnTo>
                  <a:lnTo>
                    <a:pt x="424" y="4"/>
                  </a:lnTo>
                  <a:lnTo>
                    <a:pt x="424" y="198"/>
                  </a:lnTo>
                  <a:lnTo>
                    <a:pt x="423" y="213"/>
                  </a:lnTo>
                  <a:lnTo>
                    <a:pt x="419" y="226"/>
                  </a:lnTo>
                  <a:lnTo>
                    <a:pt x="415" y="236"/>
                  </a:lnTo>
                  <a:lnTo>
                    <a:pt x="408" y="246"/>
                  </a:lnTo>
                  <a:lnTo>
                    <a:pt x="399" y="253"/>
                  </a:lnTo>
                  <a:lnTo>
                    <a:pt x="390" y="259"/>
                  </a:lnTo>
                  <a:lnTo>
                    <a:pt x="377" y="262"/>
                  </a:lnTo>
                  <a:lnTo>
                    <a:pt x="363" y="263"/>
                  </a:lnTo>
                  <a:lnTo>
                    <a:pt x="350" y="262"/>
                  </a:lnTo>
                  <a:lnTo>
                    <a:pt x="338" y="259"/>
                  </a:lnTo>
                  <a:lnTo>
                    <a:pt x="327" y="253"/>
                  </a:lnTo>
                  <a:lnTo>
                    <a:pt x="319" y="246"/>
                  </a:lnTo>
                  <a:lnTo>
                    <a:pt x="313" y="236"/>
                  </a:lnTo>
                  <a:lnTo>
                    <a:pt x="307" y="226"/>
                  </a:lnTo>
                  <a:lnTo>
                    <a:pt x="304" y="213"/>
                  </a:lnTo>
                  <a:lnTo>
                    <a:pt x="304" y="198"/>
                  </a:lnTo>
                  <a:lnTo>
                    <a:pt x="304" y="4"/>
                  </a:lnTo>
                  <a:lnTo>
                    <a:pt x="343" y="4"/>
                  </a:lnTo>
                  <a:close/>
                  <a:moveTo>
                    <a:pt x="189" y="4"/>
                  </a:moveTo>
                  <a:lnTo>
                    <a:pt x="189" y="200"/>
                  </a:lnTo>
                  <a:lnTo>
                    <a:pt x="191" y="212"/>
                  </a:lnTo>
                  <a:lnTo>
                    <a:pt x="195" y="220"/>
                  </a:lnTo>
                  <a:lnTo>
                    <a:pt x="201" y="225"/>
                  </a:lnTo>
                  <a:lnTo>
                    <a:pt x="210" y="226"/>
                  </a:lnTo>
                  <a:lnTo>
                    <a:pt x="218" y="225"/>
                  </a:lnTo>
                  <a:lnTo>
                    <a:pt x="225" y="220"/>
                  </a:lnTo>
                  <a:lnTo>
                    <a:pt x="229" y="212"/>
                  </a:lnTo>
                  <a:lnTo>
                    <a:pt x="231" y="200"/>
                  </a:lnTo>
                  <a:lnTo>
                    <a:pt x="231" y="4"/>
                  </a:lnTo>
                  <a:lnTo>
                    <a:pt x="269" y="4"/>
                  </a:lnTo>
                  <a:lnTo>
                    <a:pt x="269" y="198"/>
                  </a:lnTo>
                  <a:lnTo>
                    <a:pt x="268" y="213"/>
                  </a:lnTo>
                  <a:lnTo>
                    <a:pt x="265" y="226"/>
                  </a:lnTo>
                  <a:lnTo>
                    <a:pt x="261" y="236"/>
                  </a:lnTo>
                  <a:lnTo>
                    <a:pt x="253" y="246"/>
                  </a:lnTo>
                  <a:lnTo>
                    <a:pt x="245" y="253"/>
                  </a:lnTo>
                  <a:lnTo>
                    <a:pt x="235" y="259"/>
                  </a:lnTo>
                  <a:lnTo>
                    <a:pt x="223" y="262"/>
                  </a:lnTo>
                  <a:lnTo>
                    <a:pt x="209" y="263"/>
                  </a:lnTo>
                  <a:lnTo>
                    <a:pt x="195" y="262"/>
                  </a:lnTo>
                  <a:lnTo>
                    <a:pt x="182" y="259"/>
                  </a:lnTo>
                  <a:lnTo>
                    <a:pt x="173" y="253"/>
                  </a:lnTo>
                  <a:lnTo>
                    <a:pt x="164" y="246"/>
                  </a:lnTo>
                  <a:lnTo>
                    <a:pt x="157" y="236"/>
                  </a:lnTo>
                  <a:lnTo>
                    <a:pt x="153" y="226"/>
                  </a:lnTo>
                  <a:lnTo>
                    <a:pt x="150" y="213"/>
                  </a:lnTo>
                  <a:lnTo>
                    <a:pt x="149" y="198"/>
                  </a:lnTo>
                  <a:lnTo>
                    <a:pt x="149" y="4"/>
                  </a:lnTo>
                  <a:lnTo>
                    <a:pt x="189" y="4"/>
                  </a:lnTo>
                  <a:close/>
                  <a:moveTo>
                    <a:pt x="0" y="4"/>
                  </a:moveTo>
                  <a:lnTo>
                    <a:pt x="124" y="4"/>
                  </a:lnTo>
                  <a:lnTo>
                    <a:pt x="124" y="40"/>
                  </a:lnTo>
                  <a:lnTo>
                    <a:pt x="82" y="40"/>
                  </a:lnTo>
                  <a:lnTo>
                    <a:pt x="82" y="260"/>
                  </a:lnTo>
                  <a:lnTo>
                    <a:pt x="42" y="260"/>
                  </a:lnTo>
                  <a:lnTo>
                    <a:pt x="42" y="40"/>
                  </a:lnTo>
                  <a:lnTo>
                    <a:pt x="0" y="4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432144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BADBE1-7BCD-426F-B68C-795B8A697529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8987679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4F5161-B07D-4016-B613-9D8203941282}" type="datetime1">
              <a:rPr lang="fi-FI" smtClean="0"/>
              <a:t>28.2.2018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8445679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1054-1D43-4EBA-B9C2-B677CAB50DC6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8"/>
            <p:cNvSpPr>
              <a:spLocks noEditPoints="1"/>
            </p:cNvSpPr>
            <p:nvPr userDrawn="1"/>
          </p:nvSpPr>
          <p:spPr bwMode="auto">
            <a:xfrm>
              <a:off x="9180914" y="6472295"/>
              <a:ext cx="1318115" cy="247029"/>
            </a:xfrm>
            <a:custGeom>
              <a:avLst/>
              <a:gdLst>
                <a:gd name="T0" fmla="*/ 1324 w 1397"/>
                <a:gd name="T1" fmla="*/ 49 h 263"/>
                <a:gd name="T2" fmla="*/ 1356 w 1397"/>
                <a:gd name="T3" fmla="*/ 260 h 263"/>
                <a:gd name="T4" fmla="*/ 1293 w 1397"/>
                <a:gd name="T5" fmla="*/ 260 h 263"/>
                <a:gd name="T6" fmla="*/ 1355 w 1397"/>
                <a:gd name="T7" fmla="*/ 4 h 263"/>
                <a:gd name="T8" fmla="*/ 1172 w 1397"/>
                <a:gd name="T9" fmla="*/ 4 h 263"/>
                <a:gd name="T10" fmla="*/ 1190 w 1397"/>
                <a:gd name="T11" fmla="*/ 260 h 263"/>
                <a:gd name="T12" fmla="*/ 1124 w 1397"/>
                <a:gd name="T13" fmla="*/ 260 h 263"/>
                <a:gd name="T14" fmla="*/ 1059 w 1397"/>
                <a:gd name="T15" fmla="*/ 260 h 263"/>
                <a:gd name="T16" fmla="*/ 1145 w 1397"/>
                <a:gd name="T17" fmla="*/ 186 h 263"/>
                <a:gd name="T18" fmla="*/ 1021 w 1397"/>
                <a:gd name="T19" fmla="*/ 260 h 263"/>
                <a:gd name="T20" fmla="*/ 865 w 1397"/>
                <a:gd name="T21" fmla="*/ 200 h 263"/>
                <a:gd name="T22" fmla="*/ 876 w 1397"/>
                <a:gd name="T23" fmla="*/ 225 h 263"/>
                <a:gd name="T24" fmla="*/ 901 w 1397"/>
                <a:gd name="T25" fmla="*/ 219 h 263"/>
                <a:gd name="T26" fmla="*/ 906 w 1397"/>
                <a:gd name="T27" fmla="*/ 62 h 263"/>
                <a:gd name="T28" fmla="*/ 893 w 1397"/>
                <a:gd name="T29" fmla="*/ 39 h 263"/>
                <a:gd name="T30" fmla="*/ 870 w 1397"/>
                <a:gd name="T31" fmla="*/ 43 h 263"/>
                <a:gd name="T32" fmla="*/ 865 w 1397"/>
                <a:gd name="T33" fmla="*/ 200 h 263"/>
                <a:gd name="T34" fmla="*/ 828 w 1397"/>
                <a:gd name="T35" fmla="*/ 37 h 263"/>
                <a:gd name="T36" fmla="*/ 849 w 1397"/>
                <a:gd name="T37" fmla="*/ 10 h 263"/>
                <a:gd name="T38" fmla="*/ 885 w 1397"/>
                <a:gd name="T39" fmla="*/ 0 h 263"/>
                <a:gd name="T40" fmla="*/ 922 w 1397"/>
                <a:gd name="T41" fmla="*/ 10 h 263"/>
                <a:gd name="T42" fmla="*/ 936 w 1397"/>
                <a:gd name="T43" fmla="*/ 27 h 263"/>
                <a:gd name="T44" fmla="*/ 946 w 1397"/>
                <a:gd name="T45" fmla="*/ 65 h 263"/>
                <a:gd name="T46" fmla="*/ 942 w 1397"/>
                <a:gd name="T47" fmla="*/ 225 h 263"/>
                <a:gd name="T48" fmla="*/ 922 w 1397"/>
                <a:gd name="T49" fmla="*/ 252 h 263"/>
                <a:gd name="T50" fmla="*/ 885 w 1397"/>
                <a:gd name="T51" fmla="*/ 262 h 263"/>
                <a:gd name="T52" fmla="*/ 849 w 1397"/>
                <a:gd name="T53" fmla="*/ 252 h 263"/>
                <a:gd name="T54" fmla="*/ 833 w 1397"/>
                <a:gd name="T55" fmla="*/ 236 h 263"/>
                <a:gd name="T56" fmla="*/ 824 w 1397"/>
                <a:gd name="T57" fmla="*/ 198 h 263"/>
                <a:gd name="T58" fmla="*/ 763 w 1397"/>
                <a:gd name="T59" fmla="*/ 4 h 263"/>
                <a:gd name="T60" fmla="*/ 701 w 1397"/>
                <a:gd name="T61" fmla="*/ 260 h 263"/>
                <a:gd name="T62" fmla="*/ 732 w 1397"/>
                <a:gd name="T63" fmla="*/ 212 h 263"/>
                <a:gd name="T64" fmla="*/ 633 w 1397"/>
                <a:gd name="T65" fmla="*/ 260 h 263"/>
                <a:gd name="T66" fmla="*/ 460 w 1397"/>
                <a:gd name="T67" fmla="*/ 4 h 263"/>
                <a:gd name="T68" fmla="*/ 566 w 1397"/>
                <a:gd name="T69" fmla="*/ 223 h 263"/>
                <a:gd name="T70" fmla="*/ 460 w 1397"/>
                <a:gd name="T71" fmla="*/ 4 h 263"/>
                <a:gd name="T72" fmla="*/ 345 w 1397"/>
                <a:gd name="T73" fmla="*/ 212 h 263"/>
                <a:gd name="T74" fmla="*/ 364 w 1397"/>
                <a:gd name="T75" fmla="*/ 226 h 263"/>
                <a:gd name="T76" fmla="*/ 384 w 1397"/>
                <a:gd name="T77" fmla="*/ 212 h 263"/>
                <a:gd name="T78" fmla="*/ 424 w 1397"/>
                <a:gd name="T79" fmla="*/ 4 h 263"/>
                <a:gd name="T80" fmla="*/ 419 w 1397"/>
                <a:gd name="T81" fmla="*/ 226 h 263"/>
                <a:gd name="T82" fmla="*/ 399 w 1397"/>
                <a:gd name="T83" fmla="*/ 253 h 263"/>
                <a:gd name="T84" fmla="*/ 363 w 1397"/>
                <a:gd name="T85" fmla="*/ 263 h 263"/>
                <a:gd name="T86" fmla="*/ 327 w 1397"/>
                <a:gd name="T87" fmla="*/ 253 h 263"/>
                <a:gd name="T88" fmla="*/ 307 w 1397"/>
                <a:gd name="T89" fmla="*/ 226 h 263"/>
                <a:gd name="T90" fmla="*/ 304 w 1397"/>
                <a:gd name="T91" fmla="*/ 4 h 263"/>
                <a:gd name="T92" fmla="*/ 189 w 1397"/>
                <a:gd name="T93" fmla="*/ 200 h 263"/>
                <a:gd name="T94" fmla="*/ 201 w 1397"/>
                <a:gd name="T95" fmla="*/ 225 h 263"/>
                <a:gd name="T96" fmla="*/ 225 w 1397"/>
                <a:gd name="T97" fmla="*/ 220 h 263"/>
                <a:gd name="T98" fmla="*/ 231 w 1397"/>
                <a:gd name="T99" fmla="*/ 4 h 263"/>
                <a:gd name="T100" fmla="*/ 268 w 1397"/>
                <a:gd name="T101" fmla="*/ 213 h 263"/>
                <a:gd name="T102" fmla="*/ 253 w 1397"/>
                <a:gd name="T103" fmla="*/ 246 h 263"/>
                <a:gd name="T104" fmla="*/ 223 w 1397"/>
                <a:gd name="T105" fmla="*/ 262 h 263"/>
                <a:gd name="T106" fmla="*/ 182 w 1397"/>
                <a:gd name="T107" fmla="*/ 259 h 263"/>
                <a:gd name="T108" fmla="*/ 157 w 1397"/>
                <a:gd name="T109" fmla="*/ 236 h 263"/>
                <a:gd name="T110" fmla="*/ 149 w 1397"/>
                <a:gd name="T111" fmla="*/ 198 h 263"/>
                <a:gd name="T112" fmla="*/ 0 w 1397"/>
                <a:gd name="T113" fmla="*/ 4 h 263"/>
                <a:gd name="T114" fmla="*/ 82 w 1397"/>
                <a:gd name="T115" fmla="*/ 40 h 263"/>
                <a:gd name="T116" fmla="*/ 42 w 1397"/>
                <a:gd name="T117" fmla="*/ 4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7" h="263">
                  <a:moveTo>
                    <a:pt x="1305" y="178"/>
                  </a:moveTo>
                  <a:lnTo>
                    <a:pt x="1344" y="178"/>
                  </a:lnTo>
                  <a:lnTo>
                    <a:pt x="1324" y="49"/>
                  </a:lnTo>
                  <a:lnTo>
                    <a:pt x="1305" y="178"/>
                  </a:lnTo>
                  <a:close/>
                  <a:moveTo>
                    <a:pt x="1397" y="260"/>
                  </a:moveTo>
                  <a:lnTo>
                    <a:pt x="1356" y="260"/>
                  </a:lnTo>
                  <a:lnTo>
                    <a:pt x="1349" y="213"/>
                  </a:lnTo>
                  <a:lnTo>
                    <a:pt x="1299" y="213"/>
                  </a:lnTo>
                  <a:lnTo>
                    <a:pt x="1293" y="260"/>
                  </a:lnTo>
                  <a:lnTo>
                    <a:pt x="1256" y="260"/>
                  </a:lnTo>
                  <a:lnTo>
                    <a:pt x="1297" y="4"/>
                  </a:lnTo>
                  <a:lnTo>
                    <a:pt x="1355" y="4"/>
                  </a:lnTo>
                  <a:lnTo>
                    <a:pt x="1397" y="260"/>
                  </a:lnTo>
                  <a:close/>
                  <a:moveTo>
                    <a:pt x="1145" y="186"/>
                  </a:moveTo>
                  <a:lnTo>
                    <a:pt x="1172" y="4"/>
                  </a:lnTo>
                  <a:lnTo>
                    <a:pt x="1228" y="4"/>
                  </a:lnTo>
                  <a:lnTo>
                    <a:pt x="1228" y="260"/>
                  </a:lnTo>
                  <a:lnTo>
                    <a:pt x="1190" y="260"/>
                  </a:lnTo>
                  <a:lnTo>
                    <a:pt x="1190" y="76"/>
                  </a:lnTo>
                  <a:lnTo>
                    <a:pt x="1162" y="260"/>
                  </a:lnTo>
                  <a:lnTo>
                    <a:pt x="1124" y="260"/>
                  </a:lnTo>
                  <a:lnTo>
                    <a:pt x="1094" y="79"/>
                  </a:lnTo>
                  <a:lnTo>
                    <a:pt x="1094" y="260"/>
                  </a:lnTo>
                  <a:lnTo>
                    <a:pt x="1059" y="260"/>
                  </a:lnTo>
                  <a:lnTo>
                    <a:pt x="1059" y="4"/>
                  </a:lnTo>
                  <a:lnTo>
                    <a:pt x="1115" y="4"/>
                  </a:lnTo>
                  <a:lnTo>
                    <a:pt x="1145" y="186"/>
                  </a:lnTo>
                  <a:close/>
                  <a:moveTo>
                    <a:pt x="981" y="4"/>
                  </a:moveTo>
                  <a:lnTo>
                    <a:pt x="1021" y="4"/>
                  </a:lnTo>
                  <a:lnTo>
                    <a:pt x="1021" y="260"/>
                  </a:lnTo>
                  <a:lnTo>
                    <a:pt x="981" y="260"/>
                  </a:lnTo>
                  <a:lnTo>
                    <a:pt x="981" y="4"/>
                  </a:lnTo>
                  <a:close/>
                  <a:moveTo>
                    <a:pt x="865" y="200"/>
                  </a:moveTo>
                  <a:lnTo>
                    <a:pt x="866" y="212"/>
                  </a:lnTo>
                  <a:lnTo>
                    <a:pt x="870" y="219"/>
                  </a:lnTo>
                  <a:lnTo>
                    <a:pt x="876" y="225"/>
                  </a:lnTo>
                  <a:lnTo>
                    <a:pt x="885" y="226"/>
                  </a:lnTo>
                  <a:lnTo>
                    <a:pt x="893" y="225"/>
                  </a:lnTo>
                  <a:lnTo>
                    <a:pt x="901" y="219"/>
                  </a:lnTo>
                  <a:lnTo>
                    <a:pt x="905" y="212"/>
                  </a:lnTo>
                  <a:lnTo>
                    <a:pt x="906" y="200"/>
                  </a:lnTo>
                  <a:lnTo>
                    <a:pt x="906" y="62"/>
                  </a:lnTo>
                  <a:lnTo>
                    <a:pt x="905" y="50"/>
                  </a:lnTo>
                  <a:lnTo>
                    <a:pt x="901" y="43"/>
                  </a:lnTo>
                  <a:lnTo>
                    <a:pt x="893" y="39"/>
                  </a:lnTo>
                  <a:lnTo>
                    <a:pt x="885" y="37"/>
                  </a:lnTo>
                  <a:lnTo>
                    <a:pt x="876" y="39"/>
                  </a:lnTo>
                  <a:lnTo>
                    <a:pt x="870" y="43"/>
                  </a:lnTo>
                  <a:lnTo>
                    <a:pt x="866" y="50"/>
                  </a:lnTo>
                  <a:lnTo>
                    <a:pt x="865" y="62"/>
                  </a:lnTo>
                  <a:lnTo>
                    <a:pt x="865" y="200"/>
                  </a:lnTo>
                  <a:close/>
                  <a:moveTo>
                    <a:pt x="824" y="65"/>
                  </a:moveTo>
                  <a:lnTo>
                    <a:pt x="824" y="50"/>
                  </a:lnTo>
                  <a:lnTo>
                    <a:pt x="828" y="37"/>
                  </a:lnTo>
                  <a:lnTo>
                    <a:pt x="833" y="27"/>
                  </a:lnTo>
                  <a:lnTo>
                    <a:pt x="839" y="17"/>
                  </a:lnTo>
                  <a:lnTo>
                    <a:pt x="849" y="10"/>
                  </a:lnTo>
                  <a:lnTo>
                    <a:pt x="858" y="5"/>
                  </a:lnTo>
                  <a:lnTo>
                    <a:pt x="871" y="2"/>
                  </a:lnTo>
                  <a:lnTo>
                    <a:pt x="885" y="0"/>
                  </a:lnTo>
                  <a:lnTo>
                    <a:pt x="898" y="2"/>
                  </a:lnTo>
                  <a:lnTo>
                    <a:pt x="911" y="5"/>
                  </a:lnTo>
                  <a:lnTo>
                    <a:pt x="922" y="10"/>
                  </a:lnTo>
                  <a:lnTo>
                    <a:pt x="930" y="17"/>
                  </a:lnTo>
                  <a:lnTo>
                    <a:pt x="933" y="22"/>
                  </a:lnTo>
                  <a:lnTo>
                    <a:pt x="936" y="27"/>
                  </a:lnTo>
                  <a:lnTo>
                    <a:pt x="942" y="37"/>
                  </a:lnTo>
                  <a:lnTo>
                    <a:pt x="945" y="50"/>
                  </a:lnTo>
                  <a:lnTo>
                    <a:pt x="946" y="65"/>
                  </a:lnTo>
                  <a:lnTo>
                    <a:pt x="946" y="198"/>
                  </a:lnTo>
                  <a:lnTo>
                    <a:pt x="945" y="212"/>
                  </a:lnTo>
                  <a:lnTo>
                    <a:pt x="942" y="225"/>
                  </a:lnTo>
                  <a:lnTo>
                    <a:pt x="936" y="236"/>
                  </a:lnTo>
                  <a:lnTo>
                    <a:pt x="930" y="246"/>
                  </a:lnTo>
                  <a:lnTo>
                    <a:pt x="922" y="252"/>
                  </a:lnTo>
                  <a:lnTo>
                    <a:pt x="911" y="257"/>
                  </a:lnTo>
                  <a:lnTo>
                    <a:pt x="898" y="261"/>
                  </a:lnTo>
                  <a:lnTo>
                    <a:pt x="885" y="262"/>
                  </a:lnTo>
                  <a:lnTo>
                    <a:pt x="871" y="261"/>
                  </a:lnTo>
                  <a:lnTo>
                    <a:pt x="858" y="257"/>
                  </a:lnTo>
                  <a:lnTo>
                    <a:pt x="849" y="252"/>
                  </a:lnTo>
                  <a:lnTo>
                    <a:pt x="839" y="246"/>
                  </a:lnTo>
                  <a:lnTo>
                    <a:pt x="836" y="241"/>
                  </a:lnTo>
                  <a:lnTo>
                    <a:pt x="833" y="236"/>
                  </a:lnTo>
                  <a:lnTo>
                    <a:pt x="828" y="225"/>
                  </a:lnTo>
                  <a:lnTo>
                    <a:pt x="824" y="212"/>
                  </a:lnTo>
                  <a:lnTo>
                    <a:pt x="824" y="198"/>
                  </a:lnTo>
                  <a:lnTo>
                    <a:pt x="824" y="65"/>
                  </a:lnTo>
                  <a:close/>
                  <a:moveTo>
                    <a:pt x="732" y="212"/>
                  </a:moveTo>
                  <a:lnTo>
                    <a:pt x="763" y="4"/>
                  </a:lnTo>
                  <a:lnTo>
                    <a:pt x="800" y="4"/>
                  </a:lnTo>
                  <a:lnTo>
                    <a:pt x="760" y="260"/>
                  </a:lnTo>
                  <a:lnTo>
                    <a:pt x="701" y="260"/>
                  </a:lnTo>
                  <a:lnTo>
                    <a:pt x="660" y="4"/>
                  </a:lnTo>
                  <a:lnTo>
                    <a:pt x="702" y="4"/>
                  </a:lnTo>
                  <a:lnTo>
                    <a:pt x="732" y="212"/>
                  </a:lnTo>
                  <a:close/>
                  <a:moveTo>
                    <a:pt x="593" y="4"/>
                  </a:moveTo>
                  <a:lnTo>
                    <a:pt x="633" y="4"/>
                  </a:lnTo>
                  <a:lnTo>
                    <a:pt x="633" y="260"/>
                  </a:lnTo>
                  <a:lnTo>
                    <a:pt x="593" y="260"/>
                  </a:lnTo>
                  <a:lnTo>
                    <a:pt x="593" y="4"/>
                  </a:lnTo>
                  <a:close/>
                  <a:moveTo>
                    <a:pt x="460" y="4"/>
                  </a:moveTo>
                  <a:lnTo>
                    <a:pt x="500" y="4"/>
                  </a:lnTo>
                  <a:lnTo>
                    <a:pt x="500" y="223"/>
                  </a:lnTo>
                  <a:lnTo>
                    <a:pt x="566" y="223"/>
                  </a:lnTo>
                  <a:lnTo>
                    <a:pt x="566" y="260"/>
                  </a:lnTo>
                  <a:lnTo>
                    <a:pt x="460" y="260"/>
                  </a:lnTo>
                  <a:lnTo>
                    <a:pt x="460" y="4"/>
                  </a:lnTo>
                  <a:close/>
                  <a:moveTo>
                    <a:pt x="343" y="4"/>
                  </a:moveTo>
                  <a:lnTo>
                    <a:pt x="343" y="200"/>
                  </a:lnTo>
                  <a:lnTo>
                    <a:pt x="345" y="212"/>
                  </a:lnTo>
                  <a:lnTo>
                    <a:pt x="350" y="220"/>
                  </a:lnTo>
                  <a:lnTo>
                    <a:pt x="356" y="225"/>
                  </a:lnTo>
                  <a:lnTo>
                    <a:pt x="364" y="226"/>
                  </a:lnTo>
                  <a:lnTo>
                    <a:pt x="373" y="225"/>
                  </a:lnTo>
                  <a:lnTo>
                    <a:pt x="380" y="220"/>
                  </a:lnTo>
                  <a:lnTo>
                    <a:pt x="384" y="212"/>
                  </a:lnTo>
                  <a:lnTo>
                    <a:pt x="386" y="200"/>
                  </a:lnTo>
                  <a:lnTo>
                    <a:pt x="386" y="4"/>
                  </a:lnTo>
                  <a:lnTo>
                    <a:pt x="424" y="4"/>
                  </a:lnTo>
                  <a:lnTo>
                    <a:pt x="424" y="198"/>
                  </a:lnTo>
                  <a:lnTo>
                    <a:pt x="423" y="213"/>
                  </a:lnTo>
                  <a:lnTo>
                    <a:pt x="419" y="226"/>
                  </a:lnTo>
                  <a:lnTo>
                    <a:pt x="415" y="236"/>
                  </a:lnTo>
                  <a:lnTo>
                    <a:pt x="408" y="246"/>
                  </a:lnTo>
                  <a:lnTo>
                    <a:pt x="399" y="253"/>
                  </a:lnTo>
                  <a:lnTo>
                    <a:pt x="390" y="259"/>
                  </a:lnTo>
                  <a:lnTo>
                    <a:pt x="377" y="262"/>
                  </a:lnTo>
                  <a:lnTo>
                    <a:pt x="363" y="263"/>
                  </a:lnTo>
                  <a:lnTo>
                    <a:pt x="350" y="262"/>
                  </a:lnTo>
                  <a:lnTo>
                    <a:pt x="338" y="259"/>
                  </a:lnTo>
                  <a:lnTo>
                    <a:pt x="327" y="253"/>
                  </a:lnTo>
                  <a:lnTo>
                    <a:pt x="319" y="246"/>
                  </a:lnTo>
                  <a:lnTo>
                    <a:pt x="313" y="236"/>
                  </a:lnTo>
                  <a:lnTo>
                    <a:pt x="307" y="226"/>
                  </a:lnTo>
                  <a:lnTo>
                    <a:pt x="304" y="213"/>
                  </a:lnTo>
                  <a:lnTo>
                    <a:pt x="304" y="198"/>
                  </a:lnTo>
                  <a:lnTo>
                    <a:pt x="304" y="4"/>
                  </a:lnTo>
                  <a:lnTo>
                    <a:pt x="343" y="4"/>
                  </a:lnTo>
                  <a:close/>
                  <a:moveTo>
                    <a:pt x="189" y="4"/>
                  </a:moveTo>
                  <a:lnTo>
                    <a:pt x="189" y="200"/>
                  </a:lnTo>
                  <a:lnTo>
                    <a:pt x="191" y="212"/>
                  </a:lnTo>
                  <a:lnTo>
                    <a:pt x="195" y="220"/>
                  </a:lnTo>
                  <a:lnTo>
                    <a:pt x="201" y="225"/>
                  </a:lnTo>
                  <a:lnTo>
                    <a:pt x="210" y="226"/>
                  </a:lnTo>
                  <a:lnTo>
                    <a:pt x="218" y="225"/>
                  </a:lnTo>
                  <a:lnTo>
                    <a:pt x="225" y="220"/>
                  </a:lnTo>
                  <a:lnTo>
                    <a:pt x="229" y="212"/>
                  </a:lnTo>
                  <a:lnTo>
                    <a:pt x="231" y="200"/>
                  </a:lnTo>
                  <a:lnTo>
                    <a:pt x="231" y="4"/>
                  </a:lnTo>
                  <a:lnTo>
                    <a:pt x="269" y="4"/>
                  </a:lnTo>
                  <a:lnTo>
                    <a:pt x="269" y="198"/>
                  </a:lnTo>
                  <a:lnTo>
                    <a:pt x="268" y="213"/>
                  </a:lnTo>
                  <a:lnTo>
                    <a:pt x="265" y="226"/>
                  </a:lnTo>
                  <a:lnTo>
                    <a:pt x="261" y="236"/>
                  </a:lnTo>
                  <a:lnTo>
                    <a:pt x="253" y="246"/>
                  </a:lnTo>
                  <a:lnTo>
                    <a:pt x="245" y="253"/>
                  </a:lnTo>
                  <a:lnTo>
                    <a:pt x="235" y="259"/>
                  </a:lnTo>
                  <a:lnTo>
                    <a:pt x="223" y="262"/>
                  </a:lnTo>
                  <a:lnTo>
                    <a:pt x="209" y="263"/>
                  </a:lnTo>
                  <a:lnTo>
                    <a:pt x="195" y="262"/>
                  </a:lnTo>
                  <a:lnTo>
                    <a:pt x="182" y="259"/>
                  </a:lnTo>
                  <a:lnTo>
                    <a:pt x="173" y="253"/>
                  </a:lnTo>
                  <a:lnTo>
                    <a:pt x="164" y="246"/>
                  </a:lnTo>
                  <a:lnTo>
                    <a:pt x="157" y="236"/>
                  </a:lnTo>
                  <a:lnTo>
                    <a:pt x="153" y="226"/>
                  </a:lnTo>
                  <a:lnTo>
                    <a:pt x="150" y="213"/>
                  </a:lnTo>
                  <a:lnTo>
                    <a:pt x="149" y="198"/>
                  </a:lnTo>
                  <a:lnTo>
                    <a:pt x="149" y="4"/>
                  </a:lnTo>
                  <a:lnTo>
                    <a:pt x="189" y="4"/>
                  </a:lnTo>
                  <a:close/>
                  <a:moveTo>
                    <a:pt x="0" y="4"/>
                  </a:moveTo>
                  <a:lnTo>
                    <a:pt x="124" y="4"/>
                  </a:lnTo>
                  <a:lnTo>
                    <a:pt x="124" y="40"/>
                  </a:lnTo>
                  <a:lnTo>
                    <a:pt x="82" y="40"/>
                  </a:lnTo>
                  <a:lnTo>
                    <a:pt x="82" y="260"/>
                  </a:lnTo>
                  <a:lnTo>
                    <a:pt x="42" y="260"/>
                  </a:lnTo>
                  <a:lnTo>
                    <a:pt x="42" y="40"/>
                  </a:lnTo>
                  <a:lnTo>
                    <a:pt x="0" y="4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15144877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519567-DD21-4931-BEE7-E300F1EADA6F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8114958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BD263-F266-42AD-A716-3836937DFAA0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051197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39BCD0F-DC6F-4B50-9533-4CE3E0BBE485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1562565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4FDB77B-8690-48F2-8156-A8B2809ADBD7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9" name="Round Same Side Corner Rectangle 8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0" name="Freeform 28"/>
            <p:cNvSpPr>
              <a:spLocks noEditPoints="1"/>
            </p:cNvSpPr>
            <p:nvPr userDrawn="1"/>
          </p:nvSpPr>
          <p:spPr bwMode="auto">
            <a:xfrm>
              <a:off x="9180914" y="6472295"/>
              <a:ext cx="1318115" cy="247029"/>
            </a:xfrm>
            <a:custGeom>
              <a:avLst/>
              <a:gdLst>
                <a:gd name="T0" fmla="*/ 1324 w 1397"/>
                <a:gd name="T1" fmla="*/ 49 h 263"/>
                <a:gd name="T2" fmla="*/ 1356 w 1397"/>
                <a:gd name="T3" fmla="*/ 260 h 263"/>
                <a:gd name="T4" fmla="*/ 1293 w 1397"/>
                <a:gd name="T5" fmla="*/ 260 h 263"/>
                <a:gd name="T6" fmla="*/ 1355 w 1397"/>
                <a:gd name="T7" fmla="*/ 4 h 263"/>
                <a:gd name="T8" fmla="*/ 1172 w 1397"/>
                <a:gd name="T9" fmla="*/ 4 h 263"/>
                <a:gd name="T10" fmla="*/ 1190 w 1397"/>
                <a:gd name="T11" fmla="*/ 260 h 263"/>
                <a:gd name="T12" fmla="*/ 1124 w 1397"/>
                <a:gd name="T13" fmla="*/ 260 h 263"/>
                <a:gd name="T14" fmla="*/ 1059 w 1397"/>
                <a:gd name="T15" fmla="*/ 260 h 263"/>
                <a:gd name="T16" fmla="*/ 1145 w 1397"/>
                <a:gd name="T17" fmla="*/ 186 h 263"/>
                <a:gd name="T18" fmla="*/ 1021 w 1397"/>
                <a:gd name="T19" fmla="*/ 260 h 263"/>
                <a:gd name="T20" fmla="*/ 865 w 1397"/>
                <a:gd name="T21" fmla="*/ 200 h 263"/>
                <a:gd name="T22" fmla="*/ 876 w 1397"/>
                <a:gd name="T23" fmla="*/ 225 h 263"/>
                <a:gd name="T24" fmla="*/ 901 w 1397"/>
                <a:gd name="T25" fmla="*/ 219 h 263"/>
                <a:gd name="T26" fmla="*/ 906 w 1397"/>
                <a:gd name="T27" fmla="*/ 62 h 263"/>
                <a:gd name="T28" fmla="*/ 893 w 1397"/>
                <a:gd name="T29" fmla="*/ 39 h 263"/>
                <a:gd name="T30" fmla="*/ 870 w 1397"/>
                <a:gd name="T31" fmla="*/ 43 h 263"/>
                <a:gd name="T32" fmla="*/ 865 w 1397"/>
                <a:gd name="T33" fmla="*/ 200 h 263"/>
                <a:gd name="T34" fmla="*/ 828 w 1397"/>
                <a:gd name="T35" fmla="*/ 37 h 263"/>
                <a:gd name="T36" fmla="*/ 849 w 1397"/>
                <a:gd name="T37" fmla="*/ 10 h 263"/>
                <a:gd name="T38" fmla="*/ 885 w 1397"/>
                <a:gd name="T39" fmla="*/ 0 h 263"/>
                <a:gd name="T40" fmla="*/ 922 w 1397"/>
                <a:gd name="T41" fmla="*/ 10 h 263"/>
                <a:gd name="T42" fmla="*/ 936 w 1397"/>
                <a:gd name="T43" fmla="*/ 27 h 263"/>
                <a:gd name="T44" fmla="*/ 946 w 1397"/>
                <a:gd name="T45" fmla="*/ 65 h 263"/>
                <a:gd name="T46" fmla="*/ 942 w 1397"/>
                <a:gd name="T47" fmla="*/ 225 h 263"/>
                <a:gd name="T48" fmla="*/ 922 w 1397"/>
                <a:gd name="T49" fmla="*/ 252 h 263"/>
                <a:gd name="T50" fmla="*/ 885 w 1397"/>
                <a:gd name="T51" fmla="*/ 262 h 263"/>
                <a:gd name="T52" fmla="*/ 849 w 1397"/>
                <a:gd name="T53" fmla="*/ 252 h 263"/>
                <a:gd name="T54" fmla="*/ 833 w 1397"/>
                <a:gd name="T55" fmla="*/ 236 h 263"/>
                <a:gd name="T56" fmla="*/ 824 w 1397"/>
                <a:gd name="T57" fmla="*/ 198 h 263"/>
                <a:gd name="T58" fmla="*/ 763 w 1397"/>
                <a:gd name="T59" fmla="*/ 4 h 263"/>
                <a:gd name="T60" fmla="*/ 701 w 1397"/>
                <a:gd name="T61" fmla="*/ 260 h 263"/>
                <a:gd name="T62" fmla="*/ 732 w 1397"/>
                <a:gd name="T63" fmla="*/ 212 h 263"/>
                <a:gd name="T64" fmla="*/ 633 w 1397"/>
                <a:gd name="T65" fmla="*/ 260 h 263"/>
                <a:gd name="T66" fmla="*/ 460 w 1397"/>
                <a:gd name="T67" fmla="*/ 4 h 263"/>
                <a:gd name="T68" fmla="*/ 566 w 1397"/>
                <a:gd name="T69" fmla="*/ 223 h 263"/>
                <a:gd name="T70" fmla="*/ 460 w 1397"/>
                <a:gd name="T71" fmla="*/ 4 h 263"/>
                <a:gd name="T72" fmla="*/ 345 w 1397"/>
                <a:gd name="T73" fmla="*/ 212 h 263"/>
                <a:gd name="T74" fmla="*/ 364 w 1397"/>
                <a:gd name="T75" fmla="*/ 226 h 263"/>
                <a:gd name="T76" fmla="*/ 384 w 1397"/>
                <a:gd name="T77" fmla="*/ 212 h 263"/>
                <a:gd name="T78" fmla="*/ 424 w 1397"/>
                <a:gd name="T79" fmla="*/ 4 h 263"/>
                <a:gd name="T80" fmla="*/ 419 w 1397"/>
                <a:gd name="T81" fmla="*/ 226 h 263"/>
                <a:gd name="T82" fmla="*/ 399 w 1397"/>
                <a:gd name="T83" fmla="*/ 253 h 263"/>
                <a:gd name="T84" fmla="*/ 363 w 1397"/>
                <a:gd name="T85" fmla="*/ 263 h 263"/>
                <a:gd name="T86" fmla="*/ 327 w 1397"/>
                <a:gd name="T87" fmla="*/ 253 h 263"/>
                <a:gd name="T88" fmla="*/ 307 w 1397"/>
                <a:gd name="T89" fmla="*/ 226 h 263"/>
                <a:gd name="T90" fmla="*/ 304 w 1397"/>
                <a:gd name="T91" fmla="*/ 4 h 263"/>
                <a:gd name="T92" fmla="*/ 189 w 1397"/>
                <a:gd name="T93" fmla="*/ 200 h 263"/>
                <a:gd name="T94" fmla="*/ 201 w 1397"/>
                <a:gd name="T95" fmla="*/ 225 h 263"/>
                <a:gd name="T96" fmla="*/ 225 w 1397"/>
                <a:gd name="T97" fmla="*/ 220 h 263"/>
                <a:gd name="T98" fmla="*/ 231 w 1397"/>
                <a:gd name="T99" fmla="*/ 4 h 263"/>
                <a:gd name="T100" fmla="*/ 268 w 1397"/>
                <a:gd name="T101" fmla="*/ 213 h 263"/>
                <a:gd name="T102" fmla="*/ 253 w 1397"/>
                <a:gd name="T103" fmla="*/ 246 h 263"/>
                <a:gd name="T104" fmla="*/ 223 w 1397"/>
                <a:gd name="T105" fmla="*/ 262 h 263"/>
                <a:gd name="T106" fmla="*/ 182 w 1397"/>
                <a:gd name="T107" fmla="*/ 259 h 263"/>
                <a:gd name="T108" fmla="*/ 157 w 1397"/>
                <a:gd name="T109" fmla="*/ 236 h 263"/>
                <a:gd name="T110" fmla="*/ 149 w 1397"/>
                <a:gd name="T111" fmla="*/ 198 h 263"/>
                <a:gd name="T112" fmla="*/ 0 w 1397"/>
                <a:gd name="T113" fmla="*/ 4 h 263"/>
                <a:gd name="T114" fmla="*/ 82 w 1397"/>
                <a:gd name="T115" fmla="*/ 40 h 263"/>
                <a:gd name="T116" fmla="*/ 42 w 1397"/>
                <a:gd name="T117" fmla="*/ 4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7" h="263">
                  <a:moveTo>
                    <a:pt x="1305" y="178"/>
                  </a:moveTo>
                  <a:lnTo>
                    <a:pt x="1344" y="178"/>
                  </a:lnTo>
                  <a:lnTo>
                    <a:pt x="1324" y="49"/>
                  </a:lnTo>
                  <a:lnTo>
                    <a:pt x="1305" y="178"/>
                  </a:lnTo>
                  <a:close/>
                  <a:moveTo>
                    <a:pt x="1397" y="260"/>
                  </a:moveTo>
                  <a:lnTo>
                    <a:pt x="1356" y="260"/>
                  </a:lnTo>
                  <a:lnTo>
                    <a:pt x="1349" y="213"/>
                  </a:lnTo>
                  <a:lnTo>
                    <a:pt x="1299" y="213"/>
                  </a:lnTo>
                  <a:lnTo>
                    <a:pt x="1293" y="260"/>
                  </a:lnTo>
                  <a:lnTo>
                    <a:pt x="1256" y="260"/>
                  </a:lnTo>
                  <a:lnTo>
                    <a:pt x="1297" y="4"/>
                  </a:lnTo>
                  <a:lnTo>
                    <a:pt x="1355" y="4"/>
                  </a:lnTo>
                  <a:lnTo>
                    <a:pt x="1397" y="260"/>
                  </a:lnTo>
                  <a:close/>
                  <a:moveTo>
                    <a:pt x="1145" y="186"/>
                  </a:moveTo>
                  <a:lnTo>
                    <a:pt x="1172" y="4"/>
                  </a:lnTo>
                  <a:lnTo>
                    <a:pt x="1228" y="4"/>
                  </a:lnTo>
                  <a:lnTo>
                    <a:pt x="1228" y="260"/>
                  </a:lnTo>
                  <a:lnTo>
                    <a:pt x="1190" y="260"/>
                  </a:lnTo>
                  <a:lnTo>
                    <a:pt x="1190" y="76"/>
                  </a:lnTo>
                  <a:lnTo>
                    <a:pt x="1162" y="260"/>
                  </a:lnTo>
                  <a:lnTo>
                    <a:pt x="1124" y="260"/>
                  </a:lnTo>
                  <a:lnTo>
                    <a:pt x="1094" y="79"/>
                  </a:lnTo>
                  <a:lnTo>
                    <a:pt x="1094" y="260"/>
                  </a:lnTo>
                  <a:lnTo>
                    <a:pt x="1059" y="260"/>
                  </a:lnTo>
                  <a:lnTo>
                    <a:pt x="1059" y="4"/>
                  </a:lnTo>
                  <a:lnTo>
                    <a:pt x="1115" y="4"/>
                  </a:lnTo>
                  <a:lnTo>
                    <a:pt x="1145" y="186"/>
                  </a:lnTo>
                  <a:close/>
                  <a:moveTo>
                    <a:pt x="981" y="4"/>
                  </a:moveTo>
                  <a:lnTo>
                    <a:pt x="1021" y="4"/>
                  </a:lnTo>
                  <a:lnTo>
                    <a:pt x="1021" y="260"/>
                  </a:lnTo>
                  <a:lnTo>
                    <a:pt x="981" y="260"/>
                  </a:lnTo>
                  <a:lnTo>
                    <a:pt x="981" y="4"/>
                  </a:lnTo>
                  <a:close/>
                  <a:moveTo>
                    <a:pt x="865" y="200"/>
                  </a:moveTo>
                  <a:lnTo>
                    <a:pt x="866" y="212"/>
                  </a:lnTo>
                  <a:lnTo>
                    <a:pt x="870" y="219"/>
                  </a:lnTo>
                  <a:lnTo>
                    <a:pt x="876" y="225"/>
                  </a:lnTo>
                  <a:lnTo>
                    <a:pt x="885" y="226"/>
                  </a:lnTo>
                  <a:lnTo>
                    <a:pt x="893" y="225"/>
                  </a:lnTo>
                  <a:lnTo>
                    <a:pt x="901" y="219"/>
                  </a:lnTo>
                  <a:lnTo>
                    <a:pt x="905" y="212"/>
                  </a:lnTo>
                  <a:lnTo>
                    <a:pt x="906" y="200"/>
                  </a:lnTo>
                  <a:lnTo>
                    <a:pt x="906" y="62"/>
                  </a:lnTo>
                  <a:lnTo>
                    <a:pt x="905" y="50"/>
                  </a:lnTo>
                  <a:lnTo>
                    <a:pt x="901" y="43"/>
                  </a:lnTo>
                  <a:lnTo>
                    <a:pt x="893" y="39"/>
                  </a:lnTo>
                  <a:lnTo>
                    <a:pt x="885" y="37"/>
                  </a:lnTo>
                  <a:lnTo>
                    <a:pt x="876" y="39"/>
                  </a:lnTo>
                  <a:lnTo>
                    <a:pt x="870" y="43"/>
                  </a:lnTo>
                  <a:lnTo>
                    <a:pt x="866" y="50"/>
                  </a:lnTo>
                  <a:lnTo>
                    <a:pt x="865" y="62"/>
                  </a:lnTo>
                  <a:lnTo>
                    <a:pt x="865" y="200"/>
                  </a:lnTo>
                  <a:close/>
                  <a:moveTo>
                    <a:pt x="824" y="65"/>
                  </a:moveTo>
                  <a:lnTo>
                    <a:pt x="824" y="50"/>
                  </a:lnTo>
                  <a:lnTo>
                    <a:pt x="828" y="37"/>
                  </a:lnTo>
                  <a:lnTo>
                    <a:pt x="833" y="27"/>
                  </a:lnTo>
                  <a:lnTo>
                    <a:pt x="839" y="17"/>
                  </a:lnTo>
                  <a:lnTo>
                    <a:pt x="849" y="10"/>
                  </a:lnTo>
                  <a:lnTo>
                    <a:pt x="858" y="5"/>
                  </a:lnTo>
                  <a:lnTo>
                    <a:pt x="871" y="2"/>
                  </a:lnTo>
                  <a:lnTo>
                    <a:pt x="885" y="0"/>
                  </a:lnTo>
                  <a:lnTo>
                    <a:pt x="898" y="2"/>
                  </a:lnTo>
                  <a:lnTo>
                    <a:pt x="911" y="5"/>
                  </a:lnTo>
                  <a:lnTo>
                    <a:pt x="922" y="10"/>
                  </a:lnTo>
                  <a:lnTo>
                    <a:pt x="930" y="17"/>
                  </a:lnTo>
                  <a:lnTo>
                    <a:pt x="933" y="22"/>
                  </a:lnTo>
                  <a:lnTo>
                    <a:pt x="936" y="27"/>
                  </a:lnTo>
                  <a:lnTo>
                    <a:pt x="942" y="37"/>
                  </a:lnTo>
                  <a:lnTo>
                    <a:pt x="945" y="50"/>
                  </a:lnTo>
                  <a:lnTo>
                    <a:pt x="946" y="65"/>
                  </a:lnTo>
                  <a:lnTo>
                    <a:pt x="946" y="198"/>
                  </a:lnTo>
                  <a:lnTo>
                    <a:pt x="945" y="212"/>
                  </a:lnTo>
                  <a:lnTo>
                    <a:pt x="942" y="225"/>
                  </a:lnTo>
                  <a:lnTo>
                    <a:pt x="936" y="236"/>
                  </a:lnTo>
                  <a:lnTo>
                    <a:pt x="930" y="246"/>
                  </a:lnTo>
                  <a:lnTo>
                    <a:pt x="922" y="252"/>
                  </a:lnTo>
                  <a:lnTo>
                    <a:pt x="911" y="257"/>
                  </a:lnTo>
                  <a:lnTo>
                    <a:pt x="898" y="261"/>
                  </a:lnTo>
                  <a:lnTo>
                    <a:pt x="885" y="262"/>
                  </a:lnTo>
                  <a:lnTo>
                    <a:pt x="871" y="261"/>
                  </a:lnTo>
                  <a:lnTo>
                    <a:pt x="858" y="257"/>
                  </a:lnTo>
                  <a:lnTo>
                    <a:pt x="849" y="252"/>
                  </a:lnTo>
                  <a:lnTo>
                    <a:pt x="839" y="246"/>
                  </a:lnTo>
                  <a:lnTo>
                    <a:pt x="836" y="241"/>
                  </a:lnTo>
                  <a:lnTo>
                    <a:pt x="833" y="236"/>
                  </a:lnTo>
                  <a:lnTo>
                    <a:pt x="828" y="225"/>
                  </a:lnTo>
                  <a:lnTo>
                    <a:pt x="824" y="212"/>
                  </a:lnTo>
                  <a:lnTo>
                    <a:pt x="824" y="198"/>
                  </a:lnTo>
                  <a:lnTo>
                    <a:pt x="824" y="65"/>
                  </a:lnTo>
                  <a:close/>
                  <a:moveTo>
                    <a:pt x="732" y="212"/>
                  </a:moveTo>
                  <a:lnTo>
                    <a:pt x="763" y="4"/>
                  </a:lnTo>
                  <a:lnTo>
                    <a:pt x="800" y="4"/>
                  </a:lnTo>
                  <a:lnTo>
                    <a:pt x="760" y="260"/>
                  </a:lnTo>
                  <a:lnTo>
                    <a:pt x="701" y="260"/>
                  </a:lnTo>
                  <a:lnTo>
                    <a:pt x="660" y="4"/>
                  </a:lnTo>
                  <a:lnTo>
                    <a:pt x="702" y="4"/>
                  </a:lnTo>
                  <a:lnTo>
                    <a:pt x="732" y="212"/>
                  </a:lnTo>
                  <a:close/>
                  <a:moveTo>
                    <a:pt x="593" y="4"/>
                  </a:moveTo>
                  <a:lnTo>
                    <a:pt x="633" y="4"/>
                  </a:lnTo>
                  <a:lnTo>
                    <a:pt x="633" y="260"/>
                  </a:lnTo>
                  <a:lnTo>
                    <a:pt x="593" y="260"/>
                  </a:lnTo>
                  <a:lnTo>
                    <a:pt x="593" y="4"/>
                  </a:lnTo>
                  <a:close/>
                  <a:moveTo>
                    <a:pt x="460" y="4"/>
                  </a:moveTo>
                  <a:lnTo>
                    <a:pt x="500" y="4"/>
                  </a:lnTo>
                  <a:lnTo>
                    <a:pt x="500" y="223"/>
                  </a:lnTo>
                  <a:lnTo>
                    <a:pt x="566" y="223"/>
                  </a:lnTo>
                  <a:lnTo>
                    <a:pt x="566" y="260"/>
                  </a:lnTo>
                  <a:lnTo>
                    <a:pt x="460" y="260"/>
                  </a:lnTo>
                  <a:lnTo>
                    <a:pt x="460" y="4"/>
                  </a:lnTo>
                  <a:close/>
                  <a:moveTo>
                    <a:pt x="343" y="4"/>
                  </a:moveTo>
                  <a:lnTo>
                    <a:pt x="343" y="200"/>
                  </a:lnTo>
                  <a:lnTo>
                    <a:pt x="345" y="212"/>
                  </a:lnTo>
                  <a:lnTo>
                    <a:pt x="350" y="220"/>
                  </a:lnTo>
                  <a:lnTo>
                    <a:pt x="356" y="225"/>
                  </a:lnTo>
                  <a:lnTo>
                    <a:pt x="364" y="226"/>
                  </a:lnTo>
                  <a:lnTo>
                    <a:pt x="373" y="225"/>
                  </a:lnTo>
                  <a:lnTo>
                    <a:pt x="380" y="220"/>
                  </a:lnTo>
                  <a:lnTo>
                    <a:pt x="384" y="212"/>
                  </a:lnTo>
                  <a:lnTo>
                    <a:pt x="386" y="200"/>
                  </a:lnTo>
                  <a:lnTo>
                    <a:pt x="386" y="4"/>
                  </a:lnTo>
                  <a:lnTo>
                    <a:pt x="424" y="4"/>
                  </a:lnTo>
                  <a:lnTo>
                    <a:pt x="424" y="198"/>
                  </a:lnTo>
                  <a:lnTo>
                    <a:pt x="423" y="213"/>
                  </a:lnTo>
                  <a:lnTo>
                    <a:pt x="419" y="226"/>
                  </a:lnTo>
                  <a:lnTo>
                    <a:pt x="415" y="236"/>
                  </a:lnTo>
                  <a:lnTo>
                    <a:pt x="408" y="246"/>
                  </a:lnTo>
                  <a:lnTo>
                    <a:pt x="399" y="253"/>
                  </a:lnTo>
                  <a:lnTo>
                    <a:pt x="390" y="259"/>
                  </a:lnTo>
                  <a:lnTo>
                    <a:pt x="377" y="262"/>
                  </a:lnTo>
                  <a:lnTo>
                    <a:pt x="363" y="263"/>
                  </a:lnTo>
                  <a:lnTo>
                    <a:pt x="350" y="262"/>
                  </a:lnTo>
                  <a:lnTo>
                    <a:pt x="338" y="259"/>
                  </a:lnTo>
                  <a:lnTo>
                    <a:pt x="327" y="253"/>
                  </a:lnTo>
                  <a:lnTo>
                    <a:pt x="319" y="246"/>
                  </a:lnTo>
                  <a:lnTo>
                    <a:pt x="313" y="236"/>
                  </a:lnTo>
                  <a:lnTo>
                    <a:pt x="307" y="226"/>
                  </a:lnTo>
                  <a:lnTo>
                    <a:pt x="304" y="213"/>
                  </a:lnTo>
                  <a:lnTo>
                    <a:pt x="304" y="198"/>
                  </a:lnTo>
                  <a:lnTo>
                    <a:pt x="304" y="4"/>
                  </a:lnTo>
                  <a:lnTo>
                    <a:pt x="343" y="4"/>
                  </a:lnTo>
                  <a:close/>
                  <a:moveTo>
                    <a:pt x="189" y="4"/>
                  </a:moveTo>
                  <a:lnTo>
                    <a:pt x="189" y="200"/>
                  </a:lnTo>
                  <a:lnTo>
                    <a:pt x="191" y="212"/>
                  </a:lnTo>
                  <a:lnTo>
                    <a:pt x="195" y="220"/>
                  </a:lnTo>
                  <a:lnTo>
                    <a:pt x="201" y="225"/>
                  </a:lnTo>
                  <a:lnTo>
                    <a:pt x="210" y="226"/>
                  </a:lnTo>
                  <a:lnTo>
                    <a:pt x="218" y="225"/>
                  </a:lnTo>
                  <a:lnTo>
                    <a:pt x="225" y="220"/>
                  </a:lnTo>
                  <a:lnTo>
                    <a:pt x="229" y="212"/>
                  </a:lnTo>
                  <a:lnTo>
                    <a:pt x="231" y="200"/>
                  </a:lnTo>
                  <a:lnTo>
                    <a:pt x="231" y="4"/>
                  </a:lnTo>
                  <a:lnTo>
                    <a:pt x="269" y="4"/>
                  </a:lnTo>
                  <a:lnTo>
                    <a:pt x="269" y="198"/>
                  </a:lnTo>
                  <a:lnTo>
                    <a:pt x="268" y="213"/>
                  </a:lnTo>
                  <a:lnTo>
                    <a:pt x="265" y="226"/>
                  </a:lnTo>
                  <a:lnTo>
                    <a:pt x="261" y="236"/>
                  </a:lnTo>
                  <a:lnTo>
                    <a:pt x="253" y="246"/>
                  </a:lnTo>
                  <a:lnTo>
                    <a:pt x="245" y="253"/>
                  </a:lnTo>
                  <a:lnTo>
                    <a:pt x="235" y="259"/>
                  </a:lnTo>
                  <a:lnTo>
                    <a:pt x="223" y="262"/>
                  </a:lnTo>
                  <a:lnTo>
                    <a:pt x="209" y="263"/>
                  </a:lnTo>
                  <a:lnTo>
                    <a:pt x="195" y="262"/>
                  </a:lnTo>
                  <a:lnTo>
                    <a:pt x="182" y="259"/>
                  </a:lnTo>
                  <a:lnTo>
                    <a:pt x="173" y="253"/>
                  </a:lnTo>
                  <a:lnTo>
                    <a:pt x="164" y="246"/>
                  </a:lnTo>
                  <a:lnTo>
                    <a:pt x="157" y="236"/>
                  </a:lnTo>
                  <a:lnTo>
                    <a:pt x="153" y="226"/>
                  </a:lnTo>
                  <a:lnTo>
                    <a:pt x="150" y="213"/>
                  </a:lnTo>
                  <a:lnTo>
                    <a:pt x="149" y="198"/>
                  </a:lnTo>
                  <a:lnTo>
                    <a:pt x="149" y="4"/>
                  </a:lnTo>
                  <a:lnTo>
                    <a:pt x="189" y="4"/>
                  </a:lnTo>
                  <a:close/>
                  <a:moveTo>
                    <a:pt x="0" y="4"/>
                  </a:moveTo>
                  <a:lnTo>
                    <a:pt x="124" y="4"/>
                  </a:lnTo>
                  <a:lnTo>
                    <a:pt x="124" y="40"/>
                  </a:lnTo>
                  <a:lnTo>
                    <a:pt x="82" y="40"/>
                  </a:lnTo>
                  <a:lnTo>
                    <a:pt x="82" y="260"/>
                  </a:lnTo>
                  <a:lnTo>
                    <a:pt x="42" y="260"/>
                  </a:lnTo>
                  <a:lnTo>
                    <a:pt x="42" y="40"/>
                  </a:lnTo>
                  <a:lnTo>
                    <a:pt x="0" y="4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66297522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40A0D3A-C19D-4D29-B7D4-DAAAF1C53A6F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28"/>
            <p:cNvSpPr>
              <a:spLocks noEditPoints="1"/>
            </p:cNvSpPr>
            <p:nvPr userDrawn="1"/>
          </p:nvSpPr>
          <p:spPr bwMode="auto">
            <a:xfrm>
              <a:off x="9180914" y="6472295"/>
              <a:ext cx="1318115" cy="247029"/>
            </a:xfrm>
            <a:custGeom>
              <a:avLst/>
              <a:gdLst>
                <a:gd name="T0" fmla="*/ 1324 w 1397"/>
                <a:gd name="T1" fmla="*/ 49 h 263"/>
                <a:gd name="T2" fmla="*/ 1356 w 1397"/>
                <a:gd name="T3" fmla="*/ 260 h 263"/>
                <a:gd name="T4" fmla="*/ 1293 w 1397"/>
                <a:gd name="T5" fmla="*/ 260 h 263"/>
                <a:gd name="T6" fmla="*/ 1355 w 1397"/>
                <a:gd name="T7" fmla="*/ 4 h 263"/>
                <a:gd name="T8" fmla="*/ 1172 w 1397"/>
                <a:gd name="T9" fmla="*/ 4 h 263"/>
                <a:gd name="T10" fmla="*/ 1190 w 1397"/>
                <a:gd name="T11" fmla="*/ 260 h 263"/>
                <a:gd name="T12" fmla="*/ 1124 w 1397"/>
                <a:gd name="T13" fmla="*/ 260 h 263"/>
                <a:gd name="T14" fmla="*/ 1059 w 1397"/>
                <a:gd name="T15" fmla="*/ 260 h 263"/>
                <a:gd name="T16" fmla="*/ 1145 w 1397"/>
                <a:gd name="T17" fmla="*/ 186 h 263"/>
                <a:gd name="T18" fmla="*/ 1021 w 1397"/>
                <a:gd name="T19" fmla="*/ 260 h 263"/>
                <a:gd name="T20" fmla="*/ 865 w 1397"/>
                <a:gd name="T21" fmla="*/ 200 h 263"/>
                <a:gd name="T22" fmla="*/ 876 w 1397"/>
                <a:gd name="T23" fmla="*/ 225 h 263"/>
                <a:gd name="T24" fmla="*/ 901 w 1397"/>
                <a:gd name="T25" fmla="*/ 219 h 263"/>
                <a:gd name="T26" fmla="*/ 906 w 1397"/>
                <a:gd name="T27" fmla="*/ 62 h 263"/>
                <a:gd name="T28" fmla="*/ 893 w 1397"/>
                <a:gd name="T29" fmla="*/ 39 h 263"/>
                <a:gd name="T30" fmla="*/ 870 w 1397"/>
                <a:gd name="T31" fmla="*/ 43 h 263"/>
                <a:gd name="T32" fmla="*/ 865 w 1397"/>
                <a:gd name="T33" fmla="*/ 200 h 263"/>
                <a:gd name="T34" fmla="*/ 828 w 1397"/>
                <a:gd name="T35" fmla="*/ 37 h 263"/>
                <a:gd name="T36" fmla="*/ 849 w 1397"/>
                <a:gd name="T37" fmla="*/ 10 h 263"/>
                <a:gd name="T38" fmla="*/ 885 w 1397"/>
                <a:gd name="T39" fmla="*/ 0 h 263"/>
                <a:gd name="T40" fmla="*/ 922 w 1397"/>
                <a:gd name="T41" fmla="*/ 10 h 263"/>
                <a:gd name="T42" fmla="*/ 936 w 1397"/>
                <a:gd name="T43" fmla="*/ 27 h 263"/>
                <a:gd name="T44" fmla="*/ 946 w 1397"/>
                <a:gd name="T45" fmla="*/ 65 h 263"/>
                <a:gd name="T46" fmla="*/ 942 w 1397"/>
                <a:gd name="T47" fmla="*/ 225 h 263"/>
                <a:gd name="T48" fmla="*/ 922 w 1397"/>
                <a:gd name="T49" fmla="*/ 252 h 263"/>
                <a:gd name="T50" fmla="*/ 885 w 1397"/>
                <a:gd name="T51" fmla="*/ 262 h 263"/>
                <a:gd name="T52" fmla="*/ 849 w 1397"/>
                <a:gd name="T53" fmla="*/ 252 h 263"/>
                <a:gd name="T54" fmla="*/ 833 w 1397"/>
                <a:gd name="T55" fmla="*/ 236 h 263"/>
                <a:gd name="T56" fmla="*/ 824 w 1397"/>
                <a:gd name="T57" fmla="*/ 198 h 263"/>
                <a:gd name="T58" fmla="*/ 763 w 1397"/>
                <a:gd name="T59" fmla="*/ 4 h 263"/>
                <a:gd name="T60" fmla="*/ 701 w 1397"/>
                <a:gd name="T61" fmla="*/ 260 h 263"/>
                <a:gd name="T62" fmla="*/ 732 w 1397"/>
                <a:gd name="T63" fmla="*/ 212 h 263"/>
                <a:gd name="T64" fmla="*/ 633 w 1397"/>
                <a:gd name="T65" fmla="*/ 260 h 263"/>
                <a:gd name="T66" fmla="*/ 460 w 1397"/>
                <a:gd name="T67" fmla="*/ 4 h 263"/>
                <a:gd name="T68" fmla="*/ 566 w 1397"/>
                <a:gd name="T69" fmla="*/ 223 h 263"/>
                <a:gd name="T70" fmla="*/ 460 w 1397"/>
                <a:gd name="T71" fmla="*/ 4 h 263"/>
                <a:gd name="T72" fmla="*/ 345 w 1397"/>
                <a:gd name="T73" fmla="*/ 212 h 263"/>
                <a:gd name="T74" fmla="*/ 364 w 1397"/>
                <a:gd name="T75" fmla="*/ 226 h 263"/>
                <a:gd name="T76" fmla="*/ 384 w 1397"/>
                <a:gd name="T77" fmla="*/ 212 h 263"/>
                <a:gd name="T78" fmla="*/ 424 w 1397"/>
                <a:gd name="T79" fmla="*/ 4 h 263"/>
                <a:gd name="T80" fmla="*/ 419 w 1397"/>
                <a:gd name="T81" fmla="*/ 226 h 263"/>
                <a:gd name="T82" fmla="*/ 399 w 1397"/>
                <a:gd name="T83" fmla="*/ 253 h 263"/>
                <a:gd name="T84" fmla="*/ 363 w 1397"/>
                <a:gd name="T85" fmla="*/ 263 h 263"/>
                <a:gd name="T86" fmla="*/ 327 w 1397"/>
                <a:gd name="T87" fmla="*/ 253 h 263"/>
                <a:gd name="T88" fmla="*/ 307 w 1397"/>
                <a:gd name="T89" fmla="*/ 226 h 263"/>
                <a:gd name="T90" fmla="*/ 304 w 1397"/>
                <a:gd name="T91" fmla="*/ 4 h 263"/>
                <a:gd name="T92" fmla="*/ 189 w 1397"/>
                <a:gd name="T93" fmla="*/ 200 h 263"/>
                <a:gd name="T94" fmla="*/ 201 w 1397"/>
                <a:gd name="T95" fmla="*/ 225 h 263"/>
                <a:gd name="T96" fmla="*/ 225 w 1397"/>
                <a:gd name="T97" fmla="*/ 220 h 263"/>
                <a:gd name="T98" fmla="*/ 231 w 1397"/>
                <a:gd name="T99" fmla="*/ 4 h 263"/>
                <a:gd name="T100" fmla="*/ 268 w 1397"/>
                <a:gd name="T101" fmla="*/ 213 h 263"/>
                <a:gd name="T102" fmla="*/ 253 w 1397"/>
                <a:gd name="T103" fmla="*/ 246 h 263"/>
                <a:gd name="T104" fmla="*/ 223 w 1397"/>
                <a:gd name="T105" fmla="*/ 262 h 263"/>
                <a:gd name="T106" fmla="*/ 182 w 1397"/>
                <a:gd name="T107" fmla="*/ 259 h 263"/>
                <a:gd name="T108" fmla="*/ 157 w 1397"/>
                <a:gd name="T109" fmla="*/ 236 h 263"/>
                <a:gd name="T110" fmla="*/ 149 w 1397"/>
                <a:gd name="T111" fmla="*/ 198 h 263"/>
                <a:gd name="T112" fmla="*/ 0 w 1397"/>
                <a:gd name="T113" fmla="*/ 4 h 263"/>
                <a:gd name="T114" fmla="*/ 82 w 1397"/>
                <a:gd name="T115" fmla="*/ 40 h 263"/>
                <a:gd name="T116" fmla="*/ 42 w 1397"/>
                <a:gd name="T117" fmla="*/ 4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7" h="263">
                  <a:moveTo>
                    <a:pt x="1305" y="178"/>
                  </a:moveTo>
                  <a:lnTo>
                    <a:pt x="1344" y="178"/>
                  </a:lnTo>
                  <a:lnTo>
                    <a:pt x="1324" y="49"/>
                  </a:lnTo>
                  <a:lnTo>
                    <a:pt x="1305" y="178"/>
                  </a:lnTo>
                  <a:close/>
                  <a:moveTo>
                    <a:pt x="1397" y="260"/>
                  </a:moveTo>
                  <a:lnTo>
                    <a:pt x="1356" y="260"/>
                  </a:lnTo>
                  <a:lnTo>
                    <a:pt x="1349" y="213"/>
                  </a:lnTo>
                  <a:lnTo>
                    <a:pt x="1299" y="213"/>
                  </a:lnTo>
                  <a:lnTo>
                    <a:pt x="1293" y="260"/>
                  </a:lnTo>
                  <a:lnTo>
                    <a:pt x="1256" y="260"/>
                  </a:lnTo>
                  <a:lnTo>
                    <a:pt x="1297" y="4"/>
                  </a:lnTo>
                  <a:lnTo>
                    <a:pt x="1355" y="4"/>
                  </a:lnTo>
                  <a:lnTo>
                    <a:pt x="1397" y="260"/>
                  </a:lnTo>
                  <a:close/>
                  <a:moveTo>
                    <a:pt x="1145" y="186"/>
                  </a:moveTo>
                  <a:lnTo>
                    <a:pt x="1172" y="4"/>
                  </a:lnTo>
                  <a:lnTo>
                    <a:pt x="1228" y="4"/>
                  </a:lnTo>
                  <a:lnTo>
                    <a:pt x="1228" y="260"/>
                  </a:lnTo>
                  <a:lnTo>
                    <a:pt x="1190" y="260"/>
                  </a:lnTo>
                  <a:lnTo>
                    <a:pt x="1190" y="76"/>
                  </a:lnTo>
                  <a:lnTo>
                    <a:pt x="1162" y="260"/>
                  </a:lnTo>
                  <a:lnTo>
                    <a:pt x="1124" y="260"/>
                  </a:lnTo>
                  <a:lnTo>
                    <a:pt x="1094" y="79"/>
                  </a:lnTo>
                  <a:lnTo>
                    <a:pt x="1094" y="260"/>
                  </a:lnTo>
                  <a:lnTo>
                    <a:pt x="1059" y="260"/>
                  </a:lnTo>
                  <a:lnTo>
                    <a:pt x="1059" y="4"/>
                  </a:lnTo>
                  <a:lnTo>
                    <a:pt x="1115" y="4"/>
                  </a:lnTo>
                  <a:lnTo>
                    <a:pt x="1145" y="186"/>
                  </a:lnTo>
                  <a:close/>
                  <a:moveTo>
                    <a:pt x="981" y="4"/>
                  </a:moveTo>
                  <a:lnTo>
                    <a:pt x="1021" y="4"/>
                  </a:lnTo>
                  <a:lnTo>
                    <a:pt x="1021" y="260"/>
                  </a:lnTo>
                  <a:lnTo>
                    <a:pt x="981" y="260"/>
                  </a:lnTo>
                  <a:lnTo>
                    <a:pt x="981" y="4"/>
                  </a:lnTo>
                  <a:close/>
                  <a:moveTo>
                    <a:pt x="865" y="200"/>
                  </a:moveTo>
                  <a:lnTo>
                    <a:pt x="866" y="212"/>
                  </a:lnTo>
                  <a:lnTo>
                    <a:pt x="870" y="219"/>
                  </a:lnTo>
                  <a:lnTo>
                    <a:pt x="876" y="225"/>
                  </a:lnTo>
                  <a:lnTo>
                    <a:pt x="885" y="226"/>
                  </a:lnTo>
                  <a:lnTo>
                    <a:pt x="893" y="225"/>
                  </a:lnTo>
                  <a:lnTo>
                    <a:pt x="901" y="219"/>
                  </a:lnTo>
                  <a:lnTo>
                    <a:pt x="905" y="212"/>
                  </a:lnTo>
                  <a:lnTo>
                    <a:pt x="906" y="200"/>
                  </a:lnTo>
                  <a:lnTo>
                    <a:pt x="906" y="62"/>
                  </a:lnTo>
                  <a:lnTo>
                    <a:pt x="905" y="50"/>
                  </a:lnTo>
                  <a:lnTo>
                    <a:pt x="901" y="43"/>
                  </a:lnTo>
                  <a:lnTo>
                    <a:pt x="893" y="39"/>
                  </a:lnTo>
                  <a:lnTo>
                    <a:pt x="885" y="37"/>
                  </a:lnTo>
                  <a:lnTo>
                    <a:pt x="876" y="39"/>
                  </a:lnTo>
                  <a:lnTo>
                    <a:pt x="870" y="43"/>
                  </a:lnTo>
                  <a:lnTo>
                    <a:pt x="866" y="50"/>
                  </a:lnTo>
                  <a:lnTo>
                    <a:pt x="865" y="62"/>
                  </a:lnTo>
                  <a:lnTo>
                    <a:pt x="865" y="200"/>
                  </a:lnTo>
                  <a:close/>
                  <a:moveTo>
                    <a:pt x="824" y="65"/>
                  </a:moveTo>
                  <a:lnTo>
                    <a:pt x="824" y="50"/>
                  </a:lnTo>
                  <a:lnTo>
                    <a:pt x="828" y="37"/>
                  </a:lnTo>
                  <a:lnTo>
                    <a:pt x="833" y="27"/>
                  </a:lnTo>
                  <a:lnTo>
                    <a:pt x="839" y="17"/>
                  </a:lnTo>
                  <a:lnTo>
                    <a:pt x="849" y="10"/>
                  </a:lnTo>
                  <a:lnTo>
                    <a:pt x="858" y="5"/>
                  </a:lnTo>
                  <a:lnTo>
                    <a:pt x="871" y="2"/>
                  </a:lnTo>
                  <a:lnTo>
                    <a:pt x="885" y="0"/>
                  </a:lnTo>
                  <a:lnTo>
                    <a:pt x="898" y="2"/>
                  </a:lnTo>
                  <a:lnTo>
                    <a:pt x="911" y="5"/>
                  </a:lnTo>
                  <a:lnTo>
                    <a:pt x="922" y="10"/>
                  </a:lnTo>
                  <a:lnTo>
                    <a:pt x="930" y="17"/>
                  </a:lnTo>
                  <a:lnTo>
                    <a:pt x="933" y="22"/>
                  </a:lnTo>
                  <a:lnTo>
                    <a:pt x="936" y="27"/>
                  </a:lnTo>
                  <a:lnTo>
                    <a:pt x="942" y="37"/>
                  </a:lnTo>
                  <a:lnTo>
                    <a:pt x="945" y="50"/>
                  </a:lnTo>
                  <a:lnTo>
                    <a:pt x="946" y="65"/>
                  </a:lnTo>
                  <a:lnTo>
                    <a:pt x="946" y="198"/>
                  </a:lnTo>
                  <a:lnTo>
                    <a:pt x="945" y="212"/>
                  </a:lnTo>
                  <a:lnTo>
                    <a:pt x="942" y="225"/>
                  </a:lnTo>
                  <a:lnTo>
                    <a:pt x="936" y="236"/>
                  </a:lnTo>
                  <a:lnTo>
                    <a:pt x="930" y="246"/>
                  </a:lnTo>
                  <a:lnTo>
                    <a:pt x="922" y="252"/>
                  </a:lnTo>
                  <a:lnTo>
                    <a:pt x="911" y="257"/>
                  </a:lnTo>
                  <a:lnTo>
                    <a:pt x="898" y="261"/>
                  </a:lnTo>
                  <a:lnTo>
                    <a:pt x="885" y="262"/>
                  </a:lnTo>
                  <a:lnTo>
                    <a:pt x="871" y="261"/>
                  </a:lnTo>
                  <a:lnTo>
                    <a:pt x="858" y="257"/>
                  </a:lnTo>
                  <a:lnTo>
                    <a:pt x="849" y="252"/>
                  </a:lnTo>
                  <a:lnTo>
                    <a:pt x="839" y="246"/>
                  </a:lnTo>
                  <a:lnTo>
                    <a:pt x="836" y="241"/>
                  </a:lnTo>
                  <a:lnTo>
                    <a:pt x="833" y="236"/>
                  </a:lnTo>
                  <a:lnTo>
                    <a:pt x="828" y="225"/>
                  </a:lnTo>
                  <a:lnTo>
                    <a:pt x="824" y="212"/>
                  </a:lnTo>
                  <a:lnTo>
                    <a:pt x="824" y="198"/>
                  </a:lnTo>
                  <a:lnTo>
                    <a:pt x="824" y="65"/>
                  </a:lnTo>
                  <a:close/>
                  <a:moveTo>
                    <a:pt x="732" y="212"/>
                  </a:moveTo>
                  <a:lnTo>
                    <a:pt x="763" y="4"/>
                  </a:lnTo>
                  <a:lnTo>
                    <a:pt x="800" y="4"/>
                  </a:lnTo>
                  <a:lnTo>
                    <a:pt x="760" y="260"/>
                  </a:lnTo>
                  <a:lnTo>
                    <a:pt x="701" y="260"/>
                  </a:lnTo>
                  <a:lnTo>
                    <a:pt x="660" y="4"/>
                  </a:lnTo>
                  <a:lnTo>
                    <a:pt x="702" y="4"/>
                  </a:lnTo>
                  <a:lnTo>
                    <a:pt x="732" y="212"/>
                  </a:lnTo>
                  <a:close/>
                  <a:moveTo>
                    <a:pt x="593" y="4"/>
                  </a:moveTo>
                  <a:lnTo>
                    <a:pt x="633" y="4"/>
                  </a:lnTo>
                  <a:lnTo>
                    <a:pt x="633" y="260"/>
                  </a:lnTo>
                  <a:lnTo>
                    <a:pt x="593" y="260"/>
                  </a:lnTo>
                  <a:lnTo>
                    <a:pt x="593" y="4"/>
                  </a:lnTo>
                  <a:close/>
                  <a:moveTo>
                    <a:pt x="460" y="4"/>
                  </a:moveTo>
                  <a:lnTo>
                    <a:pt x="500" y="4"/>
                  </a:lnTo>
                  <a:lnTo>
                    <a:pt x="500" y="223"/>
                  </a:lnTo>
                  <a:lnTo>
                    <a:pt x="566" y="223"/>
                  </a:lnTo>
                  <a:lnTo>
                    <a:pt x="566" y="260"/>
                  </a:lnTo>
                  <a:lnTo>
                    <a:pt x="460" y="260"/>
                  </a:lnTo>
                  <a:lnTo>
                    <a:pt x="460" y="4"/>
                  </a:lnTo>
                  <a:close/>
                  <a:moveTo>
                    <a:pt x="343" y="4"/>
                  </a:moveTo>
                  <a:lnTo>
                    <a:pt x="343" y="200"/>
                  </a:lnTo>
                  <a:lnTo>
                    <a:pt x="345" y="212"/>
                  </a:lnTo>
                  <a:lnTo>
                    <a:pt x="350" y="220"/>
                  </a:lnTo>
                  <a:lnTo>
                    <a:pt x="356" y="225"/>
                  </a:lnTo>
                  <a:lnTo>
                    <a:pt x="364" y="226"/>
                  </a:lnTo>
                  <a:lnTo>
                    <a:pt x="373" y="225"/>
                  </a:lnTo>
                  <a:lnTo>
                    <a:pt x="380" y="220"/>
                  </a:lnTo>
                  <a:lnTo>
                    <a:pt x="384" y="212"/>
                  </a:lnTo>
                  <a:lnTo>
                    <a:pt x="386" y="200"/>
                  </a:lnTo>
                  <a:lnTo>
                    <a:pt x="386" y="4"/>
                  </a:lnTo>
                  <a:lnTo>
                    <a:pt x="424" y="4"/>
                  </a:lnTo>
                  <a:lnTo>
                    <a:pt x="424" y="198"/>
                  </a:lnTo>
                  <a:lnTo>
                    <a:pt x="423" y="213"/>
                  </a:lnTo>
                  <a:lnTo>
                    <a:pt x="419" y="226"/>
                  </a:lnTo>
                  <a:lnTo>
                    <a:pt x="415" y="236"/>
                  </a:lnTo>
                  <a:lnTo>
                    <a:pt x="408" y="246"/>
                  </a:lnTo>
                  <a:lnTo>
                    <a:pt x="399" y="253"/>
                  </a:lnTo>
                  <a:lnTo>
                    <a:pt x="390" y="259"/>
                  </a:lnTo>
                  <a:lnTo>
                    <a:pt x="377" y="262"/>
                  </a:lnTo>
                  <a:lnTo>
                    <a:pt x="363" y="263"/>
                  </a:lnTo>
                  <a:lnTo>
                    <a:pt x="350" y="262"/>
                  </a:lnTo>
                  <a:lnTo>
                    <a:pt x="338" y="259"/>
                  </a:lnTo>
                  <a:lnTo>
                    <a:pt x="327" y="253"/>
                  </a:lnTo>
                  <a:lnTo>
                    <a:pt x="319" y="246"/>
                  </a:lnTo>
                  <a:lnTo>
                    <a:pt x="313" y="236"/>
                  </a:lnTo>
                  <a:lnTo>
                    <a:pt x="307" y="226"/>
                  </a:lnTo>
                  <a:lnTo>
                    <a:pt x="304" y="213"/>
                  </a:lnTo>
                  <a:lnTo>
                    <a:pt x="304" y="198"/>
                  </a:lnTo>
                  <a:lnTo>
                    <a:pt x="304" y="4"/>
                  </a:lnTo>
                  <a:lnTo>
                    <a:pt x="343" y="4"/>
                  </a:lnTo>
                  <a:close/>
                  <a:moveTo>
                    <a:pt x="189" y="4"/>
                  </a:moveTo>
                  <a:lnTo>
                    <a:pt x="189" y="200"/>
                  </a:lnTo>
                  <a:lnTo>
                    <a:pt x="191" y="212"/>
                  </a:lnTo>
                  <a:lnTo>
                    <a:pt x="195" y="220"/>
                  </a:lnTo>
                  <a:lnTo>
                    <a:pt x="201" y="225"/>
                  </a:lnTo>
                  <a:lnTo>
                    <a:pt x="210" y="226"/>
                  </a:lnTo>
                  <a:lnTo>
                    <a:pt x="218" y="225"/>
                  </a:lnTo>
                  <a:lnTo>
                    <a:pt x="225" y="220"/>
                  </a:lnTo>
                  <a:lnTo>
                    <a:pt x="229" y="212"/>
                  </a:lnTo>
                  <a:lnTo>
                    <a:pt x="231" y="200"/>
                  </a:lnTo>
                  <a:lnTo>
                    <a:pt x="231" y="4"/>
                  </a:lnTo>
                  <a:lnTo>
                    <a:pt x="269" y="4"/>
                  </a:lnTo>
                  <a:lnTo>
                    <a:pt x="269" y="198"/>
                  </a:lnTo>
                  <a:lnTo>
                    <a:pt x="268" y="213"/>
                  </a:lnTo>
                  <a:lnTo>
                    <a:pt x="265" y="226"/>
                  </a:lnTo>
                  <a:lnTo>
                    <a:pt x="261" y="236"/>
                  </a:lnTo>
                  <a:lnTo>
                    <a:pt x="253" y="246"/>
                  </a:lnTo>
                  <a:lnTo>
                    <a:pt x="245" y="253"/>
                  </a:lnTo>
                  <a:lnTo>
                    <a:pt x="235" y="259"/>
                  </a:lnTo>
                  <a:lnTo>
                    <a:pt x="223" y="262"/>
                  </a:lnTo>
                  <a:lnTo>
                    <a:pt x="209" y="263"/>
                  </a:lnTo>
                  <a:lnTo>
                    <a:pt x="195" y="262"/>
                  </a:lnTo>
                  <a:lnTo>
                    <a:pt x="182" y="259"/>
                  </a:lnTo>
                  <a:lnTo>
                    <a:pt x="173" y="253"/>
                  </a:lnTo>
                  <a:lnTo>
                    <a:pt x="164" y="246"/>
                  </a:lnTo>
                  <a:lnTo>
                    <a:pt x="157" y="236"/>
                  </a:lnTo>
                  <a:lnTo>
                    <a:pt x="153" y="226"/>
                  </a:lnTo>
                  <a:lnTo>
                    <a:pt x="150" y="213"/>
                  </a:lnTo>
                  <a:lnTo>
                    <a:pt x="149" y="198"/>
                  </a:lnTo>
                  <a:lnTo>
                    <a:pt x="149" y="4"/>
                  </a:lnTo>
                  <a:lnTo>
                    <a:pt x="189" y="4"/>
                  </a:lnTo>
                  <a:close/>
                  <a:moveTo>
                    <a:pt x="0" y="4"/>
                  </a:moveTo>
                  <a:lnTo>
                    <a:pt x="124" y="4"/>
                  </a:lnTo>
                  <a:lnTo>
                    <a:pt x="124" y="40"/>
                  </a:lnTo>
                  <a:lnTo>
                    <a:pt x="82" y="40"/>
                  </a:lnTo>
                  <a:lnTo>
                    <a:pt x="82" y="260"/>
                  </a:lnTo>
                  <a:lnTo>
                    <a:pt x="42" y="260"/>
                  </a:lnTo>
                  <a:lnTo>
                    <a:pt x="42" y="40"/>
                  </a:lnTo>
                  <a:lnTo>
                    <a:pt x="0" y="4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875651978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8632C1-B54D-45F0-A671-4E4E60F4D548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28"/>
            <p:cNvSpPr>
              <a:spLocks noEditPoints="1"/>
            </p:cNvSpPr>
            <p:nvPr userDrawn="1"/>
          </p:nvSpPr>
          <p:spPr bwMode="auto">
            <a:xfrm>
              <a:off x="9180914" y="6472295"/>
              <a:ext cx="1318115" cy="247029"/>
            </a:xfrm>
            <a:custGeom>
              <a:avLst/>
              <a:gdLst>
                <a:gd name="T0" fmla="*/ 1324 w 1397"/>
                <a:gd name="T1" fmla="*/ 49 h 263"/>
                <a:gd name="T2" fmla="*/ 1356 w 1397"/>
                <a:gd name="T3" fmla="*/ 260 h 263"/>
                <a:gd name="T4" fmla="*/ 1293 w 1397"/>
                <a:gd name="T5" fmla="*/ 260 h 263"/>
                <a:gd name="T6" fmla="*/ 1355 w 1397"/>
                <a:gd name="T7" fmla="*/ 4 h 263"/>
                <a:gd name="T8" fmla="*/ 1172 w 1397"/>
                <a:gd name="T9" fmla="*/ 4 h 263"/>
                <a:gd name="T10" fmla="*/ 1190 w 1397"/>
                <a:gd name="T11" fmla="*/ 260 h 263"/>
                <a:gd name="T12" fmla="*/ 1124 w 1397"/>
                <a:gd name="T13" fmla="*/ 260 h 263"/>
                <a:gd name="T14" fmla="*/ 1059 w 1397"/>
                <a:gd name="T15" fmla="*/ 260 h 263"/>
                <a:gd name="T16" fmla="*/ 1145 w 1397"/>
                <a:gd name="T17" fmla="*/ 186 h 263"/>
                <a:gd name="T18" fmla="*/ 1021 w 1397"/>
                <a:gd name="T19" fmla="*/ 260 h 263"/>
                <a:gd name="T20" fmla="*/ 865 w 1397"/>
                <a:gd name="T21" fmla="*/ 200 h 263"/>
                <a:gd name="T22" fmla="*/ 876 w 1397"/>
                <a:gd name="T23" fmla="*/ 225 h 263"/>
                <a:gd name="T24" fmla="*/ 901 w 1397"/>
                <a:gd name="T25" fmla="*/ 219 h 263"/>
                <a:gd name="T26" fmla="*/ 906 w 1397"/>
                <a:gd name="T27" fmla="*/ 62 h 263"/>
                <a:gd name="T28" fmla="*/ 893 w 1397"/>
                <a:gd name="T29" fmla="*/ 39 h 263"/>
                <a:gd name="T30" fmla="*/ 870 w 1397"/>
                <a:gd name="T31" fmla="*/ 43 h 263"/>
                <a:gd name="T32" fmla="*/ 865 w 1397"/>
                <a:gd name="T33" fmla="*/ 200 h 263"/>
                <a:gd name="T34" fmla="*/ 828 w 1397"/>
                <a:gd name="T35" fmla="*/ 37 h 263"/>
                <a:gd name="T36" fmla="*/ 849 w 1397"/>
                <a:gd name="T37" fmla="*/ 10 h 263"/>
                <a:gd name="T38" fmla="*/ 885 w 1397"/>
                <a:gd name="T39" fmla="*/ 0 h 263"/>
                <a:gd name="T40" fmla="*/ 922 w 1397"/>
                <a:gd name="T41" fmla="*/ 10 h 263"/>
                <a:gd name="T42" fmla="*/ 936 w 1397"/>
                <a:gd name="T43" fmla="*/ 27 h 263"/>
                <a:gd name="T44" fmla="*/ 946 w 1397"/>
                <a:gd name="T45" fmla="*/ 65 h 263"/>
                <a:gd name="T46" fmla="*/ 942 w 1397"/>
                <a:gd name="T47" fmla="*/ 225 h 263"/>
                <a:gd name="T48" fmla="*/ 922 w 1397"/>
                <a:gd name="T49" fmla="*/ 252 h 263"/>
                <a:gd name="T50" fmla="*/ 885 w 1397"/>
                <a:gd name="T51" fmla="*/ 262 h 263"/>
                <a:gd name="T52" fmla="*/ 849 w 1397"/>
                <a:gd name="T53" fmla="*/ 252 h 263"/>
                <a:gd name="T54" fmla="*/ 833 w 1397"/>
                <a:gd name="T55" fmla="*/ 236 h 263"/>
                <a:gd name="T56" fmla="*/ 824 w 1397"/>
                <a:gd name="T57" fmla="*/ 198 h 263"/>
                <a:gd name="T58" fmla="*/ 763 w 1397"/>
                <a:gd name="T59" fmla="*/ 4 h 263"/>
                <a:gd name="T60" fmla="*/ 701 w 1397"/>
                <a:gd name="T61" fmla="*/ 260 h 263"/>
                <a:gd name="T62" fmla="*/ 732 w 1397"/>
                <a:gd name="T63" fmla="*/ 212 h 263"/>
                <a:gd name="T64" fmla="*/ 633 w 1397"/>
                <a:gd name="T65" fmla="*/ 260 h 263"/>
                <a:gd name="T66" fmla="*/ 460 w 1397"/>
                <a:gd name="T67" fmla="*/ 4 h 263"/>
                <a:gd name="T68" fmla="*/ 566 w 1397"/>
                <a:gd name="T69" fmla="*/ 223 h 263"/>
                <a:gd name="T70" fmla="*/ 460 w 1397"/>
                <a:gd name="T71" fmla="*/ 4 h 263"/>
                <a:gd name="T72" fmla="*/ 345 w 1397"/>
                <a:gd name="T73" fmla="*/ 212 h 263"/>
                <a:gd name="T74" fmla="*/ 364 w 1397"/>
                <a:gd name="T75" fmla="*/ 226 h 263"/>
                <a:gd name="T76" fmla="*/ 384 w 1397"/>
                <a:gd name="T77" fmla="*/ 212 h 263"/>
                <a:gd name="T78" fmla="*/ 424 w 1397"/>
                <a:gd name="T79" fmla="*/ 4 h 263"/>
                <a:gd name="T80" fmla="*/ 419 w 1397"/>
                <a:gd name="T81" fmla="*/ 226 h 263"/>
                <a:gd name="T82" fmla="*/ 399 w 1397"/>
                <a:gd name="T83" fmla="*/ 253 h 263"/>
                <a:gd name="T84" fmla="*/ 363 w 1397"/>
                <a:gd name="T85" fmla="*/ 263 h 263"/>
                <a:gd name="T86" fmla="*/ 327 w 1397"/>
                <a:gd name="T87" fmla="*/ 253 h 263"/>
                <a:gd name="T88" fmla="*/ 307 w 1397"/>
                <a:gd name="T89" fmla="*/ 226 h 263"/>
                <a:gd name="T90" fmla="*/ 304 w 1397"/>
                <a:gd name="T91" fmla="*/ 4 h 263"/>
                <a:gd name="T92" fmla="*/ 189 w 1397"/>
                <a:gd name="T93" fmla="*/ 200 h 263"/>
                <a:gd name="T94" fmla="*/ 201 w 1397"/>
                <a:gd name="T95" fmla="*/ 225 h 263"/>
                <a:gd name="T96" fmla="*/ 225 w 1397"/>
                <a:gd name="T97" fmla="*/ 220 h 263"/>
                <a:gd name="T98" fmla="*/ 231 w 1397"/>
                <a:gd name="T99" fmla="*/ 4 h 263"/>
                <a:gd name="T100" fmla="*/ 268 w 1397"/>
                <a:gd name="T101" fmla="*/ 213 h 263"/>
                <a:gd name="T102" fmla="*/ 253 w 1397"/>
                <a:gd name="T103" fmla="*/ 246 h 263"/>
                <a:gd name="T104" fmla="*/ 223 w 1397"/>
                <a:gd name="T105" fmla="*/ 262 h 263"/>
                <a:gd name="T106" fmla="*/ 182 w 1397"/>
                <a:gd name="T107" fmla="*/ 259 h 263"/>
                <a:gd name="T108" fmla="*/ 157 w 1397"/>
                <a:gd name="T109" fmla="*/ 236 h 263"/>
                <a:gd name="T110" fmla="*/ 149 w 1397"/>
                <a:gd name="T111" fmla="*/ 198 h 263"/>
                <a:gd name="T112" fmla="*/ 0 w 1397"/>
                <a:gd name="T113" fmla="*/ 4 h 263"/>
                <a:gd name="T114" fmla="*/ 82 w 1397"/>
                <a:gd name="T115" fmla="*/ 40 h 263"/>
                <a:gd name="T116" fmla="*/ 42 w 1397"/>
                <a:gd name="T117" fmla="*/ 4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7" h="263">
                  <a:moveTo>
                    <a:pt x="1305" y="178"/>
                  </a:moveTo>
                  <a:lnTo>
                    <a:pt x="1344" y="178"/>
                  </a:lnTo>
                  <a:lnTo>
                    <a:pt x="1324" y="49"/>
                  </a:lnTo>
                  <a:lnTo>
                    <a:pt x="1305" y="178"/>
                  </a:lnTo>
                  <a:close/>
                  <a:moveTo>
                    <a:pt x="1397" y="260"/>
                  </a:moveTo>
                  <a:lnTo>
                    <a:pt x="1356" y="260"/>
                  </a:lnTo>
                  <a:lnTo>
                    <a:pt x="1349" y="213"/>
                  </a:lnTo>
                  <a:lnTo>
                    <a:pt x="1299" y="213"/>
                  </a:lnTo>
                  <a:lnTo>
                    <a:pt x="1293" y="260"/>
                  </a:lnTo>
                  <a:lnTo>
                    <a:pt x="1256" y="260"/>
                  </a:lnTo>
                  <a:lnTo>
                    <a:pt x="1297" y="4"/>
                  </a:lnTo>
                  <a:lnTo>
                    <a:pt x="1355" y="4"/>
                  </a:lnTo>
                  <a:lnTo>
                    <a:pt x="1397" y="260"/>
                  </a:lnTo>
                  <a:close/>
                  <a:moveTo>
                    <a:pt x="1145" y="186"/>
                  </a:moveTo>
                  <a:lnTo>
                    <a:pt x="1172" y="4"/>
                  </a:lnTo>
                  <a:lnTo>
                    <a:pt x="1228" y="4"/>
                  </a:lnTo>
                  <a:lnTo>
                    <a:pt x="1228" y="260"/>
                  </a:lnTo>
                  <a:lnTo>
                    <a:pt x="1190" y="260"/>
                  </a:lnTo>
                  <a:lnTo>
                    <a:pt x="1190" y="76"/>
                  </a:lnTo>
                  <a:lnTo>
                    <a:pt x="1162" y="260"/>
                  </a:lnTo>
                  <a:lnTo>
                    <a:pt x="1124" y="260"/>
                  </a:lnTo>
                  <a:lnTo>
                    <a:pt x="1094" y="79"/>
                  </a:lnTo>
                  <a:lnTo>
                    <a:pt x="1094" y="260"/>
                  </a:lnTo>
                  <a:lnTo>
                    <a:pt x="1059" y="260"/>
                  </a:lnTo>
                  <a:lnTo>
                    <a:pt x="1059" y="4"/>
                  </a:lnTo>
                  <a:lnTo>
                    <a:pt x="1115" y="4"/>
                  </a:lnTo>
                  <a:lnTo>
                    <a:pt x="1145" y="186"/>
                  </a:lnTo>
                  <a:close/>
                  <a:moveTo>
                    <a:pt x="981" y="4"/>
                  </a:moveTo>
                  <a:lnTo>
                    <a:pt x="1021" y="4"/>
                  </a:lnTo>
                  <a:lnTo>
                    <a:pt x="1021" y="260"/>
                  </a:lnTo>
                  <a:lnTo>
                    <a:pt x="981" y="260"/>
                  </a:lnTo>
                  <a:lnTo>
                    <a:pt x="981" y="4"/>
                  </a:lnTo>
                  <a:close/>
                  <a:moveTo>
                    <a:pt x="865" y="200"/>
                  </a:moveTo>
                  <a:lnTo>
                    <a:pt x="866" y="212"/>
                  </a:lnTo>
                  <a:lnTo>
                    <a:pt x="870" y="219"/>
                  </a:lnTo>
                  <a:lnTo>
                    <a:pt x="876" y="225"/>
                  </a:lnTo>
                  <a:lnTo>
                    <a:pt x="885" y="226"/>
                  </a:lnTo>
                  <a:lnTo>
                    <a:pt x="893" y="225"/>
                  </a:lnTo>
                  <a:lnTo>
                    <a:pt x="901" y="219"/>
                  </a:lnTo>
                  <a:lnTo>
                    <a:pt x="905" y="212"/>
                  </a:lnTo>
                  <a:lnTo>
                    <a:pt x="906" y="200"/>
                  </a:lnTo>
                  <a:lnTo>
                    <a:pt x="906" y="62"/>
                  </a:lnTo>
                  <a:lnTo>
                    <a:pt x="905" y="50"/>
                  </a:lnTo>
                  <a:lnTo>
                    <a:pt x="901" y="43"/>
                  </a:lnTo>
                  <a:lnTo>
                    <a:pt x="893" y="39"/>
                  </a:lnTo>
                  <a:lnTo>
                    <a:pt x="885" y="37"/>
                  </a:lnTo>
                  <a:lnTo>
                    <a:pt x="876" y="39"/>
                  </a:lnTo>
                  <a:lnTo>
                    <a:pt x="870" y="43"/>
                  </a:lnTo>
                  <a:lnTo>
                    <a:pt x="866" y="50"/>
                  </a:lnTo>
                  <a:lnTo>
                    <a:pt x="865" y="62"/>
                  </a:lnTo>
                  <a:lnTo>
                    <a:pt x="865" y="200"/>
                  </a:lnTo>
                  <a:close/>
                  <a:moveTo>
                    <a:pt x="824" y="65"/>
                  </a:moveTo>
                  <a:lnTo>
                    <a:pt x="824" y="50"/>
                  </a:lnTo>
                  <a:lnTo>
                    <a:pt x="828" y="37"/>
                  </a:lnTo>
                  <a:lnTo>
                    <a:pt x="833" y="27"/>
                  </a:lnTo>
                  <a:lnTo>
                    <a:pt x="839" y="17"/>
                  </a:lnTo>
                  <a:lnTo>
                    <a:pt x="849" y="10"/>
                  </a:lnTo>
                  <a:lnTo>
                    <a:pt x="858" y="5"/>
                  </a:lnTo>
                  <a:lnTo>
                    <a:pt x="871" y="2"/>
                  </a:lnTo>
                  <a:lnTo>
                    <a:pt x="885" y="0"/>
                  </a:lnTo>
                  <a:lnTo>
                    <a:pt x="898" y="2"/>
                  </a:lnTo>
                  <a:lnTo>
                    <a:pt x="911" y="5"/>
                  </a:lnTo>
                  <a:lnTo>
                    <a:pt x="922" y="10"/>
                  </a:lnTo>
                  <a:lnTo>
                    <a:pt x="930" y="17"/>
                  </a:lnTo>
                  <a:lnTo>
                    <a:pt x="933" y="22"/>
                  </a:lnTo>
                  <a:lnTo>
                    <a:pt x="936" y="27"/>
                  </a:lnTo>
                  <a:lnTo>
                    <a:pt x="942" y="37"/>
                  </a:lnTo>
                  <a:lnTo>
                    <a:pt x="945" y="50"/>
                  </a:lnTo>
                  <a:lnTo>
                    <a:pt x="946" y="65"/>
                  </a:lnTo>
                  <a:lnTo>
                    <a:pt x="946" y="198"/>
                  </a:lnTo>
                  <a:lnTo>
                    <a:pt x="945" y="212"/>
                  </a:lnTo>
                  <a:lnTo>
                    <a:pt x="942" y="225"/>
                  </a:lnTo>
                  <a:lnTo>
                    <a:pt x="936" y="236"/>
                  </a:lnTo>
                  <a:lnTo>
                    <a:pt x="930" y="246"/>
                  </a:lnTo>
                  <a:lnTo>
                    <a:pt x="922" y="252"/>
                  </a:lnTo>
                  <a:lnTo>
                    <a:pt x="911" y="257"/>
                  </a:lnTo>
                  <a:lnTo>
                    <a:pt x="898" y="261"/>
                  </a:lnTo>
                  <a:lnTo>
                    <a:pt x="885" y="262"/>
                  </a:lnTo>
                  <a:lnTo>
                    <a:pt x="871" y="261"/>
                  </a:lnTo>
                  <a:lnTo>
                    <a:pt x="858" y="257"/>
                  </a:lnTo>
                  <a:lnTo>
                    <a:pt x="849" y="252"/>
                  </a:lnTo>
                  <a:lnTo>
                    <a:pt x="839" y="246"/>
                  </a:lnTo>
                  <a:lnTo>
                    <a:pt x="836" y="241"/>
                  </a:lnTo>
                  <a:lnTo>
                    <a:pt x="833" y="236"/>
                  </a:lnTo>
                  <a:lnTo>
                    <a:pt x="828" y="225"/>
                  </a:lnTo>
                  <a:lnTo>
                    <a:pt x="824" y="212"/>
                  </a:lnTo>
                  <a:lnTo>
                    <a:pt x="824" y="198"/>
                  </a:lnTo>
                  <a:lnTo>
                    <a:pt x="824" y="65"/>
                  </a:lnTo>
                  <a:close/>
                  <a:moveTo>
                    <a:pt x="732" y="212"/>
                  </a:moveTo>
                  <a:lnTo>
                    <a:pt x="763" y="4"/>
                  </a:lnTo>
                  <a:lnTo>
                    <a:pt x="800" y="4"/>
                  </a:lnTo>
                  <a:lnTo>
                    <a:pt x="760" y="260"/>
                  </a:lnTo>
                  <a:lnTo>
                    <a:pt x="701" y="260"/>
                  </a:lnTo>
                  <a:lnTo>
                    <a:pt x="660" y="4"/>
                  </a:lnTo>
                  <a:lnTo>
                    <a:pt x="702" y="4"/>
                  </a:lnTo>
                  <a:lnTo>
                    <a:pt x="732" y="212"/>
                  </a:lnTo>
                  <a:close/>
                  <a:moveTo>
                    <a:pt x="593" y="4"/>
                  </a:moveTo>
                  <a:lnTo>
                    <a:pt x="633" y="4"/>
                  </a:lnTo>
                  <a:lnTo>
                    <a:pt x="633" y="260"/>
                  </a:lnTo>
                  <a:lnTo>
                    <a:pt x="593" y="260"/>
                  </a:lnTo>
                  <a:lnTo>
                    <a:pt x="593" y="4"/>
                  </a:lnTo>
                  <a:close/>
                  <a:moveTo>
                    <a:pt x="460" y="4"/>
                  </a:moveTo>
                  <a:lnTo>
                    <a:pt x="500" y="4"/>
                  </a:lnTo>
                  <a:lnTo>
                    <a:pt x="500" y="223"/>
                  </a:lnTo>
                  <a:lnTo>
                    <a:pt x="566" y="223"/>
                  </a:lnTo>
                  <a:lnTo>
                    <a:pt x="566" y="260"/>
                  </a:lnTo>
                  <a:lnTo>
                    <a:pt x="460" y="260"/>
                  </a:lnTo>
                  <a:lnTo>
                    <a:pt x="460" y="4"/>
                  </a:lnTo>
                  <a:close/>
                  <a:moveTo>
                    <a:pt x="343" y="4"/>
                  </a:moveTo>
                  <a:lnTo>
                    <a:pt x="343" y="200"/>
                  </a:lnTo>
                  <a:lnTo>
                    <a:pt x="345" y="212"/>
                  </a:lnTo>
                  <a:lnTo>
                    <a:pt x="350" y="220"/>
                  </a:lnTo>
                  <a:lnTo>
                    <a:pt x="356" y="225"/>
                  </a:lnTo>
                  <a:lnTo>
                    <a:pt x="364" y="226"/>
                  </a:lnTo>
                  <a:lnTo>
                    <a:pt x="373" y="225"/>
                  </a:lnTo>
                  <a:lnTo>
                    <a:pt x="380" y="220"/>
                  </a:lnTo>
                  <a:lnTo>
                    <a:pt x="384" y="212"/>
                  </a:lnTo>
                  <a:lnTo>
                    <a:pt x="386" y="200"/>
                  </a:lnTo>
                  <a:lnTo>
                    <a:pt x="386" y="4"/>
                  </a:lnTo>
                  <a:lnTo>
                    <a:pt x="424" y="4"/>
                  </a:lnTo>
                  <a:lnTo>
                    <a:pt x="424" y="198"/>
                  </a:lnTo>
                  <a:lnTo>
                    <a:pt x="423" y="213"/>
                  </a:lnTo>
                  <a:lnTo>
                    <a:pt x="419" y="226"/>
                  </a:lnTo>
                  <a:lnTo>
                    <a:pt x="415" y="236"/>
                  </a:lnTo>
                  <a:lnTo>
                    <a:pt x="408" y="246"/>
                  </a:lnTo>
                  <a:lnTo>
                    <a:pt x="399" y="253"/>
                  </a:lnTo>
                  <a:lnTo>
                    <a:pt x="390" y="259"/>
                  </a:lnTo>
                  <a:lnTo>
                    <a:pt x="377" y="262"/>
                  </a:lnTo>
                  <a:lnTo>
                    <a:pt x="363" y="263"/>
                  </a:lnTo>
                  <a:lnTo>
                    <a:pt x="350" y="262"/>
                  </a:lnTo>
                  <a:lnTo>
                    <a:pt x="338" y="259"/>
                  </a:lnTo>
                  <a:lnTo>
                    <a:pt x="327" y="253"/>
                  </a:lnTo>
                  <a:lnTo>
                    <a:pt x="319" y="246"/>
                  </a:lnTo>
                  <a:lnTo>
                    <a:pt x="313" y="236"/>
                  </a:lnTo>
                  <a:lnTo>
                    <a:pt x="307" y="226"/>
                  </a:lnTo>
                  <a:lnTo>
                    <a:pt x="304" y="213"/>
                  </a:lnTo>
                  <a:lnTo>
                    <a:pt x="304" y="198"/>
                  </a:lnTo>
                  <a:lnTo>
                    <a:pt x="304" y="4"/>
                  </a:lnTo>
                  <a:lnTo>
                    <a:pt x="343" y="4"/>
                  </a:lnTo>
                  <a:close/>
                  <a:moveTo>
                    <a:pt x="189" y="4"/>
                  </a:moveTo>
                  <a:lnTo>
                    <a:pt x="189" y="200"/>
                  </a:lnTo>
                  <a:lnTo>
                    <a:pt x="191" y="212"/>
                  </a:lnTo>
                  <a:lnTo>
                    <a:pt x="195" y="220"/>
                  </a:lnTo>
                  <a:lnTo>
                    <a:pt x="201" y="225"/>
                  </a:lnTo>
                  <a:lnTo>
                    <a:pt x="210" y="226"/>
                  </a:lnTo>
                  <a:lnTo>
                    <a:pt x="218" y="225"/>
                  </a:lnTo>
                  <a:lnTo>
                    <a:pt x="225" y="220"/>
                  </a:lnTo>
                  <a:lnTo>
                    <a:pt x="229" y="212"/>
                  </a:lnTo>
                  <a:lnTo>
                    <a:pt x="231" y="200"/>
                  </a:lnTo>
                  <a:lnTo>
                    <a:pt x="231" y="4"/>
                  </a:lnTo>
                  <a:lnTo>
                    <a:pt x="269" y="4"/>
                  </a:lnTo>
                  <a:lnTo>
                    <a:pt x="269" y="198"/>
                  </a:lnTo>
                  <a:lnTo>
                    <a:pt x="268" y="213"/>
                  </a:lnTo>
                  <a:lnTo>
                    <a:pt x="265" y="226"/>
                  </a:lnTo>
                  <a:lnTo>
                    <a:pt x="261" y="236"/>
                  </a:lnTo>
                  <a:lnTo>
                    <a:pt x="253" y="246"/>
                  </a:lnTo>
                  <a:lnTo>
                    <a:pt x="245" y="253"/>
                  </a:lnTo>
                  <a:lnTo>
                    <a:pt x="235" y="259"/>
                  </a:lnTo>
                  <a:lnTo>
                    <a:pt x="223" y="262"/>
                  </a:lnTo>
                  <a:lnTo>
                    <a:pt x="209" y="263"/>
                  </a:lnTo>
                  <a:lnTo>
                    <a:pt x="195" y="262"/>
                  </a:lnTo>
                  <a:lnTo>
                    <a:pt x="182" y="259"/>
                  </a:lnTo>
                  <a:lnTo>
                    <a:pt x="173" y="253"/>
                  </a:lnTo>
                  <a:lnTo>
                    <a:pt x="164" y="246"/>
                  </a:lnTo>
                  <a:lnTo>
                    <a:pt x="157" y="236"/>
                  </a:lnTo>
                  <a:lnTo>
                    <a:pt x="153" y="226"/>
                  </a:lnTo>
                  <a:lnTo>
                    <a:pt x="150" y="213"/>
                  </a:lnTo>
                  <a:lnTo>
                    <a:pt x="149" y="198"/>
                  </a:lnTo>
                  <a:lnTo>
                    <a:pt x="149" y="4"/>
                  </a:lnTo>
                  <a:lnTo>
                    <a:pt x="189" y="4"/>
                  </a:lnTo>
                  <a:close/>
                  <a:moveTo>
                    <a:pt x="0" y="4"/>
                  </a:moveTo>
                  <a:lnTo>
                    <a:pt x="124" y="4"/>
                  </a:lnTo>
                  <a:lnTo>
                    <a:pt x="124" y="40"/>
                  </a:lnTo>
                  <a:lnTo>
                    <a:pt x="82" y="40"/>
                  </a:lnTo>
                  <a:lnTo>
                    <a:pt x="82" y="260"/>
                  </a:lnTo>
                  <a:lnTo>
                    <a:pt x="42" y="260"/>
                  </a:lnTo>
                  <a:lnTo>
                    <a:pt x="42" y="40"/>
                  </a:lnTo>
                  <a:lnTo>
                    <a:pt x="0" y="4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31074907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73170E67-4A10-4997-ABDE-A99BA92C69CA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77987381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4D8E8D-C1AD-4784-AC80-2836A146EBCF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1713418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FDD19C-0630-473E-AEEC-4085171583FB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37183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26093-F53D-48C1-BC97-32A9EF784E31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7115119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559BC-1534-4544-B5E3-92838011E704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8790803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3189FE-53B4-4857-9A26-EE007EF3878E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76451967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6EFDC-BCEE-466C-984B-93D680A964BC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6769599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07FD6245-2E7B-49E0-A34B-1B2BB9E9D910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28"/>
            <p:cNvSpPr>
              <a:spLocks noEditPoints="1"/>
            </p:cNvSpPr>
            <p:nvPr userDrawn="1"/>
          </p:nvSpPr>
          <p:spPr bwMode="auto">
            <a:xfrm>
              <a:off x="9180914" y="6472295"/>
              <a:ext cx="1318115" cy="247029"/>
            </a:xfrm>
            <a:custGeom>
              <a:avLst/>
              <a:gdLst>
                <a:gd name="T0" fmla="*/ 1324 w 1397"/>
                <a:gd name="T1" fmla="*/ 49 h 263"/>
                <a:gd name="T2" fmla="*/ 1356 w 1397"/>
                <a:gd name="T3" fmla="*/ 260 h 263"/>
                <a:gd name="T4" fmla="*/ 1293 w 1397"/>
                <a:gd name="T5" fmla="*/ 260 h 263"/>
                <a:gd name="T6" fmla="*/ 1355 w 1397"/>
                <a:gd name="T7" fmla="*/ 4 h 263"/>
                <a:gd name="T8" fmla="*/ 1172 w 1397"/>
                <a:gd name="T9" fmla="*/ 4 h 263"/>
                <a:gd name="T10" fmla="*/ 1190 w 1397"/>
                <a:gd name="T11" fmla="*/ 260 h 263"/>
                <a:gd name="T12" fmla="*/ 1124 w 1397"/>
                <a:gd name="T13" fmla="*/ 260 h 263"/>
                <a:gd name="T14" fmla="*/ 1059 w 1397"/>
                <a:gd name="T15" fmla="*/ 260 h 263"/>
                <a:gd name="T16" fmla="*/ 1145 w 1397"/>
                <a:gd name="T17" fmla="*/ 186 h 263"/>
                <a:gd name="T18" fmla="*/ 1021 w 1397"/>
                <a:gd name="T19" fmla="*/ 260 h 263"/>
                <a:gd name="T20" fmla="*/ 865 w 1397"/>
                <a:gd name="T21" fmla="*/ 200 h 263"/>
                <a:gd name="T22" fmla="*/ 876 w 1397"/>
                <a:gd name="T23" fmla="*/ 225 h 263"/>
                <a:gd name="T24" fmla="*/ 901 w 1397"/>
                <a:gd name="T25" fmla="*/ 219 h 263"/>
                <a:gd name="T26" fmla="*/ 906 w 1397"/>
                <a:gd name="T27" fmla="*/ 62 h 263"/>
                <a:gd name="T28" fmla="*/ 893 w 1397"/>
                <a:gd name="T29" fmla="*/ 39 h 263"/>
                <a:gd name="T30" fmla="*/ 870 w 1397"/>
                <a:gd name="T31" fmla="*/ 43 h 263"/>
                <a:gd name="T32" fmla="*/ 865 w 1397"/>
                <a:gd name="T33" fmla="*/ 200 h 263"/>
                <a:gd name="T34" fmla="*/ 828 w 1397"/>
                <a:gd name="T35" fmla="*/ 37 h 263"/>
                <a:gd name="T36" fmla="*/ 849 w 1397"/>
                <a:gd name="T37" fmla="*/ 10 h 263"/>
                <a:gd name="T38" fmla="*/ 885 w 1397"/>
                <a:gd name="T39" fmla="*/ 0 h 263"/>
                <a:gd name="T40" fmla="*/ 922 w 1397"/>
                <a:gd name="T41" fmla="*/ 10 h 263"/>
                <a:gd name="T42" fmla="*/ 936 w 1397"/>
                <a:gd name="T43" fmla="*/ 27 h 263"/>
                <a:gd name="T44" fmla="*/ 946 w 1397"/>
                <a:gd name="T45" fmla="*/ 65 h 263"/>
                <a:gd name="T46" fmla="*/ 942 w 1397"/>
                <a:gd name="T47" fmla="*/ 225 h 263"/>
                <a:gd name="T48" fmla="*/ 922 w 1397"/>
                <a:gd name="T49" fmla="*/ 252 h 263"/>
                <a:gd name="T50" fmla="*/ 885 w 1397"/>
                <a:gd name="T51" fmla="*/ 262 h 263"/>
                <a:gd name="T52" fmla="*/ 849 w 1397"/>
                <a:gd name="T53" fmla="*/ 252 h 263"/>
                <a:gd name="T54" fmla="*/ 833 w 1397"/>
                <a:gd name="T55" fmla="*/ 236 h 263"/>
                <a:gd name="T56" fmla="*/ 824 w 1397"/>
                <a:gd name="T57" fmla="*/ 198 h 263"/>
                <a:gd name="T58" fmla="*/ 763 w 1397"/>
                <a:gd name="T59" fmla="*/ 4 h 263"/>
                <a:gd name="T60" fmla="*/ 701 w 1397"/>
                <a:gd name="T61" fmla="*/ 260 h 263"/>
                <a:gd name="T62" fmla="*/ 732 w 1397"/>
                <a:gd name="T63" fmla="*/ 212 h 263"/>
                <a:gd name="T64" fmla="*/ 633 w 1397"/>
                <a:gd name="T65" fmla="*/ 260 h 263"/>
                <a:gd name="T66" fmla="*/ 460 w 1397"/>
                <a:gd name="T67" fmla="*/ 4 h 263"/>
                <a:gd name="T68" fmla="*/ 566 w 1397"/>
                <a:gd name="T69" fmla="*/ 223 h 263"/>
                <a:gd name="T70" fmla="*/ 460 w 1397"/>
                <a:gd name="T71" fmla="*/ 4 h 263"/>
                <a:gd name="T72" fmla="*/ 345 w 1397"/>
                <a:gd name="T73" fmla="*/ 212 h 263"/>
                <a:gd name="T74" fmla="*/ 364 w 1397"/>
                <a:gd name="T75" fmla="*/ 226 h 263"/>
                <a:gd name="T76" fmla="*/ 384 w 1397"/>
                <a:gd name="T77" fmla="*/ 212 h 263"/>
                <a:gd name="T78" fmla="*/ 424 w 1397"/>
                <a:gd name="T79" fmla="*/ 4 h 263"/>
                <a:gd name="T80" fmla="*/ 419 w 1397"/>
                <a:gd name="T81" fmla="*/ 226 h 263"/>
                <a:gd name="T82" fmla="*/ 399 w 1397"/>
                <a:gd name="T83" fmla="*/ 253 h 263"/>
                <a:gd name="T84" fmla="*/ 363 w 1397"/>
                <a:gd name="T85" fmla="*/ 263 h 263"/>
                <a:gd name="T86" fmla="*/ 327 w 1397"/>
                <a:gd name="T87" fmla="*/ 253 h 263"/>
                <a:gd name="T88" fmla="*/ 307 w 1397"/>
                <a:gd name="T89" fmla="*/ 226 h 263"/>
                <a:gd name="T90" fmla="*/ 304 w 1397"/>
                <a:gd name="T91" fmla="*/ 4 h 263"/>
                <a:gd name="T92" fmla="*/ 189 w 1397"/>
                <a:gd name="T93" fmla="*/ 200 h 263"/>
                <a:gd name="T94" fmla="*/ 201 w 1397"/>
                <a:gd name="T95" fmla="*/ 225 h 263"/>
                <a:gd name="T96" fmla="*/ 225 w 1397"/>
                <a:gd name="T97" fmla="*/ 220 h 263"/>
                <a:gd name="T98" fmla="*/ 231 w 1397"/>
                <a:gd name="T99" fmla="*/ 4 h 263"/>
                <a:gd name="T100" fmla="*/ 268 w 1397"/>
                <a:gd name="T101" fmla="*/ 213 h 263"/>
                <a:gd name="T102" fmla="*/ 253 w 1397"/>
                <a:gd name="T103" fmla="*/ 246 h 263"/>
                <a:gd name="T104" fmla="*/ 223 w 1397"/>
                <a:gd name="T105" fmla="*/ 262 h 263"/>
                <a:gd name="T106" fmla="*/ 182 w 1397"/>
                <a:gd name="T107" fmla="*/ 259 h 263"/>
                <a:gd name="T108" fmla="*/ 157 w 1397"/>
                <a:gd name="T109" fmla="*/ 236 h 263"/>
                <a:gd name="T110" fmla="*/ 149 w 1397"/>
                <a:gd name="T111" fmla="*/ 198 h 263"/>
                <a:gd name="T112" fmla="*/ 0 w 1397"/>
                <a:gd name="T113" fmla="*/ 4 h 263"/>
                <a:gd name="T114" fmla="*/ 82 w 1397"/>
                <a:gd name="T115" fmla="*/ 40 h 263"/>
                <a:gd name="T116" fmla="*/ 42 w 1397"/>
                <a:gd name="T117" fmla="*/ 4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7" h="263">
                  <a:moveTo>
                    <a:pt x="1305" y="178"/>
                  </a:moveTo>
                  <a:lnTo>
                    <a:pt x="1344" y="178"/>
                  </a:lnTo>
                  <a:lnTo>
                    <a:pt x="1324" y="49"/>
                  </a:lnTo>
                  <a:lnTo>
                    <a:pt x="1305" y="178"/>
                  </a:lnTo>
                  <a:close/>
                  <a:moveTo>
                    <a:pt x="1397" y="260"/>
                  </a:moveTo>
                  <a:lnTo>
                    <a:pt x="1356" y="260"/>
                  </a:lnTo>
                  <a:lnTo>
                    <a:pt x="1349" y="213"/>
                  </a:lnTo>
                  <a:lnTo>
                    <a:pt x="1299" y="213"/>
                  </a:lnTo>
                  <a:lnTo>
                    <a:pt x="1293" y="260"/>
                  </a:lnTo>
                  <a:lnTo>
                    <a:pt x="1256" y="260"/>
                  </a:lnTo>
                  <a:lnTo>
                    <a:pt x="1297" y="4"/>
                  </a:lnTo>
                  <a:lnTo>
                    <a:pt x="1355" y="4"/>
                  </a:lnTo>
                  <a:lnTo>
                    <a:pt x="1397" y="260"/>
                  </a:lnTo>
                  <a:close/>
                  <a:moveTo>
                    <a:pt x="1145" y="186"/>
                  </a:moveTo>
                  <a:lnTo>
                    <a:pt x="1172" y="4"/>
                  </a:lnTo>
                  <a:lnTo>
                    <a:pt x="1228" y="4"/>
                  </a:lnTo>
                  <a:lnTo>
                    <a:pt x="1228" y="260"/>
                  </a:lnTo>
                  <a:lnTo>
                    <a:pt x="1190" y="260"/>
                  </a:lnTo>
                  <a:lnTo>
                    <a:pt x="1190" y="76"/>
                  </a:lnTo>
                  <a:lnTo>
                    <a:pt x="1162" y="260"/>
                  </a:lnTo>
                  <a:lnTo>
                    <a:pt x="1124" y="260"/>
                  </a:lnTo>
                  <a:lnTo>
                    <a:pt x="1094" y="79"/>
                  </a:lnTo>
                  <a:lnTo>
                    <a:pt x="1094" y="260"/>
                  </a:lnTo>
                  <a:lnTo>
                    <a:pt x="1059" y="260"/>
                  </a:lnTo>
                  <a:lnTo>
                    <a:pt x="1059" y="4"/>
                  </a:lnTo>
                  <a:lnTo>
                    <a:pt x="1115" y="4"/>
                  </a:lnTo>
                  <a:lnTo>
                    <a:pt x="1145" y="186"/>
                  </a:lnTo>
                  <a:close/>
                  <a:moveTo>
                    <a:pt x="981" y="4"/>
                  </a:moveTo>
                  <a:lnTo>
                    <a:pt x="1021" y="4"/>
                  </a:lnTo>
                  <a:lnTo>
                    <a:pt x="1021" y="260"/>
                  </a:lnTo>
                  <a:lnTo>
                    <a:pt x="981" y="260"/>
                  </a:lnTo>
                  <a:lnTo>
                    <a:pt x="981" y="4"/>
                  </a:lnTo>
                  <a:close/>
                  <a:moveTo>
                    <a:pt x="865" y="200"/>
                  </a:moveTo>
                  <a:lnTo>
                    <a:pt x="866" y="212"/>
                  </a:lnTo>
                  <a:lnTo>
                    <a:pt x="870" y="219"/>
                  </a:lnTo>
                  <a:lnTo>
                    <a:pt x="876" y="225"/>
                  </a:lnTo>
                  <a:lnTo>
                    <a:pt x="885" y="226"/>
                  </a:lnTo>
                  <a:lnTo>
                    <a:pt x="893" y="225"/>
                  </a:lnTo>
                  <a:lnTo>
                    <a:pt x="901" y="219"/>
                  </a:lnTo>
                  <a:lnTo>
                    <a:pt x="905" y="212"/>
                  </a:lnTo>
                  <a:lnTo>
                    <a:pt x="906" y="200"/>
                  </a:lnTo>
                  <a:lnTo>
                    <a:pt x="906" y="62"/>
                  </a:lnTo>
                  <a:lnTo>
                    <a:pt x="905" y="50"/>
                  </a:lnTo>
                  <a:lnTo>
                    <a:pt x="901" y="43"/>
                  </a:lnTo>
                  <a:lnTo>
                    <a:pt x="893" y="39"/>
                  </a:lnTo>
                  <a:lnTo>
                    <a:pt x="885" y="37"/>
                  </a:lnTo>
                  <a:lnTo>
                    <a:pt x="876" y="39"/>
                  </a:lnTo>
                  <a:lnTo>
                    <a:pt x="870" y="43"/>
                  </a:lnTo>
                  <a:lnTo>
                    <a:pt x="866" y="50"/>
                  </a:lnTo>
                  <a:lnTo>
                    <a:pt x="865" y="62"/>
                  </a:lnTo>
                  <a:lnTo>
                    <a:pt x="865" y="200"/>
                  </a:lnTo>
                  <a:close/>
                  <a:moveTo>
                    <a:pt x="824" y="65"/>
                  </a:moveTo>
                  <a:lnTo>
                    <a:pt x="824" y="50"/>
                  </a:lnTo>
                  <a:lnTo>
                    <a:pt x="828" y="37"/>
                  </a:lnTo>
                  <a:lnTo>
                    <a:pt x="833" y="27"/>
                  </a:lnTo>
                  <a:lnTo>
                    <a:pt x="839" y="17"/>
                  </a:lnTo>
                  <a:lnTo>
                    <a:pt x="849" y="10"/>
                  </a:lnTo>
                  <a:lnTo>
                    <a:pt x="858" y="5"/>
                  </a:lnTo>
                  <a:lnTo>
                    <a:pt x="871" y="2"/>
                  </a:lnTo>
                  <a:lnTo>
                    <a:pt x="885" y="0"/>
                  </a:lnTo>
                  <a:lnTo>
                    <a:pt x="898" y="2"/>
                  </a:lnTo>
                  <a:lnTo>
                    <a:pt x="911" y="5"/>
                  </a:lnTo>
                  <a:lnTo>
                    <a:pt x="922" y="10"/>
                  </a:lnTo>
                  <a:lnTo>
                    <a:pt x="930" y="17"/>
                  </a:lnTo>
                  <a:lnTo>
                    <a:pt x="933" y="22"/>
                  </a:lnTo>
                  <a:lnTo>
                    <a:pt x="936" y="27"/>
                  </a:lnTo>
                  <a:lnTo>
                    <a:pt x="942" y="37"/>
                  </a:lnTo>
                  <a:lnTo>
                    <a:pt x="945" y="50"/>
                  </a:lnTo>
                  <a:lnTo>
                    <a:pt x="946" y="65"/>
                  </a:lnTo>
                  <a:lnTo>
                    <a:pt x="946" y="198"/>
                  </a:lnTo>
                  <a:lnTo>
                    <a:pt x="945" y="212"/>
                  </a:lnTo>
                  <a:lnTo>
                    <a:pt x="942" y="225"/>
                  </a:lnTo>
                  <a:lnTo>
                    <a:pt x="936" y="236"/>
                  </a:lnTo>
                  <a:lnTo>
                    <a:pt x="930" y="246"/>
                  </a:lnTo>
                  <a:lnTo>
                    <a:pt x="922" y="252"/>
                  </a:lnTo>
                  <a:lnTo>
                    <a:pt x="911" y="257"/>
                  </a:lnTo>
                  <a:lnTo>
                    <a:pt x="898" y="261"/>
                  </a:lnTo>
                  <a:lnTo>
                    <a:pt x="885" y="262"/>
                  </a:lnTo>
                  <a:lnTo>
                    <a:pt x="871" y="261"/>
                  </a:lnTo>
                  <a:lnTo>
                    <a:pt x="858" y="257"/>
                  </a:lnTo>
                  <a:lnTo>
                    <a:pt x="849" y="252"/>
                  </a:lnTo>
                  <a:lnTo>
                    <a:pt x="839" y="246"/>
                  </a:lnTo>
                  <a:lnTo>
                    <a:pt x="836" y="241"/>
                  </a:lnTo>
                  <a:lnTo>
                    <a:pt x="833" y="236"/>
                  </a:lnTo>
                  <a:lnTo>
                    <a:pt x="828" y="225"/>
                  </a:lnTo>
                  <a:lnTo>
                    <a:pt x="824" y="212"/>
                  </a:lnTo>
                  <a:lnTo>
                    <a:pt x="824" y="198"/>
                  </a:lnTo>
                  <a:lnTo>
                    <a:pt x="824" y="65"/>
                  </a:lnTo>
                  <a:close/>
                  <a:moveTo>
                    <a:pt x="732" y="212"/>
                  </a:moveTo>
                  <a:lnTo>
                    <a:pt x="763" y="4"/>
                  </a:lnTo>
                  <a:lnTo>
                    <a:pt x="800" y="4"/>
                  </a:lnTo>
                  <a:lnTo>
                    <a:pt x="760" y="260"/>
                  </a:lnTo>
                  <a:lnTo>
                    <a:pt x="701" y="260"/>
                  </a:lnTo>
                  <a:lnTo>
                    <a:pt x="660" y="4"/>
                  </a:lnTo>
                  <a:lnTo>
                    <a:pt x="702" y="4"/>
                  </a:lnTo>
                  <a:lnTo>
                    <a:pt x="732" y="212"/>
                  </a:lnTo>
                  <a:close/>
                  <a:moveTo>
                    <a:pt x="593" y="4"/>
                  </a:moveTo>
                  <a:lnTo>
                    <a:pt x="633" y="4"/>
                  </a:lnTo>
                  <a:lnTo>
                    <a:pt x="633" y="260"/>
                  </a:lnTo>
                  <a:lnTo>
                    <a:pt x="593" y="260"/>
                  </a:lnTo>
                  <a:lnTo>
                    <a:pt x="593" y="4"/>
                  </a:lnTo>
                  <a:close/>
                  <a:moveTo>
                    <a:pt x="460" y="4"/>
                  </a:moveTo>
                  <a:lnTo>
                    <a:pt x="500" y="4"/>
                  </a:lnTo>
                  <a:lnTo>
                    <a:pt x="500" y="223"/>
                  </a:lnTo>
                  <a:lnTo>
                    <a:pt x="566" y="223"/>
                  </a:lnTo>
                  <a:lnTo>
                    <a:pt x="566" y="260"/>
                  </a:lnTo>
                  <a:lnTo>
                    <a:pt x="460" y="260"/>
                  </a:lnTo>
                  <a:lnTo>
                    <a:pt x="460" y="4"/>
                  </a:lnTo>
                  <a:close/>
                  <a:moveTo>
                    <a:pt x="343" y="4"/>
                  </a:moveTo>
                  <a:lnTo>
                    <a:pt x="343" y="200"/>
                  </a:lnTo>
                  <a:lnTo>
                    <a:pt x="345" y="212"/>
                  </a:lnTo>
                  <a:lnTo>
                    <a:pt x="350" y="220"/>
                  </a:lnTo>
                  <a:lnTo>
                    <a:pt x="356" y="225"/>
                  </a:lnTo>
                  <a:lnTo>
                    <a:pt x="364" y="226"/>
                  </a:lnTo>
                  <a:lnTo>
                    <a:pt x="373" y="225"/>
                  </a:lnTo>
                  <a:lnTo>
                    <a:pt x="380" y="220"/>
                  </a:lnTo>
                  <a:lnTo>
                    <a:pt x="384" y="212"/>
                  </a:lnTo>
                  <a:lnTo>
                    <a:pt x="386" y="200"/>
                  </a:lnTo>
                  <a:lnTo>
                    <a:pt x="386" y="4"/>
                  </a:lnTo>
                  <a:lnTo>
                    <a:pt x="424" y="4"/>
                  </a:lnTo>
                  <a:lnTo>
                    <a:pt x="424" y="198"/>
                  </a:lnTo>
                  <a:lnTo>
                    <a:pt x="423" y="213"/>
                  </a:lnTo>
                  <a:lnTo>
                    <a:pt x="419" y="226"/>
                  </a:lnTo>
                  <a:lnTo>
                    <a:pt x="415" y="236"/>
                  </a:lnTo>
                  <a:lnTo>
                    <a:pt x="408" y="246"/>
                  </a:lnTo>
                  <a:lnTo>
                    <a:pt x="399" y="253"/>
                  </a:lnTo>
                  <a:lnTo>
                    <a:pt x="390" y="259"/>
                  </a:lnTo>
                  <a:lnTo>
                    <a:pt x="377" y="262"/>
                  </a:lnTo>
                  <a:lnTo>
                    <a:pt x="363" y="263"/>
                  </a:lnTo>
                  <a:lnTo>
                    <a:pt x="350" y="262"/>
                  </a:lnTo>
                  <a:lnTo>
                    <a:pt x="338" y="259"/>
                  </a:lnTo>
                  <a:lnTo>
                    <a:pt x="327" y="253"/>
                  </a:lnTo>
                  <a:lnTo>
                    <a:pt x="319" y="246"/>
                  </a:lnTo>
                  <a:lnTo>
                    <a:pt x="313" y="236"/>
                  </a:lnTo>
                  <a:lnTo>
                    <a:pt x="307" y="226"/>
                  </a:lnTo>
                  <a:lnTo>
                    <a:pt x="304" y="213"/>
                  </a:lnTo>
                  <a:lnTo>
                    <a:pt x="304" y="198"/>
                  </a:lnTo>
                  <a:lnTo>
                    <a:pt x="304" y="4"/>
                  </a:lnTo>
                  <a:lnTo>
                    <a:pt x="343" y="4"/>
                  </a:lnTo>
                  <a:close/>
                  <a:moveTo>
                    <a:pt x="189" y="4"/>
                  </a:moveTo>
                  <a:lnTo>
                    <a:pt x="189" y="200"/>
                  </a:lnTo>
                  <a:lnTo>
                    <a:pt x="191" y="212"/>
                  </a:lnTo>
                  <a:lnTo>
                    <a:pt x="195" y="220"/>
                  </a:lnTo>
                  <a:lnTo>
                    <a:pt x="201" y="225"/>
                  </a:lnTo>
                  <a:lnTo>
                    <a:pt x="210" y="226"/>
                  </a:lnTo>
                  <a:lnTo>
                    <a:pt x="218" y="225"/>
                  </a:lnTo>
                  <a:lnTo>
                    <a:pt x="225" y="220"/>
                  </a:lnTo>
                  <a:lnTo>
                    <a:pt x="229" y="212"/>
                  </a:lnTo>
                  <a:lnTo>
                    <a:pt x="231" y="200"/>
                  </a:lnTo>
                  <a:lnTo>
                    <a:pt x="231" y="4"/>
                  </a:lnTo>
                  <a:lnTo>
                    <a:pt x="269" y="4"/>
                  </a:lnTo>
                  <a:lnTo>
                    <a:pt x="269" y="198"/>
                  </a:lnTo>
                  <a:lnTo>
                    <a:pt x="268" y="213"/>
                  </a:lnTo>
                  <a:lnTo>
                    <a:pt x="265" y="226"/>
                  </a:lnTo>
                  <a:lnTo>
                    <a:pt x="261" y="236"/>
                  </a:lnTo>
                  <a:lnTo>
                    <a:pt x="253" y="246"/>
                  </a:lnTo>
                  <a:lnTo>
                    <a:pt x="245" y="253"/>
                  </a:lnTo>
                  <a:lnTo>
                    <a:pt x="235" y="259"/>
                  </a:lnTo>
                  <a:lnTo>
                    <a:pt x="223" y="262"/>
                  </a:lnTo>
                  <a:lnTo>
                    <a:pt x="209" y="263"/>
                  </a:lnTo>
                  <a:lnTo>
                    <a:pt x="195" y="262"/>
                  </a:lnTo>
                  <a:lnTo>
                    <a:pt x="182" y="259"/>
                  </a:lnTo>
                  <a:lnTo>
                    <a:pt x="173" y="253"/>
                  </a:lnTo>
                  <a:lnTo>
                    <a:pt x="164" y="246"/>
                  </a:lnTo>
                  <a:lnTo>
                    <a:pt x="157" y="236"/>
                  </a:lnTo>
                  <a:lnTo>
                    <a:pt x="153" y="226"/>
                  </a:lnTo>
                  <a:lnTo>
                    <a:pt x="150" y="213"/>
                  </a:lnTo>
                  <a:lnTo>
                    <a:pt x="149" y="198"/>
                  </a:lnTo>
                  <a:lnTo>
                    <a:pt x="149" y="4"/>
                  </a:lnTo>
                  <a:lnTo>
                    <a:pt x="189" y="4"/>
                  </a:lnTo>
                  <a:close/>
                  <a:moveTo>
                    <a:pt x="0" y="4"/>
                  </a:moveTo>
                  <a:lnTo>
                    <a:pt x="124" y="4"/>
                  </a:lnTo>
                  <a:lnTo>
                    <a:pt x="124" y="40"/>
                  </a:lnTo>
                  <a:lnTo>
                    <a:pt x="82" y="40"/>
                  </a:lnTo>
                  <a:lnTo>
                    <a:pt x="82" y="260"/>
                  </a:lnTo>
                  <a:lnTo>
                    <a:pt x="42" y="260"/>
                  </a:lnTo>
                  <a:lnTo>
                    <a:pt x="42" y="40"/>
                  </a:lnTo>
                  <a:lnTo>
                    <a:pt x="0" y="4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29287394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7333D7-B214-49EF-87D0-33F596CB99A0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28"/>
            <p:cNvSpPr>
              <a:spLocks noEditPoints="1"/>
            </p:cNvSpPr>
            <p:nvPr userDrawn="1"/>
          </p:nvSpPr>
          <p:spPr bwMode="auto">
            <a:xfrm>
              <a:off x="9180914" y="6472295"/>
              <a:ext cx="1318115" cy="247029"/>
            </a:xfrm>
            <a:custGeom>
              <a:avLst/>
              <a:gdLst>
                <a:gd name="T0" fmla="*/ 1324 w 1397"/>
                <a:gd name="T1" fmla="*/ 49 h 263"/>
                <a:gd name="T2" fmla="*/ 1356 w 1397"/>
                <a:gd name="T3" fmla="*/ 260 h 263"/>
                <a:gd name="T4" fmla="*/ 1293 w 1397"/>
                <a:gd name="T5" fmla="*/ 260 h 263"/>
                <a:gd name="T6" fmla="*/ 1355 w 1397"/>
                <a:gd name="T7" fmla="*/ 4 h 263"/>
                <a:gd name="T8" fmla="*/ 1172 w 1397"/>
                <a:gd name="T9" fmla="*/ 4 h 263"/>
                <a:gd name="T10" fmla="*/ 1190 w 1397"/>
                <a:gd name="T11" fmla="*/ 260 h 263"/>
                <a:gd name="T12" fmla="*/ 1124 w 1397"/>
                <a:gd name="T13" fmla="*/ 260 h 263"/>
                <a:gd name="T14" fmla="*/ 1059 w 1397"/>
                <a:gd name="T15" fmla="*/ 260 h 263"/>
                <a:gd name="T16" fmla="*/ 1145 w 1397"/>
                <a:gd name="T17" fmla="*/ 186 h 263"/>
                <a:gd name="T18" fmla="*/ 1021 w 1397"/>
                <a:gd name="T19" fmla="*/ 260 h 263"/>
                <a:gd name="T20" fmla="*/ 865 w 1397"/>
                <a:gd name="T21" fmla="*/ 200 h 263"/>
                <a:gd name="T22" fmla="*/ 876 w 1397"/>
                <a:gd name="T23" fmla="*/ 225 h 263"/>
                <a:gd name="T24" fmla="*/ 901 w 1397"/>
                <a:gd name="T25" fmla="*/ 219 h 263"/>
                <a:gd name="T26" fmla="*/ 906 w 1397"/>
                <a:gd name="T27" fmla="*/ 62 h 263"/>
                <a:gd name="T28" fmla="*/ 893 w 1397"/>
                <a:gd name="T29" fmla="*/ 39 h 263"/>
                <a:gd name="T30" fmla="*/ 870 w 1397"/>
                <a:gd name="T31" fmla="*/ 43 h 263"/>
                <a:gd name="T32" fmla="*/ 865 w 1397"/>
                <a:gd name="T33" fmla="*/ 200 h 263"/>
                <a:gd name="T34" fmla="*/ 828 w 1397"/>
                <a:gd name="T35" fmla="*/ 37 h 263"/>
                <a:gd name="T36" fmla="*/ 849 w 1397"/>
                <a:gd name="T37" fmla="*/ 10 h 263"/>
                <a:gd name="T38" fmla="*/ 885 w 1397"/>
                <a:gd name="T39" fmla="*/ 0 h 263"/>
                <a:gd name="T40" fmla="*/ 922 w 1397"/>
                <a:gd name="T41" fmla="*/ 10 h 263"/>
                <a:gd name="T42" fmla="*/ 936 w 1397"/>
                <a:gd name="T43" fmla="*/ 27 h 263"/>
                <a:gd name="T44" fmla="*/ 946 w 1397"/>
                <a:gd name="T45" fmla="*/ 65 h 263"/>
                <a:gd name="T46" fmla="*/ 942 w 1397"/>
                <a:gd name="T47" fmla="*/ 225 h 263"/>
                <a:gd name="T48" fmla="*/ 922 w 1397"/>
                <a:gd name="T49" fmla="*/ 252 h 263"/>
                <a:gd name="T50" fmla="*/ 885 w 1397"/>
                <a:gd name="T51" fmla="*/ 262 h 263"/>
                <a:gd name="T52" fmla="*/ 849 w 1397"/>
                <a:gd name="T53" fmla="*/ 252 h 263"/>
                <a:gd name="T54" fmla="*/ 833 w 1397"/>
                <a:gd name="T55" fmla="*/ 236 h 263"/>
                <a:gd name="T56" fmla="*/ 824 w 1397"/>
                <a:gd name="T57" fmla="*/ 198 h 263"/>
                <a:gd name="T58" fmla="*/ 763 w 1397"/>
                <a:gd name="T59" fmla="*/ 4 h 263"/>
                <a:gd name="T60" fmla="*/ 701 w 1397"/>
                <a:gd name="T61" fmla="*/ 260 h 263"/>
                <a:gd name="T62" fmla="*/ 732 w 1397"/>
                <a:gd name="T63" fmla="*/ 212 h 263"/>
                <a:gd name="T64" fmla="*/ 633 w 1397"/>
                <a:gd name="T65" fmla="*/ 260 h 263"/>
                <a:gd name="T66" fmla="*/ 460 w 1397"/>
                <a:gd name="T67" fmla="*/ 4 h 263"/>
                <a:gd name="T68" fmla="*/ 566 w 1397"/>
                <a:gd name="T69" fmla="*/ 223 h 263"/>
                <a:gd name="T70" fmla="*/ 460 w 1397"/>
                <a:gd name="T71" fmla="*/ 4 h 263"/>
                <a:gd name="T72" fmla="*/ 345 w 1397"/>
                <a:gd name="T73" fmla="*/ 212 h 263"/>
                <a:gd name="T74" fmla="*/ 364 w 1397"/>
                <a:gd name="T75" fmla="*/ 226 h 263"/>
                <a:gd name="T76" fmla="*/ 384 w 1397"/>
                <a:gd name="T77" fmla="*/ 212 h 263"/>
                <a:gd name="T78" fmla="*/ 424 w 1397"/>
                <a:gd name="T79" fmla="*/ 4 h 263"/>
                <a:gd name="T80" fmla="*/ 419 w 1397"/>
                <a:gd name="T81" fmla="*/ 226 h 263"/>
                <a:gd name="T82" fmla="*/ 399 w 1397"/>
                <a:gd name="T83" fmla="*/ 253 h 263"/>
                <a:gd name="T84" fmla="*/ 363 w 1397"/>
                <a:gd name="T85" fmla="*/ 263 h 263"/>
                <a:gd name="T86" fmla="*/ 327 w 1397"/>
                <a:gd name="T87" fmla="*/ 253 h 263"/>
                <a:gd name="T88" fmla="*/ 307 w 1397"/>
                <a:gd name="T89" fmla="*/ 226 h 263"/>
                <a:gd name="T90" fmla="*/ 304 w 1397"/>
                <a:gd name="T91" fmla="*/ 4 h 263"/>
                <a:gd name="T92" fmla="*/ 189 w 1397"/>
                <a:gd name="T93" fmla="*/ 200 h 263"/>
                <a:gd name="T94" fmla="*/ 201 w 1397"/>
                <a:gd name="T95" fmla="*/ 225 h 263"/>
                <a:gd name="T96" fmla="*/ 225 w 1397"/>
                <a:gd name="T97" fmla="*/ 220 h 263"/>
                <a:gd name="T98" fmla="*/ 231 w 1397"/>
                <a:gd name="T99" fmla="*/ 4 h 263"/>
                <a:gd name="T100" fmla="*/ 268 w 1397"/>
                <a:gd name="T101" fmla="*/ 213 h 263"/>
                <a:gd name="T102" fmla="*/ 253 w 1397"/>
                <a:gd name="T103" fmla="*/ 246 h 263"/>
                <a:gd name="T104" fmla="*/ 223 w 1397"/>
                <a:gd name="T105" fmla="*/ 262 h 263"/>
                <a:gd name="T106" fmla="*/ 182 w 1397"/>
                <a:gd name="T107" fmla="*/ 259 h 263"/>
                <a:gd name="T108" fmla="*/ 157 w 1397"/>
                <a:gd name="T109" fmla="*/ 236 h 263"/>
                <a:gd name="T110" fmla="*/ 149 w 1397"/>
                <a:gd name="T111" fmla="*/ 198 h 263"/>
                <a:gd name="T112" fmla="*/ 0 w 1397"/>
                <a:gd name="T113" fmla="*/ 4 h 263"/>
                <a:gd name="T114" fmla="*/ 82 w 1397"/>
                <a:gd name="T115" fmla="*/ 40 h 263"/>
                <a:gd name="T116" fmla="*/ 42 w 1397"/>
                <a:gd name="T117" fmla="*/ 4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7" h="263">
                  <a:moveTo>
                    <a:pt x="1305" y="178"/>
                  </a:moveTo>
                  <a:lnTo>
                    <a:pt x="1344" y="178"/>
                  </a:lnTo>
                  <a:lnTo>
                    <a:pt x="1324" y="49"/>
                  </a:lnTo>
                  <a:lnTo>
                    <a:pt x="1305" y="178"/>
                  </a:lnTo>
                  <a:close/>
                  <a:moveTo>
                    <a:pt x="1397" y="260"/>
                  </a:moveTo>
                  <a:lnTo>
                    <a:pt x="1356" y="260"/>
                  </a:lnTo>
                  <a:lnTo>
                    <a:pt x="1349" y="213"/>
                  </a:lnTo>
                  <a:lnTo>
                    <a:pt x="1299" y="213"/>
                  </a:lnTo>
                  <a:lnTo>
                    <a:pt x="1293" y="260"/>
                  </a:lnTo>
                  <a:lnTo>
                    <a:pt x="1256" y="260"/>
                  </a:lnTo>
                  <a:lnTo>
                    <a:pt x="1297" y="4"/>
                  </a:lnTo>
                  <a:lnTo>
                    <a:pt x="1355" y="4"/>
                  </a:lnTo>
                  <a:lnTo>
                    <a:pt x="1397" y="260"/>
                  </a:lnTo>
                  <a:close/>
                  <a:moveTo>
                    <a:pt x="1145" y="186"/>
                  </a:moveTo>
                  <a:lnTo>
                    <a:pt x="1172" y="4"/>
                  </a:lnTo>
                  <a:lnTo>
                    <a:pt x="1228" y="4"/>
                  </a:lnTo>
                  <a:lnTo>
                    <a:pt x="1228" y="260"/>
                  </a:lnTo>
                  <a:lnTo>
                    <a:pt x="1190" y="260"/>
                  </a:lnTo>
                  <a:lnTo>
                    <a:pt x="1190" y="76"/>
                  </a:lnTo>
                  <a:lnTo>
                    <a:pt x="1162" y="260"/>
                  </a:lnTo>
                  <a:lnTo>
                    <a:pt x="1124" y="260"/>
                  </a:lnTo>
                  <a:lnTo>
                    <a:pt x="1094" y="79"/>
                  </a:lnTo>
                  <a:lnTo>
                    <a:pt x="1094" y="260"/>
                  </a:lnTo>
                  <a:lnTo>
                    <a:pt x="1059" y="260"/>
                  </a:lnTo>
                  <a:lnTo>
                    <a:pt x="1059" y="4"/>
                  </a:lnTo>
                  <a:lnTo>
                    <a:pt x="1115" y="4"/>
                  </a:lnTo>
                  <a:lnTo>
                    <a:pt x="1145" y="186"/>
                  </a:lnTo>
                  <a:close/>
                  <a:moveTo>
                    <a:pt x="981" y="4"/>
                  </a:moveTo>
                  <a:lnTo>
                    <a:pt x="1021" y="4"/>
                  </a:lnTo>
                  <a:lnTo>
                    <a:pt x="1021" y="260"/>
                  </a:lnTo>
                  <a:lnTo>
                    <a:pt x="981" y="260"/>
                  </a:lnTo>
                  <a:lnTo>
                    <a:pt x="981" y="4"/>
                  </a:lnTo>
                  <a:close/>
                  <a:moveTo>
                    <a:pt x="865" y="200"/>
                  </a:moveTo>
                  <a:lnTo>
                    <a:pt x="866" y="212"/>
                  </a:lnTo>
                  <a:lnTo>
                    <a:pt x="870" y="219"/>
                  </a:lnTo>
                  <a:lnTo>
                    <a:pt x="876" y="225"/>
                  </a:lnTo>
                  <a:lnTo>
                    <a:pt x="885" y="226"/>
                  </a:lnTo>
                  <a:lnTo>
                    <a:pt x="893" y="225"/>
                  </a:lnTo>
                  <a:lnTo>
                    <a:pt x="901" y="219"/>
                  </a:lnTo>
                  <a:lnTo>
                    <a:pt x="905" y="212"/>
                  </a:lnTo>
                  <a:lnTo>
                    <a:pt x="906" y="200"/>
                  </a:lnTo>
                  <a:lnTo>
                    <a:pt x="906" y="62"/>
                  </a:lnTo>
                  <a:lnTo>
                    <a:pt x="905" y="50"/>
                  </a:lnTo>
                  <a:lnTo>
                    <a:pt x="901" y="43"/>
                  </a:lnTo>
                  <a:lnTo>
                    <a:pt x="893" y="39"/>
                  </a:lnTo>
                  <a:lnTo>
                    <a:pt x="885" y="37"/>
                  </a:lnTo>
                  <a:lnTo>
                    <a:pt x="876" y="39"/>
                  </a:lnTo>
                  <a:lnTo>
                    <a:pt x="870" y="43"/>
                  </a:lnTo>
                  <a:lnTo>
                    <a:pt x="866" y="50"/>
                  </a:lnTo>
                  <a:lnTo>
                    <a:pt x="865" y="62"/>
                  </a:lnTo>
                  <a:lnTo>
                    <a:pt x="865" y="200"/>
                  </a:lnTo>
                  <a:close/>
                  <a:moveTo>
                    <a:pt x="824" y="65"/>
                  </a:moveTo>
                  <a:lnTo>
                    <a:pt x="824" y="50"/>
                  </a:lnTo>
                  <a:lnTo>
                    <a:pt x="828" y="37"/>
                  </a:lnTo>
                  <a:lnTo>
                    <a:pt x="833" y="27"/>
                  </a:lnTo>
                  <a:lnTo>
                    <a:pt x="839" y="17"/>
                  </a:lnTo>
                  <a:lnTo>
                    <a:pt x="849" y="10"/>
                  </a:lnTo>
                  <a:lnTo>
                    <a:pt x="858" y="5"/>
                  </a:lnTo>
                  <a:lnTo>
                    <a:pt x="871" y="2"/>
                  </a:lnTo>
                  <a:lnTo>
                    <a:pt x="885" y="0"/>
                  </a:lnTo>
                  <a:lnTo>
                    <a:pt x="898" y="2"/>
                  </a:lnTo>
                  <a:lnTo>
                    <a:pt x="911" y="5"/>
                  </a:lnTo>
                  <a:lnTo>
                    <a:pt x="922" y="10"/>
                  </a:lnTo>
                  <a:lnTo>
                    <a:pt x="930" y="17"/>
                  </a:lnTo>
                  <a:lnTo>
                    <a:pt x="933" y="22"/>
                  </a:lnTo>
                  <a:lnTo>
                    <a:pt x="936" y="27"/>
                  </a:lnTo>
                  <a:lnTo>
                    <a:pt x="942" y="37"/>
                  </a:lnTo>
                  <a:lnTo>
                    <a:pt x="945" y="50"/>
                  </a:lnTo>
                  <a:lnTo>
                    <a:pt x="946" y="65"/>
                  </a:lnTo>
                  <a:lnTo>
                    <a:pt x="946" y="198"/>
                  </a:lnTo>
                  <a:lnTo>
                    <a:pt x="945" y="212"/>
                  </a:lnTo>
                  <a:lnTo>
                    <a:pt x="942" y="225"/>
                  </a:lnTo>
                  <a:lnTo>
                    <a:pt x="936" y="236"/>
                  </a:lnTo>
                  <a:lnTo>
                    <a:pt x="930" y="246"/>
                  </a:lnTo>
                  <a:lnTo>
                    <a:pt x="922" y="252"/>
                  </a:lnTo>
                  <a:lnTo>
                    <a:pt x="911" y="257"/>
                  </a:lnTo>
                  <a:lnTo>
                    <a:pt x="898" y="261"/>
                  </a:lnTo>
                  <a:lnTo>
                    <a:pt x="885" y="262"/>
                  </a:lnTo>
                  <a:lnTo>
                    <a:pt x="871" y="261"/>
                  </a:lnTo>
                  <a:lnTo>
                    <a:pt x="858" y="257"/>
                  </a:lnTo>
                  <a:lnTo>
                    <a:pt x="849" y="252"/>
                  </a:lnTo>
                  <a:lnTo>
                    <a:pt x="839" y="246"/>
                  </a:lnTo>
                  <a:lnTo>
                    <a:pt x="836" y="241"/>
                  </a:lnTo>
                  <a:lnTo>
                    <a:pt x="833" y="236"/>
                  </a:lnTo>
                  <a:lnTo>
                    <a:pt x="828" y="225"/>
                  </a:lnTo>
                  <a:lnTo>
                    <a:pt x="824" y="212"/>
                  </a:lnTo>
                  <a:lnTo>
                    <a:pt x="824" y="198"/>
                  </a:lnTo>
                  <a:lnTo>
                    <a:pt x="824" y="65"/>
                  </a:lnTo>
                  <a:close/>
                  <a:moveTo>
                    <a:pt x="732" y="212"/>
                  </a:moveTo>
                  <a:lnTo>
                    <a:pt x="763" y="4"/>
                  </a:lnTo>
                  <a:lnTo>
                    <a:pt x="800" y="4"/>
                  </a:lnTo>
                  <a:lnTo>
                    <a:pt x="760" y="260"/>
                  </a:lnTo>
                  <a:lnTo>
                    <a:pt x="701" y="260"/>
                  </a:lnTo>
                  <a:lnTo>
                    <a:pt x="660" y="4"/>
                  </a:lnTo>
                  <a:lnTo>
                    <a:pt x="702" y="4"/>
                  </a:lnTo>
                  <a:lnTo>
                    <a:pt x="732" y="212"/>
                  </a:lnTo>
                  <a:close/>
                  <a:moveTo>
                    <a:pt x="593" y="4"/>
                  </a:moveTo>
                  <a:lnTo>
                    <a:pt x="633" y="4"/>
                  </a:lnTo>
                  <a:lnTo>
                    <a:pt x="633" y="260"/>
                  </a:lnTo>
                  <a:lnTo>
                    <a:pt x="593" y="260"/>
                  </a:lnTo>
                  <a:lnTo>
                    <a:pt x="593" y="4"/>
                  </a:lnTo>
                  <a:close/>
                  <a:moveTo>
                    <a:pt x="460" y="4"/>
                  </a:moveTo>
                  <a:lnTo>
                    <a:pt x="500" y="4"/>
                  </a:lnTo>
                  <a:lnTo>
                    <a:pt x="500" y="223"/>
                  </a:lnTo>
                  <a:lnTo>
                    <a:pt x="566" y="223"/>
                  </a:lnTo>
                  <a:lnTo>
                    <a:pt x="566" y="260"/>
                  </a:lnTo>
                  <a:lnTo>
                    <a:pt x="460" y="260"/>
                  </a:lnTo>
                  <a:lnTo>
                    <a:pt x="460" y="4"/>
                  </a:lnTo>
                  <a:close/>
                  <a:moveTo>
                    <a:pt x="343" y="4"/>
                  </a:moveTo>
                  <a:lnTo>
                    <a:pt x="343" y="200"/>
                  </a:lnTo>
                  <a:lnTo>
                    <a:pt x="345" y="212"/>
                  </a:lnTo>
                  <a:lnTo>
                    <a:pt x="350" y="220"/>
                  </a:lnTo>
                  <a:lnTo>
                    <a:pt x="356" y="225"/>
                  </a:lnTo>
                  <a:lnTo>
                    <a:pt x="364" y="226"/>
                  </a:lnTo>
                  <a:lnTo>
                    <a:pt x="373" y="225"/>
                  </a:lnTo>
                  <a:lnTo>
                    <a:pt x="380" y="220"/>
                  </a:lnTo>
                  <a:lnTo>
                    <a:pt x="384" y="212"/>
                  </a:lnTo>
                  <a:lnTo>
                    <a:pt x="386" y="200"/>
                  </a:lnTo>
                  <a:lnTo>
                    <a:pt x="386" y="4"/>
                  </a:lnTo>
                  <a:lnTo>
                    <a:pt x="424" y="4"/>
                  </a:lnTo>
                  <a:lnTo>
                    <a:pt x="424" y="198"/>
                  </a:lnTo>
                  <a:lnTo>
                    <a:pt x="423" y="213"/>
                  </a:lnTo>
                  <a:lnTo>
                    <a:pt x="419" y="226"/>
                  </a:lnTo>
                  <a:lnTo>
                    <a:pt x="415" y="236"/>
                  </a:lnTo>
                  <a:lnTo>
                    <a:pt x="408" y="246"/>
                  </a:lnTo>
                  <a:lnTo>
                    <a:pt x="399" y="253"/>
                  </a:lnTo>
                  <a:lnTo>
                    <a:pt x="390" y="259"/>
                  </a:lnTo>
                  <a:lnTo>
                    <a:pt x="377" y="262"/>
                  </a:lnTo>
                  <a:lnTo>
                    <a:pt x="363" y="263"/>
                  </a:lnTo>
                  <a:lnTo>
                    <a:pt x="350" y="262"/>
                  </a:lnTo>
                  <a:lnTo>
                    <a:pt x="338" y="259"/>
                  </a:lnTo>
                  <a:lnTo>
                    <a:pt x="327" y="253"/>
                  </a:lnTo>
                  <a:lnTo>
                    <a:pt x="319" y="246"/>
                  </a:lnTo>
                  <a:lnTo>
                    <a:pt x="313" y="236"/>
                  </a:lnTo>
                  <a:lnTo>
                    <a:pt x="307" y="226"/>
                  </a:lnTo>
                  <a:lnTo>
                    <a:pt x="304" y="213"/>
                  </a:lnTo>
                  <a:lnTo>
                    <a:pt x="304" y="198"/>
                  </a:lnTo>
                  <a:lnTo>
                    <a:pt x="304" y="4"/>
                  </a:lnTo>
                  <a:lnTo>
                    <a:pt x="343" y="4"/>
                  </a:lnTo>
                  <a:close/>
                  <a:moveTo>
                    <a:pt x="189" y="4"/>
                  </a:moveTo>
                  <a:lnTo>
                    <a:pt x="189" y="200"/>
                  </a:lnTo>
                  <a:lnTo>
                    <a:pt x="191" y="212"/>
                  </a:lnTo>
                  <a:lnTo>
                    <a:pt x="195" y="220"/>
                  </a:lnTo>
                  <a:lnTo>
                    <a:pt x="201" y="225"/>
                  </a:lnTo>
                  <a:lnTo>
                    <a:pt x="210" y="226"/>
                  </a:lnTo>
                  <a:lnTo>
                    <a:pt x="218" y="225"/>
                  </a:lnTo>
                  <a:lnTo>
                    <a:pt x="225" y="220"/>
                  </a:lnTo>
                  <a:lnTo>
                    <a:pt x="229" y="212"/>
                  </a:lnTo>
                  <a:lnTo>
                    <a:pt x="231" y="200"/>
                  </a:lnTo>
                  <a:lnTo>
                    <a:pt x="231" y="4"/>
                  </a:lnTo>
                  <a:lnTo>
                    <a:pt x="269" y="4"/>
                  </a:lnTo>
                  <a:lnTo>
                    <a:pt x="269" y="198"/>
                  </a:lnTo>
                  <a:lnTo>
                    <a:pt x="268" y="213"/>
                  </a:lnTo>
                  <a:lnTo>
                    <a:pt x="265" y="226"/>
                  </a:lnTo>
                  <a:lnTo>
                    <a:pt x="261" y="236"/>
                  </a:lnTo>
                  <a:lnTo>
                    <a:pt x="253" y="246"/>
                  </a:lnTo>
                  <a:lnTo>
                    <a:pt x="245" y="253"/>
                  </a:lnTo>
                  <a:lnTo>
                    <a:pt x="235" y="259"/>
                  </a:lnTo>
                  <a:lnTo>
                    <a:pt x="223" y="262"/>
                  </a:lnTo>
                  <a:lnTo>
                    <a:pt x="209" y="263"/>
                  </a:lnTo>
                  <a:lnTo>
                    <a:pt x="195" y="262"/>
                  </a:lnTo>
                  <a:lnTo>
                    <a:pt x="182" y="259"/>
                  </a:lnTo>
                  <a:lnTo>
                    <a:pt x="173" y="253"/>
                  </a:lnTo>
                  <a:lnTo>
                    <a:pt x="164" y="246"/>
                  </a:lnTo>
                  <a:lnTo>
                    <a:pt x="157" y="236"/>
                  </a:lnTo>
                  <a:lnTo>
                    <a:pt x="153" y="226"/>
                  </a:lnTo>
                  <a:lnTo>
                    <a:pt x="150" y="213"/>
                  </a:lnTo>
                  <a:lnTo>
                    <a:pt x="149" y="198"/>
                  </a:lnTo>
                  <a:lnTo>
                    <a:pt x="149" y="4"/>
                  </a:lnTo>
                  <a:lnTo>
                    <a:pt x="189" y="4"/>
                  </a:lnTo>
                  <a:close/>
                  <a:moveTo>
                    <a:pt x="0" y="4"/>
                  </a:moveTo>
                  <a:lnTo>
                    <a:pt x="124" y="4"/>
                  </a:lnTo>
                  <a:lnTo>
                    <a:pt x="124" y="40"/>
                  </a:lnTo>
                  <a:lnTo>
                    <a:pt x="82" y="40"/>
                  </a:lnTo>
                  <a:lnTo>
                    <a:pt x="82" y="260"/>
                  </a:lnTo>
                  <a:lnTo>
                    <a:pt x="42" y="260"/>
                  </a:lnTo>
                  <a:lnTo>
                    <a:pt x="42" y="40"/>
                  </a:lnTo>
                  <a:lnTo>
                    <a:pt x="0" y="4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10406728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FA2B7DB-7DFD-4DB2-B6A6-E2565F547983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28"/>
            <p:cNvSpPr>
              <a:spLocks noEditPoints="1"/>
            </p:cNvSpPr>
            <p:nvPr userDrawn="1"/>
          </p:nvSpPr>
          <p:spPr bwMode="auto">
            <a:xfrm>
              <a:off x="9180914" y="6472295"/>
              <a:ext cx="1318115" cy="247029"/>
            </a:xfrm>
            <a:custGeom>
              <a:avLst/>
              <a:gdLst>
                <a:gd name="T0" fmla="*/ 1324 w 1397"/>
                <a:gd name="T1" fmla="*/ 49 h 263"/>
                <a:gd name="T2" fmla="*/ 1356 w 1397"/>
                <a:gd name="T3" fmla="*/ 260 h 263"/>
                <a:gd name="T4" fmla="*/ 1293 w 1397"/>
                <a:gd name="T5" fmla="*/ 260 h 263"/>
                <a:gd name="T6" fmla="*/ 1355 w 1397"/>
                <a:gd name="T7" fmla="*/ 4 h 263"/>
                <a:gd name="T8" fmla="*/ 1172 w 1397"/>
                <a:gd name="T9" fmla="*/ 4 h 263"/>
                <a:gd name="T10" fmla="*/ 1190 w 1397"/>
                <a:gd name="T11" fmla="*/ 260 h 263"/>
                <a:gd name="T12" fmla="*/ 1124 w 1397"/>
                <a:gd name="T13" fmla="*/ 260 h 263"/>
                <a:gd name="T14" fmla="*/ 1059 w 1397"/>
                <a:gd name="T15" fmla="*/ 260 h 263"/>
                <a:gd name="T16" fmla="*/ 1145 w 1397"/>
                <a:gd name="T17" fmla="*/ 186 h 263"/>
                <a:gd name="T18" fmla="*/ 1021 w 1397"/>
                <a:gd name="T19" fmla="*/ 260 h 263"/>
                <a:gd name="T20" fmla="*/ 865 w 1397"/>
                <a:gd name="T21" fmla="*/ 200 h 263"/>
                <a:gd name="T22" fmla="*/ 876 w 1397"/>
                <a:gd name="T23" fmla="*/ 225 h 263"/>
                <a:gd name="T24" fmla="*/ 901 w 1397"/>
                <a:gd name="T25" fmla="*/ 219 h 263"/>
                <a:gd name="T26" fmla="*/ 906 w 1397"/>
                <a:gd name="T27" fmla="*/ 62 h 263"/>
                <a:gd name="T28" fmla="*/ 893 w 1397"/>
                <a:gd name="T29" fmla="*/ 39 h 263"/>
                <a:gd name="T30" fmla="*/ 870 w 1397"/>
                <a:gd name="T31" fmla="*/ 43 h 263"/>
                <a:gd name="T32" fmla="*/ 865 w 1397"/>
                <a:gd name="T33" fmla="*/ 200 h 263"/>
                <a:gd name="T34" fmla="*/ 828 w 1397"/>
                <a:gd name="T35" fmla="*/ 37 h 263"/>
                <a:gd name="T36" fmla="*/ 849 w 1397"/>
                <a:gd name="T37" fmla="*/ 10 h 263"/>
                <a:gd name="T38" fmla="*/ 885 w 1397"/>
                <a:gd name="T39" fmla="*/ 0 h 263"/>
                <a:gd name="T40" fmla="*/ 922 w 1397"/>
                <a:gd name="T41" fmla="*/ 10 h 263"/>
                <a:gd name="T42" fmla="*/ 936 w 1397"/>
                <a:gd name="T43" fmla="*/ 27 h 263"/>
                <a:gd name="T44" fmla="*/ 946 w 1397"/>
                <a:gd name="T45" fmla="*/ 65 h 263"/>
                <a:gd name="T46" fmla="*/ 942 w 1397"/>
                <a:gd name="T47" fmla="*/ 225 h 263"/>
                <a:gd name="T48" fmla="*/ 922 w 1397"/>
                <a:gd name="T49" fmla="*/ 252 h 263"/>
                <a:gd name="T50" fmla="*/ 885 w 1397"/>
                <a:gd name="T51" fmla="*/ 262 h 263"/>
                <a:gd name="T52" fmla="*/ 849 w 1397"/>
                <a:gd name="T53" fmla="*/ 252 h 263"/>
                <a:gd name="T54" fmla="*/ 833 w 1397"/>
                <a:gd name="T55" fmla="*/ 236 h 263"/>
                <a:gd name="T56" fmla="*/ 824 w 1397"/>
                <a:gd name="T57" fmla="*/ 198 h 263"/>
                <a:gd name="T58" fmla="*/ 763 w 1397"/>
                <a:gd name="T59" fmla="*/ 4 h 263"/>
                <a:gd name="T60" fmla="*/ 701 w 1397"/>
                <a:gd name="T61" fmla="*/ 260 h 263"/>
                <a:gd name="T62" fmla="*/ 732 w 1397"/>
                <a:gd name="T63" fmla="*/ 212 h 263"/>
                <a:gd name="T64" fmla="*/ 633 w 1397"/>
                <a:gd name="T65" fmla="*/ 260 h 263"/>
                <a:gd name="T66" fmla="*/ 460 w 1397"/>
                <a:gd name="T67" fmla="*/ 4 h 263"/>
                <a:gd name="T68" fmla="*/ 566 w 1397"/>
                <a:gd name="T69" fmla="*/ 223 h 263"/>
                <a:gd name="T70" fmla="*/ 460 w 1397"/>
                <a:gd name="T71" fmla="*/ 4 h 263"/>
                <a:gd name="T72" fmla="*/ 345 w 1397"/>
                <a:gd name="T73" fmla="*/ 212 h 263"/>
                <a:gd name="T74" fmla="*/ 364 w 1397"/>
                <a:gd name="T75" fmla="*/ 226 h 263"/>
                <a:gd name="T76" fmla="*/ 384 w 1397"/>
                <a:gd name="T77" fmla="*/ 212 h 263"/>
                <a:gd name="T78" fmla="*/ 424 w 1397"/>
                <a:gd name="T79" fmla="*/ 4 h 263"/>
                <a:gd name="T80" fmla="*/ 419 w 1397"/>
                <a:gd name="T81" fmla="*/ 226 h 263"/>
                <a:gd name="T82" fmla="*/ 399 w 1397"/>
                <a:gd name="T83" fmla="*/ 253 h 263"/>
                <a:gd name="T84" fmla="*/ 363 w 1397"/>
                <a:gd name="T85" fmla="*/ 263 h 263"/>
                <a:gd name="T86" fmla="*/ 327 w 1397"/>
                <a:gd name="T87" fmla="*/ 253 h 263"/>
                <a:gd name="T88" fmla="*/ 307 w 1397"/>
                <a:gd name="T89" fmla="*/ 226 h 263"/>
                <a:gd name="T90" fmla="*/ 304 w 1397"/>
                <a:gd name="T91" fmla="*/ 4 h 263"/>
                <a:gd name="T92" fmla="*/ 189 w 1397"/>
                <a:gd name="T93" fmla="*/ 200 h 263"/>
                <a:gd name="T94" fmla="*/ 201 w 1397"/>
                <a:gd name="T95" fmla="*/ 225 h 263"/>
                <a:gd name="T96" fmla="*/ 225 w 1397"/>
                <a:gd name="T97" fmla="*/ 220 h 263"/>
                <a:gd name="T98" fmla="*/ 231 w 1397"/>
                <a:gd name="T99" fmla="*/ 4 h 263"/>
                <a:gd name="T100" fmla="*/ 268 w 1397"/>
                <a:gd name="T101" fmla="*/ 213 h 263"/>
                <a:gd name="T102" fmla="*/ 253 w 1397"/>
                <a:gd name="T103" fmla="*/ 246 h 263"/>
                <a:gd name="T104" fmla="*/ 223 w 1397"/>
                <a:gd name="T105" fmla="*/ 262 h 263"/>
                <a:gd name="T106" fmla="*/ 182 w 1397"/>
                <a:gd name="T107" fmla="*/ 259 h 263"/>
                <a:gd name="T108" fmla="*/ 157 w 1397"/>
                <a:gd name="T109" fmla="*/ 236 h 263"/>
                <a:gd name="T110" fmla="*/ 149 w 1397"/>
                <a:gd name="T111" fmla="*/ 198 h 263"/>
                <a:gd name="T112" fmla="*/ 0 w 1397"/>
                <a:gd name="T113" fmla="*/ 4 h 263"/>
                <a:gd name="T114" fmla="*/ 82 w 1397"/>
                <a:gd name="T115" fmla="*/ 40 h 263"/>
                <a:gd name="T116" fmla="*/ 42 w 1397"/>
                <a:gd name="T117" fmla="*/ 4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7" h="263">
                  <a:moveTo>
                    <a:pt x="1305" y="178"/>
                  </a:moveTo>
                  <a:lnTo>
                    <a:pt x="1344" y="178"/>
                  </a:lnTo>
                  <a:lnTo>
                    <a:pt x="1324" y="49"/>
                  </a:lnTo>
                  <a:lnTo>
                    <a:pt x="1305" y="178"/>
                  </a:lnTo>
                  <a:close/>
                  <a:moveTo>
                    <a:pt x="1397" y="260"/>
                  </a:moveTo>
                  <a:lnTo>
                    <a:pt x="1356" y="260"/>
                  </a:lnTo>
                  <a:lnTo>
                    <a:pt x="1349" y="213"/>
                  </a:lnTo>
                  <a:lnTo>
                    <a:pt x="1299" y="213"/>
                  </a:lnTo>
                  <a:lnTo>
                    <a:pt x="1293" y="260"/>
                  </a:lnTo>
                  <a:lnTo>
                    <a:pt x="1256" y="260"/>
                  </a:lnTo>
                  <a:lnTo>
                    <a:pt x="1297" y="4"/>
                  </a:lnTo>
                  <a:lnTo>
                    <a:pt x="1355" y="4"/>
                  </a:lnTo>
                  <a:lnTo>
                    <a:pt x="1397" y="260"/>
                  </a:lnTo>
                  <a:close/>
                  <a:moveTo>
                    <a:pt x="1145" y="186"/>
                  </a:moveTo>
                  <a:lnTo>
                    <a:pt x="1172" y="4"/>
                  </a:lnTo>
                  <a:lnTo>
                    <a:pt x="1228" y="4"/>
                  </a:lnTo>
                  <a:lnTo>
                    <a:pt x="1228" y="260"/>
                  </a:lnTo>
                  <a:lnTo>
                    <a:pt x="1190" y="260"/>
                  </a:lnTo>
                  <a:lnTo>
                    <a:pt x="1190" y="76"/>
                  </a:lnTo>
                  <a:lnTo>
                    <a:pt x="1162" y="260"/>
                  </a:lnTo>
                  <a:lnTo>
                    <a:pt x="1124" y="260"/>
                  </a:lnTo>
                  <a:lnTo>
                    <a:pt x="1094" y="79"/>
                  </a:lnTo>
                  <a:lnTo>
                    <a:pt x="1094" y="260"/>
                  </a:lnTo>
                  <a:lnTo>
                    <a:pt x="1059" y="260"/>
                  </a:lnTo>
                  <a:lnTo>
                    <a:pt x="1059" y="4"/>
                  </a:lnTo>
                  <a:lnTo>
                    <a:pt x="1115" y="4"/>
                  </a:lnTo>
                  <a:lnTo>
                    <a:pt x="1145" y="186"/>
                  </a:lnTo>
                  <a:close/>
                  <a:moveTo>
                    <a:pt x="981" y="4"/>
                  </a:moveTo>
                  <a:lnTo>
                    <a:pt x="1021" y="4"/>
                  </a:lnTo>
                  <a:lnTo>
                    <a:pt x="1021" y="260"/>
                  </a:lnTo>
                  <a:lnTo>
                    <a:pt x="981" y="260"/>
                  </a:lnTo>
                  <a:lnTo>
                    <a:pt x="981" y="4"/>
                  </a:lnTo>
                  <a:close/>
                  <a:moveTo>
                    <a:pt x="865" y="200"/>
                  </a:moveTo>
                  <a:lnTo>
                    <a:pt x="866" y="212"/>
                  </a:lnTo>
                  <a:lnTo>
                    <a:pt x="870" y="219"/>
                  </a:lnTo>
                  <a:lnTo>
                    <a:pt x="876" y="225"/>
                  </a:lnTo>
                  <a:lnTo>
                    <a:pt x="885" y="226"/>
                  </a:lnTo>
                  <a:lnTo>
                    <a:pt x="893" y="225"/>
                  </a:lnTo>
                  <a:lnTo>
                    <a:pt x="901" y="219"/>
                  </a:lnTo>
                  <a:lnTo>
                    <a:pt x="905" y="212"/>
                  </a:lnTo>
                  <a:lnTo>
                    <a:pt x="906" y="200"/>
                  </a:lnTo>
                  <a:lnTo>
                    <a:pt x="906" y="62"/>
                  </a:lnTo>
                  <a:lnTo>
                    <a:pt x="905" y="50"/>
                  </a:lnTo>
                  <a:lnTo>
                    <a:pt x="901" y="43"/>
                  </a:lnTo>
                  <a:lnTo>
                    <a:pt x="893" y="39"/>
                  </a:lnTo>
                  <a:lnTo>
                    <a:pt x="885" y="37"/>
                  </a:lnTo>
                  <a:lnTo>
                    <a:pt x="876" y="39"/>
                  </a:lnTo>
                  <a:lnTo>
                    <a:pt x="870" y="43"/>
                  </a:lnTo>
                  <a:lnTo>
                    <a:pt x="866" y="50"/>
                  </a:lnTo>
                  <a:lnTo>
                    <a:pt x="865" y="62"/>
                  </a:lnTo>
                  <a:lnTo>
                    <a:pt x="865" y="200"/>
                  </a:lnTo>
                  <a:close/>
                  <a:moveTo>
                    <a:pt x="824" y="65"/>
                  </a:moveTo>
                  <a:lnTo>
                    <a:pt x="824" y="50"/>
                  </a:lnTo>
                  <a:lnTo>
                    <a:pt x="828" y="37"/>
                  </a:lnTo>
                  <a:lnTo>
                    <a:pt x="833" y="27"/>
                  </a:lnTo>
                  <a:lnTo>
                    <a:pt x="839" y="17"/>
                  </a:lnTo>
                  <a:lnTo>
                    <a:pt x="849" y="10"/>
                  </a:lnTo>
                  <a:lnTo>
                    <a:pt x="858" y="5"/>
                  </a:lnTo>
                  <a:lnTo>
                    <a:pt x="871" y="2"/>
                  </a:lnTo>
                  <a:lnTo>
                    <a:pt x="885" y="0"/>
                  </a:lnTo>
                  <a:lnTo>
                    <a:pt x="898" y="2"/>
                  </a:lnTo>
                  <a:lnTo>
                    <a:pt x="911" y="5"/>
                  </a:lnTo>
                  <a:lnTo>
                    <a:pt x="922" y="10"/>
                  </a:lnTo>
                  <a:lnTo>
                    <a:pt x="930" y="17"/>
                  </a:lnTo>
                  <a:lnTo>
                    <a:pt x="933" y="22"/>
                  </a:lnTo>
                  <a:lnTo>
                    <a:pt x="936" y="27"/>
                  </a:lnTo>
                  <a:lnTo>
                    <a:pt x="942" y="37"/>
                  </a:lnTo>
                  <a:lnTo>
                    <a:pt x="945" y="50"/>
                  </a:lnTo>
                  <a:lnTo>
                    <a:pt x="946" y="65"/>
                  </a:lnTo>
                  <a:lnTo>
                    <a:pt x="946" y="198"/>
                  </a:lnTo>
                  <a:lnTo>
                    <a:pt x="945" y="212"/>
                  </a:lnTo>
                  <a:lnTo>
                    <a:pt x="942" y="225"/>
                  </a:lnTo>
                  <a:lnTo>
                    <a:pt x="936" y="236"/>
                  </a:lnTo>
                  <a:lnTo>
                    <a:pt x="930" y="246"/>
                  </a:lnTo>
                  <a:lnTo>
                    <a:pt x="922" y="252"/>
                  </a:lnTo>
                  <a:lnTo>
                    <a:pt x="911" y="257"/>
                  </a:lnTo>
                  <a:lnTo>
                    <a:pt x="898" y="261"/>
                  </a:lnTo>
                  <a:lnTo>
                    <a:pt x="885" y="262"/>
                  </a:lnTo>
                  <a:lnTo>
                    <a:pt x="871" y="261"/>
                  </a:lnTo>
                  <a:lnTo>
                    <a:pt x="858" y="257"/>
                  </a:lnTo>
                  <a:lnTo>
                    <a:pt x="849" y="252"/>
                  </a:lnTo>
                  <a:lnTo>
                    <a:pt x="839" y="246"/>
                  </a:lnTo>
                  <a:lnTo>
                    <a:pt x="836" y="241"/>
                  </a:lnTo>
                  <a:lnTo>
                    <a:pt x="833" y="236"/>
                  </a:lnTo>
                  <a:lnTo>
                    <a:pt x="828" y="225"/>
                  </a:lnTo>
                  <a:lnTo>
                    <a:pt x="824" y="212"/>
                  </a:lnTo>
                  <a:lnTo>
                    <a:pt x="824" y="198"/>
                  </a:lnTo>
                  <a:lnTo>
                    <a:pt x="824" y="65"/>
                  </a:lnTo>
                  <a:close/>
                  <a:moveTo>
                    <a:pt x="732" y="212"/>
                  </a:moveTo>
                  <a:lnTo>
                    <a:pt x="763" y="4"/>
                  </a:lnTo>
                  <a:lnTo>
                    <a:pt x="800" y="4"/>
                  </a:lnTo>
                  <a:lnTo>
                    <a:pt x="760" y="260"/>
                  </a:lnTo>
                  <a:lnTo>
                    <a:pt x="701" y="260"/>
                  </a:lnTo>
                  <a:lnTo>
                    <a:pt x="660" y="4"/>
                  </a:lnTo>
                  <a:lnTo>
                    <a:pt x="702" y="4"/>
                  </a:lnTo>
                  <a:lnTo>
                    <a:pt x="732" y="212"/>
                  </a:lnTo>
                  <a:close/>
                  <a:moveTo>
                    <a:pt x="593" y="4"/>
                  </a:moveTo>
                  <a:lnTo>
                    <a:pt x="633" y="4"/>
                  </a:lnTo>
                  <a:lnTo>
                    <a:pt x="633" y="260"/>
                  </a:lnTo>
                  <a:lnTo>
                    <a:pt x="593" y="260"/>
                  </a:lnTo>
                  <a:lnTo>
                    <a:pt x="593" y="4"/>
                  </a:lnTo>
                  <a:close/>
                  <a:moveTo>
                    <a:pt x="460" y="4"/>
                  </a:moveTo>
                  <a:lnTo>
                    <a:pt x="500" y="4"/>
                  </a:lnTo>
                  <a:lnTo>
                    <a:pt x="500" y="223"/>
                  </a:lnTo>
                  <a:lnTo>
                    <a:pt x="566" y="223"/>
                  </a:lnTo>
                  <a:lnTo>
                    <a:pt x="566" y="260"/>
                  </a:lnTo>
                  <a:lnTo>
                    <a:pt x="460" y="260"/>
                  </a:lnTo>
                  <a:lnTo>
                    <a:pt x="460" y="4"/>
                  </a:lnTo>
                  <a:close/>
                  <a:moveTo>
                    <a:pt x="343" y="4"/>
                  </a:moveTo>
                  <a:lnTo>
                    <a:pt x="343" y="200"/>
                  </a:lnTo>
                  <a:lnTo>
                    <a:pt x="345" y="212"/>
                  </a:lnTo>
                  <a:lnTo>
                    <a:pt x="350" y="220"/>
                  </a:lnTo>
                  <a:lnTo>
                    <a:pt x="356" y="225"/>
                  </a:lnTo>
                  <a:lnTo>
                    <a:pt x="364" y="226"/>
                  </a:lnTo>
                  <a:lnTo>
                    <a:pt x="373" y="225"/>
                  </a:lnTo>
                  <a:lnTo>
                    <a:pt x="380" y="220"/>
                  </a:lnTo>
                  <a:lnTo>
                    <a:pt x="384" y="212"/>
                  </a:lnTo>
                  <a:lnTo>
                    <a:pt x="386" y="200"/>
                  </a:lnTo>
                  <a:lnTo>
                    <a:pt x="386" y="4"/>
                  </a:lnTo>
                  <a:lnTo>
                    <a:pt x="424" y="4"/>
                  </a:lnTo>
                  <a:lnTo>
                    <a:pt x="424" y="198"/>
                  </a:lnTo>
                  <a:lnTo>
                    <a:pt x="423" y="213"/>
                  </a:lnTo>
                  <a:lnTo>
                    <a:pt x="419" y="226"/>
                  </a:lnTo>
                  <a:lnTo>
                    <a:pt x="415" y="236"/>
                  </a:lnTo>
                  <a:lnTo>
                    <a:pt x="408" y="246"/>
                  </a:lnTo>
                  <a:lnTo>
                    <a:pt x="399" y="253"/>
                  </a:lnTo>
                  <a:lnTo>
                    <a:pt x="390" y="259"/>
                  </a:lnTo>
                  <a:lnTo>
                    <a:pt x="377" y="262"/>
                  </a:lnTo>
                  <a:lnTo>
                    <a:pt x="363" y="263"/>
                  </a:lnTo>
                  <a:lnTo>
                    <a:pt x="350" y="262"/>
                  </a:lnTo>
                  <a:lnTo>
                    <a:pt x="338" y="259"/>
                  </a:lnTo>
                  <a:lnTo>
                    <a:pt x="327" y="253"/>
                  </a:lnTo>
                  <a:lnTo>
                    <a:pt x="319" y="246"/>
                  </a:lnTo>
                  <a:lnTo>
                    <a:pt x="313" y="236"/>
                  </a:lnTo>
                  <a:lnTo>
                    <a:pt x="307" y="226"/>
                  </a:lnTo>
                  <a:lnTo>
                    <a:pt x="304" y="213"/>
                  </a:lnTo>
                  <a:lnTo>
                    <a:pt x="304" y="198"/>
                  </a:lnTo>
                  <a:lnTo>
                    <a:pt x="304" y="4"/>
                  </a:lnTo>
                  <a:lnTo>
                    <a:pt x="343" y="4"/>
                  </a:lnTo>
                  <a:close/>
                  <a:moveTo>
                    <a:pt x="189" y="4"/>
                  </a:moveTo>
                  <a:lnTo>
                    <a:pt x="189" y="200"/>
                  </a:lnTo>
                  <a:lnTo>
                    <a:pt x="191" y="212"/>
                  </a:lnTo>
                  <a:lnTo>
                    <a:pt x="195" y="220"/>
                  </a:lnTo>
                  <a:lnTo>
                    <a:pt x="201" y="225"/>
                  </a:lnTo>
                  <a:lnTo>
                    <a:pt x="210" y="226"/>
                  </a:lnTo>
                  <a:lnTo>
                    <a:pt x="218" y="225"/>
                  </a:lnTo>
                  <a:lnTo>
                    <a:pt x="225" y="220"/>
                  </a:lnTo>
                  <a:lnTo>
                    <a:pt x="229" y="212"/>
                  </a:lnTo>
                  <a:lnTo>
                    <a:pt x="231" y="200"/>
                  </a:lnTo>
                  <a:lnTo>
                    <a:pt x="231" y="4"/>
                  </a:lnTo>
                  <a:lnTo>
                    <a:pt x="269" y="4"/>
                  </a:lnTo>
                  <a:lnTo>
                    <a:pt x="269" y="198"/>
                  </a:lnTo>
                  <a:lnTo>
                    <a:pt x="268" y="213"/>
                  </a:lnTo>
                  <a:lnTo>
                    <a:pt x="265" y="226"/>
                  </a:lnTo>
                  <a:lnTo>
                    <a:pt x="261" y="236"/>
                  </a:lnTo>
                  <a:lnTo>
                    <a:pt x="253" y="246"/>
                  </a:lnTo>
                  <a:lnTo>
                    <a:pt x="245" y="253"/>
                  </a:lnTo>
                  <a:lnTo>
                    <a:pt x="235" y="259"/>
                  </a:lnTo>
                  <a:lnTo>
                    <a:pt x="223" y="262"/>
                  </a:lnTo>
                  <a:lnTo>
                    <a:pt x="209" y="263"/>
                  </a:lnTo>
                  <a:lnTo>
                    <a:pt x="195" y="262"/>
                  </a:lnTo>
                  <a:lnTo>
                    <a:pt x="182" y="259"/>
                  </a:lnTo>
                  <a:lnTo>
                    <a:pt x="173" y="253"/>
                  </a:lnTo>
                  <a:lnTo>
                    <a:pt x="164" y="246"/>
                  </a:lnTo>
                  <a:lnTo>
                    <a:pt x="157" y="236"/>
                  </a:lnTo>
                  <a:lnTo>
                    <a:pt x="153" y="226"/>
                  </a:lnTo>
                  <a:lnTo>
                    <a:pt x="150" y="213"/>
                  </a:lnTo>
                  <a:lnTo>
                    <a:pt x="149" y="198"/>
                  </a:lnTo>
                  <a:lnTo>
                    <a:pt x="149" y="4"/>
                  </a:lnTo>
                  <a:lnTo>
                    <a:pt x="189" y="4"/>
                  </a:lnTo>
                  <a:close/>
                  <a:moveTo>
                    <a:pt x="0" y="4"/>
                  </a:moveTo>
                  <a:lnTo>
                    <a:pt x="124" y="4"/>
                  </a:lnTo>
                  <a:lnTo>
                    <a:pt x="124" y="40"/>
                  </a:lnTo>
                  <a:lnTo>
                    <a:pt x="82" y="40"/>
                  </a:lnTo>
                  <a:lnTo>
                    <a:pt x="82" y="260"/>
                  </a:lnTo>
                  <a:lnTo>
                    <a:pt x="42" y="260"/>
                  </a:lnTo>
                  <a:lnTo>
                    <a:pt x="42" y="40"/>
                  </a:lnTo>
                  <a:lnTo>
                    <a:pt x="0" y="4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83558564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8AB94C-752F-4A79-849D-9E9937636970}" type="datetime1">
              <a:rPr lang="fi-FI" smtClean="0"/>
              <a:t>28.2.2018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8"/>
            <p:cNvSpPr>
              <a:spLocks noEditPoints="1"/>
            </p:cNvSpPr>
            <p:nvPr userDrawn="1"/>
          </p:nvSpPr>
          <p:spPr bwMode="auto">
            <a:xfrm>
              <a:off x="9180914" y="6472295"/>
              <a:ext cx="1318115" cy="247029"/>
            </a:xfrm>
            <a:custGeom>
              <a:avLst/>
              <a:gdLst>
                <a:gd name="T0" fmla="*/ 1324 w 1397"/>
                <a:gd name="T1" fmla="*/ 49 h 263"/>
                <a:gd name="T2" fmla="*/ 1356 w 1397"/>
                <a:gd name="T3" fmla="*/ 260 h 263"/>
                <a:gd name="T4" fmla="*/ 1293 w 1397"/>
                <a:gd name="T5" fmla="*/ 260 h 263"/>
                <a:gd name="T6" fmla="*/ 1355 w 1397"/>
                <a:gd name="T7" fmla="*/ 4 h 263"/>
                <a:gd name="T8" fmla="*/ 1172 w 1397"/>
                <a:gd name="T9" fmla="*/ 4 h 263"/>
                <a:gd name="T10" fmla="*/ 1190 w 1397"/>
                <a:gd name="T11" fmla="*/ 260 h 263"/>
                <a:gd name="T12" fmla="*/ 1124 w 1397"/>
                <a:gd name="T13" fmla="*/ 260 h 263"/>
                <a:gd name="T14" fmla="*/ 1059 w 1397"/>
                <a:gd name="T15" fmla="*/ 260 h 263"/>
                <a:gd name="T16" fmla="*/ 1145 w 1397"/>
                <a:gd name="T17" fmla="*/ 186 h 263"/>
                <a:gd name="T18" fmla="*/ 1021 w 1397"/>
                <a:gd name="T19" fmla="*/ 260 h 263"/>
                <a:gd name="T20" fmla="*/ 865 w 1397"/>
                <a:gd name="T21" fmla="*/ 200 h 263"/>
                <a:gd name="T22" fmla="*/ 876 w 1397"/>
                <a:gd name="T23" fmla="*/ 225 h 263"/>
                <a:gd name="T24" fmla="*/ 901 w 1397"/>
                <a:gd name="T25" fmla="*/ 219 h 263"/>
                <a:gd name="T26" fmla="*/ 906 w 1397"/>
                <a:gd name="T27" fmla="*/ 62 h 263"/>
                <a:gd name="T28" fmla="*/ 893 w 1397"/>
                <a:gd name="T29" fmla="*/ 39 h 263"/>
                <a:gd name="T30" fmla="*/ 870 w 1397"/>
                <a:gd name="T31" fmla="*/ 43 h 263"/>
                <a:gd name="T32" fmla="*/ 865 w 1397"/>
                <a:gd name="T33" fmla="*/ 200 h 263"/>
                <a:gd name="T34" fmla="*/ 828 w 1397"/>
                <a:gd name="T35" fmla="*/ 37 h 263"/>
                <a:gd name="T36" fmla="*/ 849 w 1397"/>
                <a:gd name="T37" fmla="*/ 10 h 263"/>
                <a:gd name="T38" fmla="*/ 885 w 1397"/>
                <a:gd name="T39" fmla="*/ 0 h 263"/>
                <a:gd name="T40" fmla="*/ 922 w 1397"/>
                <a:gd name="T41" fmla="*/ 10 h 263"/>
                <a:gd name="T42" fmla="*/ 936 w 1397"/>
                <a:gd name="T43" fmla="*/ 27 h 263"/>
                <a:gd name="T44" fmla="*/ 946 w 1397"/>
                <a:gd name="T45" fmla="*/ 65 h 263"/>
                <a:gd name="T46" fmla="*/ 942 w 1397"/>
                <a:gd name="T47" fmla="*/ 225 h 263"/>
                <a:gd name="T48" fmla="*/ 922 w 1397"/>
                <a:gd name="T49" fmla="*/ 252 h 263"/>
                <a:gd name="T50" fmla="*/ 885 w 1397"/>
                <a:gd name="T51" fmla="*/ 262 h 263"/>
                <a:gd name="T52" fmla="*/ 849 w 1397"/>
                <a:gd name="T53" fmla="*/ 252 h 263"/>
                <a:gd name="T54" fmla="*/ 833 w 1397"/>
                <a:gd name="T55" fmla="*/ 236 h 263"/>
                <a:gd name="T56" fmla="*/ 824 w 1397"/>
                <a:gd name="T57" fmla="*/ 198 h 263"/>
                <a:gd name="T58" fmla="*/ 763 w 1397"/>
                <a:gd name="T59" fmla="*/ 4 h 263"/>
                <a:gd name="T60" fmla="*/ 701 w 1397"/>
                <a:gd name="T61" fmla="*/ 260 h 263"/>
                <a:gd name="T62" fmla="*/ 732 w 1397"/>
                <a:gd name="T63" fmla="*/ 212 h 263"/>
                <a:gd name="T64" fmla="*/ 633 w 1397"/>
                <a:gd name="T65" fmla="*/ 260 h 263"/>
                <a:gd name="T66" fmla="*/ 460 w 1397"/>
                <a:gd name="T67" fmla="*/ 4 h 263"/>
                <a:gd name="T68" fmla="*/ 566 w 1397"/>
                <a:gd name="T69" fmla="*/ 223 h 263"/>
                <a:gd name="T70" fmla="*/ 460 w 1397"/>
                <a:gd name="T71" fmla="*/ 4 h 263"/>
                <a:gd name="T72" fmla="*/ 345 w 1397"/>
                <a:gd name="T73" fmla="*/ 212 h 263"/>
                <a:gd name="T74" fmla="*/ 364 w 1397"/>
                <a:gd name="T75" fmla="*/ 226 h 263"/>
                <a:gd name="T76" fmla="*/ 384 w 1397"/>
                <a:gd name="T77" fmla="*/ 212 h 263"/>
                <a:gd name="T78" fmla="*/ 424 w 1397"/>
                <a:gd name="T79" fmla="*/ 4 h 263"/>
                <a:gd name="T80" fmla="*/ 419 w 1397"/>
                <a:gd name="T81" fmla="*/ 226 h 263"/>
                <a:gd name="T82" fmla="*/ 399 w 1397"/>
                <a:gd name="T83" fmla="*/ 253 h 263"/>
                <a:gd name="T84" fmla="*/ 363 w 1397"/>
                <a:gd name="T85" fmla="*/ 263 h 263"/>
                <a:gd name="T86" fmla="*/ 327 w 1397"/>
                <a:gd name="T87" fmla="*/ 253 h 263"/>
                <a:gd name="T88" fmla="*/ 307 w 1397"/>
                <a:gd name="T89" fmla="*/ 226 h 263"/>
                <a:gd name="T90" fmla="*/ 304 w 1397"/>
                <a:gd name="T91" fmla="*/ 4 h 263"/>
                <a:gd name="T92" fmla="*/ 189 w 1397"/>
                <a:gd name="T93" fmla="*/ 200 h 263"/>
                <a:gd name="T94" fmla="*/ 201 w 1397"/>
                <a:gd name="T95" fmla="*/ 225 h 263"/>
                <a:gd name="T96" fmla="*/ 225 w 1397"/>
                <a:gd name="T97" fmla="*/ 220 h 263"/>
                <a:gd name="T98" fmla="*/ 231 w 1397"/>
                <a:gd name="T99" fmla="*/ 4 h 263"/>
                <a:gd name="T100" fmla="*/ 268 w 1397"/>
                <a:gd name="T101" fmla="*/ 213 h 263"/>
                <a:gd name="T102" fmla="*/ 253 w 1397"/>
                <a:gd name="T103" fmla="*/ 246 h 263"/>
                <a:gd name="T104" fmla="*/ 223 w 1397"/>
                <a:gd name="T105" fmla="*/ 262 h 263"/>
                <a:gd name="T106" fmla="*/ 182 w 1397"/>
                <a:gd name="T107" fmla="*/ 259 h 263"/>
                <a:gd name="T108" fmla="*/ 157 w 1397"/>
                <a:gd name="T109" fmla="*/ 236 h 263"/>
                <a:gd name="T110" fmla="*/ 149 w 1397"/>
                <a:gd name="T111" fmla="*/ 198 h 263"/>
                <a:gd name="T112" fmla="*/ 0 w 1397"/>
                <a:gd name="T113" fmla="*/ 4 h 263"/>
                <a:gd name="T114" fmla="*/ 82 w 1397"/>
                <a:gd name="T115" fmla="*/ 40 h 263"/>
                <a:gd name="T116" fmla="*/ 42 w 1397"/>
                <a:gd name="T117" fmla="*/ 4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7" h="263">
                  <a:moveTo>
                    <a:pt x="1305" y="178"/>
                  </a:moveTo>
                  <a:lnTo>
                    <a:pt x="1344" y="178"/>
                  </a:lnTo>
                  <a:lnTo>
                    <a:pt x="1324" y="49"/>
                  </a:lnTo>
                  <a:lnTo>
                    <a:pt x="1305" y="178"/>
                  </a:lnTo>
                  <a:close/>
                  <a:moveTo>
                    <a:pt x="1397" y="260"/>
                  </a:moveTo>
                  <a:lnTo>
                    <a:pt x="1356" y="260"/>
                  </a:lnTo>
                  <a:lnTo>
                    <a:pt x="1349" y="213"/>
                  </a:lnTo>
                  <a:lnTo>
                    <a:pt x="1299" y="213"/>
                  </a:lnTo>
                  <a:lnTo>
                    <a:pt x="1293" y="260"/>
                  </a:lnTo>
                  <a:lnTo>
                    <a:pt x="1256" y="260"/>
                  </a:lnTo>
                  <a:lnTo>
                    <a:pt x="1297" y="4"/>
                  </a:lnTo>
                  <a:lnTo>
                    <a:pt x="1355" y="4"/>
                  </a:lnTo>
                  <a:lnTo>
                    <a:pt x="1397" y="260"/>
                  </a:lnTo>
                  <a:close/>
                  <a:moveTo>
                    <a:pt x="1145" y="186"/>
                  </a:moveTo>
                  <a:lnTo>
                    <a:pt x="1172" y="4"/>
                  </a:lnTo>
                  <a:lnTo>
                    <a:pt x="1228" y="4"/>
                  </a:lnTo>
                  <a:lnTo>
                    <a:pt x="1228" y="260"/>
                  </a:lnTo>
                  <a:lnTo>
                    <a:pt x="1190" y="260"/>
                  </a:lnTo>
                  <a:lnTo>
                    <a:pt x="1190" y="76"/>
                  </a:lnTo>
                  <a:lnTo>
                    <a:pt x="1162" y="260"/>
                  </a:lnTo>
                  <a:lnTo>
                    <a:pt x="1124" y="260"/>
                  </a:lnTo>
                  <a:lnTo>
                    <a:pt x="1094" y="79"/>
                  </a:lnTo>
                  <a:lnTo>
                    <a:pt x="1094" y="260"/>
                  </a:lnTo>
                  <a:lnTo>
                    <a:pt x="1059" y="260"/>
                  </a:lnTo>
                  <a:lnTo>
                    <a:pt x="1059" y="4"/>
                  </a:lnTo>
                  <a:lnTo>
                    <a:pt x="1115" y="4"/>
                  </a:lnTo>
                  <a:lnTo>
                    <a:pt x="1145" y="186"/>
                  </a:lnTo>
                  <a:close/>
                  <a:moveTo>
                    <a:pt x="981" y="4"/>
                  </a:moveTo>
                  <a:lnTo>
                    <a:pt x="1021" y="4"/>
                  </a:lnTo>
                  <a:lnTo>
                    <a:pt x="1021" y="260"/>
                  </a:lnTo>
                  <a:lnTo>
                    <a:pt x="981" y="260"/>
                  </a:lnTo>
                  <a:lnTo>
                    <a:pt x="981" y="4"/>
                  </a:lnTo>
                  <a:close/>
                  <a:moveTo>
                    <a:pt x="865" y="200"/>
                  </a:moveTo>
                  <a:lnTo>
                    <a:pt x="866" y="212"/>
                  </a:lnTo>
                  <a:lnTo>
                    <a:pt x="870" y="219"/>
                  </a:lnTo>
                  <a:lnTo>
                    <a:pt x="876" y="225"/>
                  </a:lnTo>
                  <a:lnTo>
                    <a:pt x="885" y="226"/>
                  </a:lnTo>
                  <a:lnTo>
                    <a:pt x="893" y="225"/>
                  </a:lnTo>
                  <a:lnTo>
                    <a:pt x="901" y="219"/>
                  </a:lnTo>
                  <a:lnTo>
                    <a:pt x="905" y="212"/>
                  </a:lnTo>
                  <a:lnTo>
                    <a:pt x="906" y="200"/>
                  </a:lnTo>
                  <a:lnTo>
                    <a:pt x="906" y="62"/>
                  </a:lnTo>
                  <a:lnTo>
                    <a:pt x="905" y="50"/>
                  </a:lnTo>
                  <a:lnTo>
                    <a:pt x="901" y="43"/>
                  </a:lnTo>
                  <a:lnTo>
                    <a:pt x="893" y="39"/>
                  </a:lnTo>
                  <a:lnTo>
                    <a:pt x="885" y="37"/>
                  </a:lnTo>
                  <a:lnTo>
                    <a:pt x="876" y="39"/>
                  </a:lnTo>
                  <a:lnTo>
                    <a:pt x="870" y="43"/>
                  </a:lnTo>
                  <a:lnTo>
                    <a:pt x="866" y="50"/>
                  </a:lnTo>
                  <a:lnTo>
                    <a:pt x="865" y="62"/>
                  </a:lnTo>
                  <a:lnTo>
                    <a:pt x="865" y="200"/>
                  </a:lnTo>
                  <a:close/>
                  <a:moveTo>
                    <a:pt x="824" y="65"/>
                  </a:moveTo>
                  <a:lnTo>
                    <a:pt x="824" y="50"/>
                  </a:lnTo>
                  <a:lnTo>
                    <a:pt x="828" y="37"/>
                  </a:lnTo>
                  <a:lnTo>
                    <a:pt x="833" y="27"/>
                  </a:lnTo>
                  <a:lnTo>
                    <a:pt x="839" y="17"/>
                  </a:lnTo>
                  <a:lnTo>
                    <a:pt x="849" y="10"/>
                  </a:lnTo>
                  <a:lnTo>
                    <a:pt x="858" y="5"/>
                  </a:lnTo>
                  <a:lnTo>
                    <a:pt x="871" y="2"/>
                  </a:lnTo>
                  <a:lnTo>
                    <a:pt x="885" y="0"/>
                  </a:lnTo>
                  <a:lnTo>
                    <a:pt x="898" y="2"/>
                  </a:lnTo>
                  <a:lnTo>
                    <a:pt x="911" y="5"/>
                  </a:lnTo>
                  <a:lnTo>
                    <a:pt x="922" y="10"/>
                  </a:lnTo>
                  <a:lnTo>
                    <a:pt x="930" y="17"/>
                  </a:lnTo>
                  <a:lnTo>
                    <a:pt x="933" y="22"/>
                  </a:lnTo>
                  <a:lnTo>
                    <a:pt x="936" y="27"/>
                  </a:lnTo>
                  <a:lnTo>
                    <a:pt x="942" y="37"/>
                  </a:lnTo>
                  <a:lnTo>
                    <a:pt x="945" y="50"/>
                  </a:lnTo>
                  <a:lnTo>
                    <a:pt x="946" y="65"/>
                  </a:lnTo>
                  <a:lnTo>
                    <a:pt x="946" y="198"/>
                  </a:lnTo>
                  <a:lnTo>
                    <a:pt x="945" y="212"/>
                  </a:lnTo>
                  <a:lnTo>
                    <a:pt x="942" y="225"/>
                  </a:lnTo>
                  <a:lnTo>
                    <a:pt x="936" y="236"/>
                  </a:lnTo>
                  <a:lnTo>
                    <a:pt x="930" y="246"/>
                  </a:lnTo>
                  <a:lnTo>
                    <a:pt x="922" y="252"/>
                  </a:lnTo>
                  <a:lnTo>
                    <a:pt x="911" y="257"/>
                  </a:lnTo>
                  <a:lnTo>
                    <a:pt x="898" y="261"/>
                  </a:lnTo>
                  <a:lnTo>
                    <a:pt x="885" y="262"/>
                  </a:lnTo>
                  <a:lnTo>
                    <a:pt x="871" y="261"/>
                  </a:lnTo>
                  <a:lnTo>
                    <a:pt x="858" y="257"/>
                  </a:lnTo>
                  <a:lnTo>
                    <a:pt x="849" y="252"/>
                  </a:lnTo>
                  <a:lnTo>
                    <a:pt x="839" y="246"/>
                  </a:lnTo>
                  <a:lnTo>
                    <a:pt x="836" y="241"/>
                  </a:lnTo>
                  <a:lnTo>
                    <a:pt x="833" y="236"/>
                  </a:lnTo>
                  <a:lnTo>
                    <a:pt x="828" y="225"/>
                  </a:lnTo>
                  <a:lnTo>
                    <a:pt x="824" y="212"/>
                  </a:lnTo>
                  <a:lnTo>
                    <a:pt x="824" y="198"/>
                  </a:lnTo>
                  <a:lnTo>
                    <a:pt x="824" y="65"/>
                  </a:lnTo>
                  <a:close/>
                  <a:moveTo>
                    <a:pt x="732" y="212"/>
                  </a:moveTo>
                  <a:lnTo>
                    <a:pt x="763" y="4"/>
                  </a:lnTo>
                  <a:lnTo>
                    <a:pt x="800" y="4"/>
                  </a:lnTo>
                  <a:lnTo>
                    <a:pt x="760" y="260"/>
                  </a:lnTo>
                  <a:lnTo>
                    <a:pt x="701" y="260"/>
                  </a:lnTo>
                  <a:lnTo>
                    <a:pt x="660" y="4"/>
                  </a:lnTo>
                  <a:lnTo>
                    <a:pt x="702" y="4"/>
                  </a:lnTo>
                  <a:lnTo>
                    <a:pt x="732" y="212"/>
                  </a:lnTo>
                  <a:close/>
                  <a:moveTo>
                    <a:pt x="593" y="4"/>
                  </a:moveTo>
                  <a:lnTo>
                    <a:pt x="633" y="4"/>
                  </a:lnTo>
                  <a:lnTo>
                    <a:pt x="633" y="260"/>
                  </a:lnTo>
                  <a:lnTo>
                    <a:pt x="593" y="260"/>
                  </a:lnTo>
                  <a:lnTo>
                    <a:pt x="593" y="4"/>
                  </a:lnTo>
                  <a:close/>
                  <a:moveTo>
                    <a:pt x="460" y="4"/>
                  </a:moveTo>
                  <a:lnTo>
                    <a:pt x="500" y="4"/>
                  </a:lnTo>
                  <a:lnTo>
                    <a:pt x="500" y="223"/>
                  </a:lnTo>
                  <a:lnTo>
                    <a:pt x="566" y="223"/>
                  </a:lnTo>
                  <a:lnTo>
                    <a:pt x="566" y="260"/>
                  </a:lnTo>
                  <a:lnTo>
                    <a:pt x="460" y="260"/>
                  </a:lnTo>
                  <a:lnTo>
                    <a:pt x="460" y="4"/>
                  </a:lnTo>
                  <a:close/>
                  <a:moveTo>
                    <a:pt x="343" y="4"/>
                  </a:moveTo>
                  <a:lnTo>
                    <a:pt x="343" y="200"/>
                  </a:lnTo>
                  <a:lnTo>
                    <a:pt x="345" y="212"/>
                  </a:lnTo>
                  <a:lnTo>
                    <a:pt x="350" y="220"/>
                  </a:lnTo>
                  <a:lnTo>
                    <a:pt x="356" y="225"/>
                  </a:lnTo>
                  <a:lnTo>
                    <a:pt x="364" y="226"/>
                  </a:lnTo>
                  <a:lnTo>
                    <a:pt x="373" y="225"/>
                  </a:lnTo>
                  <a:lnTo>
                    <a:pt x="380" y="220"/>
                  </a:lnTo>
                  <a:lnTo>
                    <a:pt x="384" y="212"/>
                  </a:lnTo>
                  <a:lnTo>
                    <a:pt x="386" y="200"/>
                  </a:lnTo>
                  <a:lnTo>
                    <a:pt x="386" y="4"/>
                  </a:lnTo>
                  <a:lnTo>
                    <a:pt x="424" y="4"/>
                  </a:lnTo>
                  <a:lnTo>
                    <a:pt x="424" y="198"/>
                  </a:lnTo>
                  <a:lnTo>
                    <a:pt x="423" y="213"/>
                  </a:lnTo>
                  <a:lnTo>
                    <a:pt x="419" y="226"/>
                  </a:lnTo>
                  <a:lnTo>
                    <a:pt x="415" y="236"/>
                  </a:lnTo>
                  <a:lnTo>
                    <a:pt x="408" y="246"/>
                  </a:lnTo>
                  <a:lnTo>
                    <a:pt x="399" y="253"/>
                  </a:lnTo>
                  <a:lnTo>
                    <a:pt x="390" y="259"/>
                  </a:lnTo>
                  <a:lnTo>
                    <a:pt x="377" y="262"/>
                  </a:lnTo>
                  <a:lnTo>
                    <a:pt x="363" y="263"/>
                  </a:lnTo>
                  <a:lnTo>
                    <a:pt x="350" y="262"/>
                  </a:lnTo>
                  <a:lnTo>
                    <a:pt x="338" y="259"/>
                  </a:lnTo>
                  <a:lnTo>
                    <a:pt x="327" y="253"/>
                  </a:lnTo>
                  <a:lnTo>
                    <a:pt x="319" y="246"/>
                  </a:lnTo>
                  <a:lnTo>
                    <a:pt x="313" y="236"/>
                  </a:lnTo>
                  <a:lnTo>
                    <a:pt x="307" y="226"/>
                  </a:lnTo>
                  <a:lnTo>
                    <a:pt x="304" y="213"/>
                  </a:lnTo>
                  <a:lnTo>
                    <a:pt x="304" y="198"/>
                  </a:lnTo>
                  <a:lnTo>
                    <a:pt x="304" y="4"/>
                  </a:lnTo>
                  <a:lnTo>
                    <a:pt x="343" y="4"/>
                  </a:lnTo>
                  <a:close/>
                  <a:moveTo>
                    <a:pt x="189" y="4"/>
                  </a:moveTo>
                  <a:lnTo>
                    <a:pt x="189" y="200"/>
                  </a:lnTo>
                  <a:lnTo>
                    <a:pt x="191" y="212"/>
                  </a:lnTo>
                  <a:lnTo>
                    <a:pt x="195" y="220"/>
                  </a:lnTo>
                  <a:lnTo>
                    <a:pt x="201" y="225"/>
                  </a:lnTo>
                  <a:lnTo>
                    <a:pt x="210" y="226"/>
                  </a:lnTo>
                  <a:lnTo>
                    <a:pt x="218" y="225"/>
                  </a:lnTo>
                  <a:lnTo>
                    <a:pt x="225" y="220"/>
                  </a:lnTo>
                  <a:lnTo>
                    <a:pt x="229" y="212"/>
                  </a:lnTo>
                  <a:lnTo>
                    <a:pt x="231" y="200"/>
                  </a:lnTo>
                  <a:lnTo>
                    <a:pt x="231" y="4"/>
                  </a:lnTo>
                  <a:lnTo>
                    <a:pt x="269" y="4"/>
                  </a:lnTo>
                  <a:lnTo>
                    <a:pt x="269" y="198"/>
                  </a:lnTo>
                  <a:lnTo>
                    <a:pt x="268" y="213"/>
                  </a:lnTo>
                  <a:lnTo>
                    <a:pt x="265" y="226"/>
                  </a:lnTo>
                  <a:lnTo>
                    <a:pt x="261" y="236"/>
                  </a:lnTo>
                  <a:lnTo>
                    <a:pt x="253" y="246"/>
                  </a:lnTo>
                  <a:lnTo>
                    <a:pt x="245" y="253"/>
                  </a:lnTo>
                  <a:lnTo>
                    <a:pt x="235" y="259"/>
                  </a:lnTo>
                  <a:lnTo>
                    <a:pt x="223" y="262"/>
                  </a:lnTo>
                  <a:lnTo>
                    <a:pt x="209" y="263"/>
                  </a:lnTo>
                  <a:lnTo>
                    <a:pt x="195" y="262"/>
                  </a:lnTo>
                  <a:lnTo>
                    <a:pt x="182" y="259"/>
                  </a:lnTo>
                  <a:lnTo>
                    <a:pt x="173" y="253"/>
                  </a:lnTo>
                  <a:lnTo>
                    <a:pt x="164" y="246"/>
                  </a:lnTo>
                  <a:lnTo>
                    <a:pt x="157" y="236"/>
                  </a:lnTo>
                  <a:lnTo>
                    <a:pt x="153" y="226"/>
                  </a:lnTo>
                  <a:lnTo>
                    <a:pt x="150" y="213"/>
                  </a:lnTo>
                  <a:lnTo>
                    <a:pt x="149" y="198"/>
                  </a:lnTo>
                  <a:lnTo>
                    <a:pt x="149" y="4"/>
                  </a:lnTo>
                  <a:lnTo>
                    <a:pt x="189" y="4"/>
                  </a:lnTo>
                  <a:close/>
                  <a:moveTo>
                    <a:pt x="0" y="4"/>
                  </a:moveTo>
                  <a:lnTo>
                    <a:pt x="124" y="4"/>
                  </a:lnTo>
                  <a:lnTo>
                    <a:pt x="124" y="40"/>
                  </a:lnTo>
                  <a:lnTo>
                    <a:pt x="82" y="40"/>
                  </a:lnTo>
                  <a:lnTo>
                    <a:pt x="82" y="260"/>
                  </a:lnTo>
                  <a:lnTo>
                    <a:pt x="42" y="260"/>
                  </a:lnTo>
                  <a:lnTo>
                    <a:pt x="42" y="40"/>
                  </a:lnTo>
                  <a:lnTo>
                    <a:pt x="0" y="4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80629502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92345-D131-4055-91EA-0CAC62819D60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559618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28001A-A66C-4A55-9010-88CD40AB9DBA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324117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6DE2D-9EBC-4408-B947-E76F5A8B5ACD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3091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392EF-C2B5-447C-BF48-E5C7BA3CA29C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77559219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E6A4BE-8449-49B3-B64E-AC4643BA78AC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2102616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BB3B77-C689-4B10-8616-DF38E55E305C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61642241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6EDC52-6163-47EB-8373-2EAAF7FC2916}" type="datetime1">
              <a:rPr lang="fi-FI" smtClean="0"/>
              <a:t>28.2.2018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0220412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18DF1A-794A-4D42-878C-663B7A0F6A05}" type="datetime1">
              <a:rPr lang="fi-FI" smtClean="0"/>
              <a:t>28.2.2018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5677257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BF18D5-A967-4094-BBC3-6ECB74363066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964833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2E7BD33-8D44-42F8-A5EC-E01FDAAEC381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7" name="Round Same Side Corner Rectangle 16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8" name="Freeform 26"/>
            <p:cNvSpPr>
              <a:spLocks noEditPoints="1"/>
            </p:cNvSpPr>
            <p:nvPr userDrawn="1"/>
          </p:nvSpPr>
          <p:spPr bwMode="auto">
            <a:xfrm>
              <a:off x="9315323" y="6471960"/>
              <a:ext cx="1045515" cy="247226"/>
            </a:xfrm>
            <a:custGeom>
              <a:avLst/>
              <a:gdLst>
                <a:gd name="T0" fmla="*/ 975 w 1109"/>
                <a:gd name="T1" fmla="*/ 4 h 263"/>
                <a:gd name="T2" fmla="*/ 897 w 1109"/>
                <a:gd name="T3" fmla="*/ 4 h 263"/>
                <a:gd name="T4" fmla="*/ 779 w 1109"/>
                <a:gd name="T5" fmla="*/ 260 h 263"/>
                <a:gd name="T6" fmla="*/ 696 w 1109"/>
                <a:gd name="T7" fmla="*/ 219 h 263"/>
                <a:gd name="T8" fmla="*/ 705 w 1109"/>
                <a:gd name="T9" fmla="*/ 175 h 263"/>
                <a:gd name="T10" fmla="*/ 691 w 1109"/>
                <a:gd name="T11" fmla="*/ 145 h 263"/>
                <a:gd name="T12" fmla="*/ 683 w 1109"/>
                <a:gd name="T13" fmla="*/ 107 h 263"/>
                <a:gd name="T14" fmla="*/ 700 w 1109"/>
                <a:gd name="T15" fmla="*/ 81 h 263"/>
                <a:gd name="T16" fmla="*/ 693 w 1109"/>
                <a:gd name="T17" fmla="*/ 44 h 263"/>
                <a:gd name="T18" fmla="*/ 741 w 1109"/>
                <a:gd name="T19" fmla="*/ 81 h 263"/>
                <a:gd name="T20" fmla="*/ 715 w 1109"/>
                <a:gd name="T21" fmla="*/ 123 h 263"/>
                <a:gd name="T22" fmla="*/ 744 w 1109"/>
                <a:gd name="T23" fmla="*/ 159 h 263"/>
                <a:gd name="T24" fmla="*/ 742 w 1109"/>
                <a:gd name="T25" fmla="*/ 225 h 263"/>
                <a:gd name="T26" fmla="*/ 716 w 1109"/>
                <a:gd name="T27" fmla="*/ 253 h 263"/>
                <a:gd name="T28" fmla="*/ 621 w 1109"/>
                <a:gd name="T29" fmla="*/ 4 h 263"/>
                <a:gd name="T30" fmla="*/ 718 w 1109"/>
                <a:gd name="T31" fmla="*/ 12 h 263"/>
                <a:gd name="T32" fmla="*/ 740 w 1109"/>
                <a:gd name="T33" fmla="*/ 43 h 263"/>
                <a:gd name="T34" fmla="*/ 506 w 1109"/>
                <a:gd name="T35" fmla="*/ 214 h 263"/>
                <a:gd name="T36" fmla="*/ 529 w 1109"/>
                <a:gd name="T37" fmla="*/ 226 h 263"/>
                <a:gd name="T38" fmla="*/ 546 w 1109"/>
                <a:gd name="T39" fmla="*/ 200 h 263"/>
                <a:gd name="T40" fmla="*/ 537 w 1109"/>
                <a:gd name="T41" fmla="*/ 41 h 263"/>
                <a:gd name="T42" fmla="*/ 510 w 1109"/>
                <a:gd name="T43" fmla="*/ 43 h 263"/>
                <a:gd name="T44" fmla="*/ 464 w 1109"/>
                <a:gd name="T45" fmla="*/ 58 h 263"/>
                <a:gd name="T46" fmla="*/ 479 w 1109"/>
                <a:gd name="T47" fmla="*/ 17 h 263"/>
                <a:gd name="T48" fmla="*/ 518 w 1109"/>
                <a:gd name="T49" fmla="*/ 0 h 263"/>
                <a:gd name="T50" fmla="*/ 562 w 1109"/>
                <a:gd name="T51" fmla="*/ 10 h 263"/>
                <a:gd name="T52" fmla="*/ 583 w 1109"/>
                <a:gd name="T53" fmla="*/ 44 h 263"/>
                <a:gd name="T54" fmla="*/ 583 w 1109"/>
                <a:gd name="T55" fmla="*/ 219 h 263"/>
                <a:gd name="T56" fmla="*/ 562 w 1109"/>
                <a:gd name="T57" fmla="*/ 253 h 263"/>
                <a:gd name="T58" fmla="*/ 518 w 1109"/>
                <a:gd name="T59" fmla="*/ 262 h 263"/>
                <a:gd name="T60" fmla="*/ 479 w 1109"/>
                <a:gd name="T61" fmla="*/ 246 h 263"/>
                <a:gd name="T62" fmla="*/ 464 w 1109"/>
                <a:gd name="T63" fmla="*/ 206 h 263"/>
                <a:gd name="T64" fmla="*/ 391 w 1109"/>
                <a:gd name="T65" fmla="*/ 260 h 263"/>
                <a:gd name="T66" fmla="*/ 259 w 1109"/>
                <a:gd name="T67" fmla="*/ 4 h 263"/>
                <a:gd name="T68" fmla="*/ 151 w 1109"/>
                <a:gd name="T69" fmla="*/ 114 h 263"/>
                <a:gd name="T70" fmla="*/ 97 w 1109"/>
                <a:gd name="T71" fmla="*/ 10 h 263"/>
                <a:gd name="T72" fmla="*/ 118 w 1109"/>
                <a:gd name="T73" fmla="*/ 44 h 263"/>
                <a:gd name="T74" fmla="*/ 82 w 1109"/>
                <a:gd name="T75" fmla="*/ 57 h 263"/>
                <a:gd name="T76" fmla="*/ 66 w 1109"/>
                <a:gd name="T77" fmla="*/ 37 h 263"/>
                <a:gd name="T78" fmla="*/ 44 w 1109"/>
                <a:gd name="T79" fmla="*/ 48 h 263"/>
                <a:gd name="T80" fmla="*/ 49 w 1109"/>
                <a:gd name="T81" fmla="*/ 88 h 263"/>
                <a:gd name="T82" fmla="*/ 102 w 1109"/>
                <a:gd name="T83" fmla="*/ 144 h 263"/>
                <a:gd name="T84" fmla="*/ 120 w 1109"/>
                <a:gd name="T85" fmla="*/ 184 h 263"/>
                <a:gd name="T86" fmla="*/ 115 w 1109"/>
                <a:gd name="T87" fmla="*/ 231 h 263"/>
                <a:gd name="T88" fmla="*/ 86 w 1109"/>
                <a:gd name="T89" fmla="*/ 257 h 263"/>
                <a:gd name="T90" fmla="*/ 41 w 1109"/>
                <a:gd name="T91" fmla="*/ 260 h 263"/>
                <a:gd name="T92" fmla="*/ 9 w 1109"/>
                <a:gd name="T93" fmla="*/ 236 h 263"/>
                <a:gd name="T94" fmla="*/ 0 w 1109"/>
                <a:gd name="T95" fmla="*/ 182 h 263"/>
                <a:gd name="T96" fmla="*/ 47 w 1109"/>
                <a:gd name="T97" fmla="*/ 223 h 263"/>
                <a:gd name="T98" fmla="*/ 74 w 1109"/>
                <a:gd name="T99" fmla="*/ 219 h 263"/>
                <a:gd name="T100" fmla="*/ 77 w 1109"/>
                <a:gd name="T101" fmla="*/ 182 h 263"/>
                <a:gd name="T102" fmla="*/ 27 w 1109"/>
                <a:gd name="T103" fmla="*/ 126 h 263"/>
                <a:gd name="T104" fmla="*/ 4 w 1109"/>
                <a:gd name="T105" fmla="*/ 84 h 263"/>
                <a:gd name="T106" fmla="*/ 6 w 1109"/>
                <a:gd name="T107" fmla="*/ 37 h 263"/>
                <a:gd name="T108" fmla="*/ 30 w 1109"/>
                <a:gd name="T109" fmla="*/ 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9" h="263">
                  <a:moveTo>
                    <a:pt x="1069" y="4"/>
                  </a:moveTo>
                  <a:lnTo>
                    <a:pt x="1109" y="4"/>
                  </a:lnTo>
                  <a:lnTo>
                    <a:pt x="1109" y="260"/>
                  </a:lnTo>
                  <a:lnTo>
                    <a:pt x="1069" y="260"/>
                  </a:lnTo>
                  <a:lnTo>
                    <a:pt x="1069" y="4"/>
                  </a:lnTo>
                  <a:close/>
                  <a:moveTo>
                    <a:pt x="935" y="4"/>
                  </a:moveTo>
                  <a:lnTo>
                    <a:pt x="975" y="4"/>
                  </a:lnTo>
                  <a:lnTo>
                    <a:pt x="975" y="223"/>
                  </a:lnTo>
                  <a:lnTo>
                    <a:pt x="1042" y="223"/>
                  </a:lnTo>
                  <a:lnTo>
                    <a:pt x="1042" y="260"/>
                  </a:lnTo>
                  <a:lnTo>
                    <a:pt x="935" y="260"/>
                  </a:lnTo>
                  <a:lnTo>
                    <a:pt x="935" y="4"/>
                  </a:lnTo>
                  <a:close/>
                  <a:moveTo>
                    <a:pt x="857" y="4"/>
                  </a:moveTo>
                  <a:lnTo>
                    <a:pt x="897" y="4"/>
                  </a:lnTo>
                  <a:lnTo>
                    <a:pt x="897" y="260"/>
                  </a:lnTo>
                  <a:lnTo>
                    <a:pt x="857" y="260"/>
                  </a:lnTo>
                  <a:lnTo>
                    <a:pt x="857" y="4"/>
                  </a:lnTo>
                  <a:close/>
                  <a:moveTo>
                    <a:pt x="779" y="4"/>
                  </a:moveTo>
                  <a:lnTo>
                    <a:pt x="819" y="4"/>
                  </a:lnTo>
                  <a:lnTo>
                    <a:pt x="819" y="260"/>
                  </a:lnTo>
                  <a:lnTo>
                    <a:pt x="779" y="260"/>
                  </a:lnTo>
                  <a:lnTo>
                    <a:pt x="779" y="4"/>
                  </a:lnTo>
                  <a:close/>
                  <a:moveTo>
                    <a:pt x="661" y="144"/>
                  </a:moveTo>
                  <a:lnTo>
                    <a:pt x="661" y="223"/>
                  </a:lnTo>
                  <a:lnTo>
                    <a:pt x="685" y="223"/>
                  </a:lnTo>
                  <a:lnTo>
                    <a:pt x="689" y="223"/>
                  </a:lnTo>
                  <a:lnTo>
                    <a:pt x="693" y="221"/>
                  </a:lnTo>
                  <a:lnTo>
                    <a:pt x="696" y="219"/>
                  </a:lnTo>
                  <a:lnTo>
                    <a:pt x="699" y="217"/>
                  </a:lnTo>
                  <a:lnTo>
                    <a:pt x="702" y="214"/>
                  </a:lnTo>
                  <a:lnTo>
                    <a:pt x="703" y="212"/>
                  </a:lnTo>
                  <a:lnTo>
                    <a:pt x="704" y="210"/>
                  </a:lnTo>
                  <a:lnTo>
                    <a:pt x="705" y="205"/>
                  </a:lnTo>
                  <a:lnTo>
                    <a:pt x="705" y="197"/>
                  </a:lnTo>
                  <a:lnTo>
                    <a:pt x="705" y="175"/>
                  </a:lnTo>
                  <a:lnTo>
                    <a:pt x="705" y="168"/>
                  </a:lnTo>
                  <a:lnTo>
                    <a:pt x="704" y="160"/>
                  </a:lnTo>
                  <a:lnTo>
                    <a:pt x="702" y="155"/>
                  </a:lnTo>
                  <a:lnTo>
                    <a:pt x="698" y="151"/>
                  </a:lnTo>
                  <a:lnTo>
                    <a:pt x="697" y="150"/>
                  </a:lnTo>
                  <a:lnTo>
                    <a:pt x="695" y="147"/>
                  </a:lnTo>
                  <a:lnTo>
                    <a:pt x="691" y="145"/>
                  </a:lnTo>
                  <a:lnTo>
                    <a:pt x="686" y="144"/>
                  </a:lnTo>
                  <a:lnTo>
                    <a:pt x="679" y="144"/>
                  </a:lnTo>
                  <a:lnTo>
                    <a:pt x="661" y="144"/>
                  </a:lnTo>
                  <a:close/>
                  <a:moveTo>
                    <a:pt x="661" y="41"/>
                  </a:moveTo>
                  <a:lnTo>
                    <a:pt x="661" y="107"/>
                  </a:lnTo>
                  <a:lnTo>
                    <a:pt x="677" y="107"/>
                  </a:lnTo>
                  <a:lnTo>
                    <a:pt x="683" y="107"/>
                  </a:lnTo>
                  <a:lnTo>
                    <a:pt x="687" y="106"/>
                  </a:lnTo>
                  <a:lnTo>
                    <a:pt x="691" y="104"/>
                  </a:lnTo>
                  <a:lnTo>
                    <a:pt x="694" y="102"/>
                  </a:lnTo>
                  <a:lnTo>
                    <a:pt x="697" y="98"/>
                  </a:lnTo>
                  <a:lnTo>
                    <a:pt x="699" y="94"/>
                  </a:lnTo>
                  <a:lnTo>
                    <a:pt x="700" y="88"/>
                  </a:lnTo>
                  <a:lnTo>
                    <a:pt x="700" y="81"/>
                  </a:lnTo>
                  <a:lnTo>
                    <a:pt x="700" y="66"/>
                  </a:lnTo>
                  <a:lnTo>
                    <a:pt x="700" y="60"/>
                  </a:lnTo>
                  <a:lnTo>
                    <a:pt x="699" y="54"/>
                  </a:lnTo>
                  <a:lnTo>
                    <a:pt x="699" y="52"/>
                  </a:lnTo>
                  <a:lnTo>
                    <a:pt x="698" y="50"/>
                  </a:lnTo>
                  <a:lnTo>
                    <a:pt x="696" y="46"/>
                  </a:lnTo>
                  <a:lnTo>
                    <a:pt x="693" y="44"/>
                  </a:lnTo>
                  <a:lnTo>
                    <a:pt x="690" y="42"/>
                  </a:lnTo>
                  <a:lnTo>
                    <a:pt x="686" y="41"/>
                  </a:lnTo>
                  <a:lnTo>
                    <a:pt x="680" y="41"/>
                  </a:lnTo>
                  <a:lnTo>
                    <a:pt x="661" y="41"/>
                  </a:lnTo>
                  <a:close/>
                  <a:moveTo>
                    <a:pt x="741" y="63"/>
                  </a:moveTo>
                  <a:lnTo>
                    <a:pt x="741" y="71"/>
                  </a:lnTo>
                  <a:lnTo>
                    <a:pt x="741" y="81"/>
                  </a:lnTo>
                  <a:lnTo>
                    <a:pt x="740" y="89"/>
                  </a:lnTo>
                  <a:lnTo>
                    <a:pt x="738" y="97"/>
                  </a:lnTo>
                  <a:lnTo>
                    <a:pt x="735" y="104"/>
                  </a:lnTo>
                  <a:lnTo>
                    <a:pt x="731" y="110"/>
                  </a:lnTo>
                  <a:lnTo>
                    <a:pt x="727" y="115"/>
                  </a:lnTo>
                  <a:lnTo>
                    <a:pt x="722" y="120"/>
                  </a:lnTo>
                  <a:lnTo>
                    <a:pt x="715" y="123"/>
                  </a:lnTo>
                  <a:lnTo>
                    <a:pt x="723" y="126"/>
                  </a:lnTo>
                  <a:lnTo>
                    <a:pt x="726" y="128"/>
                  </a:lnTo>
                  <a:lnTo>
                    <a:pt x="729" y="132"/>
                  </a:lnTo>
                  <a:lnTo>
                    <a:pt x="734" y="137"/>
                  </a:lnTo>
                  <a:lnTo>
                    <a:pt x="739" y="143"/>
                  </a:lnTo>
                  <a:lnTo>
                    <a:pt x="742" y="151"/>
                  </a:lnTo>
                  <a:lnTo>
                    <a:pt x="744" y="159"/>
                  </a:lnTo>
                  <a:lnTo>
                    <a:pt x="745" y="169"/>
                  </a:lnTo>
                  <a:lnTo>
                    <a:pt x="745" y="178"/>
                  </a:lnTo>
                  <a:lnTo>
                    <a:pt x="745" y="198"/>
                  </a:lnTo>
                  <a:lnTo>
                    <a:pt x="745" y="206"/>
                  </a:lnTo>
                  <a:lnTo>
                    <a:pt x="744" y="213"/>
                  </a:lnTo>
                  <a:lnTo>
                    <a:pt x="743" y="219"/>
                  </a:lnTo>
                  <a:lnTo>
                    <a:pt x="742" y="225"/>
                  </a:lnTo>
                  <a:lnTo>
                    <a:pt x="740" y="230"/>
                  </a:lnTo>
                  <a:lnTo>
                    <a:pt x="736" y="235"/>
                  </a:lnTo>
                  <a:lnTo>
                    <a:pt x="733" y="239"/>
                  </a:lnTo>
                  <a:lnTo>
                    <a:pt x="730" y="244"/>
                  </a:lnTo>
                  <a:lnTo>
                    <a:pt x="726" y="248"/>
                  </a:lnTo>
                  <a:lnTo>
                    <a:pt x="721" y="250"/>
                  </a:lnTo>
                  <a:lnTo>
                    <a:pt x="716" y="253"/>
                  </a:lnTo>
                  <a:lnTo>
                    <a:pt x="711" y="255"/>
                  </a:lnTo>
                  <a:lnTo>
                    <a:pt x="705" y="257"/>
                  </a:lnTo>
                  <a:lnTo>
                    <a:pt x="698" y="259"/>
                  </a:lnTo>
                  <a:lnTo>
                    <a:pt x="691" y="260"/>
                  </a:lnTo>
                  <a:lnTo>
                    <a:pt x="685" y="260"/>
                  </a:lnTo>
                  <a:lnTo>
                    <a:pt x="621" y="260"/>
                  </a:lnTo>
                  <a:lnTo>
                    <a:pt x="621" y="4"/>
                  </a:lnTo>
                  <a:lnTo>
                    <a:pt x="681" y="4"/>
                  </a:lnTo>
                  <a:lnTo>
                    <a:pt x="689" y="4"/>
                  </a:lnTo>
                  <a:lnTo>
                    <a:pt x="696" y="5"/>
                  </a:lnTo>
                  <a:lnTo>
                    <a:pt x="703" y="6"/>
                  </a:lnTo>
                  <a:lnTo>
                    <a:pt x="709" y="7"/>
                  </a:lnTo>
                  <a:lnTo>
                    <a:pt x="714" y="9"/>
                  </a:lnTo>
                  <a:lnTo>
                    <a:pt x="718" y="12"/>
                  </a:lnTo>
                  <a:lnTo>
                    <a:pt x="723" y="15"/>
                  </a:lnTo>
                  <a:lnTo>
                    <a:pt x="727" y="18"/>
                  </a:lnTo>
                  <a:lnTo>
                    <a:pt x="730" y="22"/>
                  </a:lnTo>
                  <a:lnTo>
                    <a:pt x="733" y="27"/>
                  </a:lnTo>
                  <a:lnTo>
                    <a:pt x="735" y="31"/>
                  </a:lnTo>
                  <a:lnTo>
                    <a:pt x="738" y="36"/>
                  </a:lnTo>
                  <a:lnTo>
                    <a:pt x="740" y="43"/>
                  </a:lnTo>
                  <a:lnTo>
                    <a:pt x="741" y="48"/>
                  </a:lnTo>
                  <a:lnTo>
                    <a:pt x="741" y="55"/>
                  </a:lnTo>
                  <a:lnTo>
                    <a:pt x="741" y="63"/>
                  </a:lnTo>
                  <a:close/>
                  <a:moveTo>
                    <a:pt x="504" y="200"/>
                  </a:moveTo>
                  <a:lnTo>
                    <a:pt x="505" y="207"/>
                  </a:lnTo>
                  <a:lnTo>
                    <a:pt x="506" y="212"/>
                  </a:lnTo>
                  <a:lnTo>
                    <a:pt x="506" y="214"/>
                  </a:lnTo>
                  <a:lnTo>
                    <a:pt x="507" y="216"/>
                  </a:lnTo>
                  <a:lnTo>
                    <a:pt x="510" y="220"/>
                  </a:lnTo>
                  <a:lnTo>
                    <a:pt x="512" y="223"/>
                  </a:lnTo>
                  <a:lnTo>
                    <a:pt x="516" y="225"/>
                  </a:lnTo>
                  <a:lnTo>
                    <a:pt x="521" y="226"/>
                  </a:lnTo>
                  <a:lnTo>
                    <a:pt x="525" y="226"/>
                  </a:lnTo>
                  <a:lnTo>
                    <a:pt x="529" y="226"/>
                  </a:lnTo>
                  <a:lnTo>
                    <a:pt x="533" y="225"/>
                  </a:lnTo>
                  <a:lnTo>
                    <a:pt x="537" y="223"/>
                  </a:lnTo>
                  <a:lnTo>
                    <a:pt x="540" y="220"/>
                  </a:lnTo>
                  <a:lnTo>
                    <a:pt x="543" y="216"/>
                  </a:lnTo>
                  <a:lnTo>
                    <a:pt x="544" y="212"/>
                  </a:lnTo>
                  <a:lnTo>
                    <a:pt x="545" y="207"/>
                  </a:lnTo>
                  <a:lnTo>
                    <a:pt x="546" y="200"/>
                  </a:lnTo>
                  <a:lnTo>
                    <a:pt x="546" y="63"/>
                  </a:lnTo>
                  <a:lnTo>
                    <a:pt x="545" y="57"/>
                  </a:lnTo>
                  <a:lnTo>
                    <a:pt x="544" y="51"/>
                  </a:lnTo>
                  <a:lnTo>
                    <a:pt x="543" y="48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37" y="41"/>
                  </a:lnTo>
                  <a:lnTo>
                    <a:pt x="533" y="39"/>
                  </a:lnTo>
                  <a:lnTo>
                    <a:pt x="529" y="37"/>
                  </a:lnTo>
                  <a:lnTo>
                    <a:pt x="525" y="37"/>
                  </a:lnTo>
                  <a:lnTo>
                    <a:pt x="521" y="37"/>
                  </a:lnTo>
                  <a:lnTo>
                    <a:pt x="516" y="39"/>
                  </a:lnTo>
                  <a:lnTo>
                    <a:pt x="512" y="41"/>
                  </a:lnTo>
                  <a:lnTo>
                    <a:pt x="510" y="43"/>
                  </a:lnTo>
                  <a:lnTo>
                    <a:pt x="507" y="46"/>
                  </a:lnTo>
                  <a:lnTo>
                    <a:pt x="506" y="51"/>
                  </a:lnTo>
                  <a:lnTo>
                    <a:pt x="505" y="57"/>
                  </a:lnTo>
                  <a:lnTo>
                    <a:pt x="504" y="63"/>
                  </a:lnTo>
                  <a:lnTo>
                    <a:pt x="504" y="200"/>
                  </a:lnTo>
                  <a:close/>
                  <a:moveTo>
                    <a:pt x="464" y="65"/>
                  </a:moveTo>
                  <a:lnTo>
                    <a:pt x="464" y="58"/>
                  </a:lnTo>
                  <a:lnTo>
                    <a:pt x="465" y="50"/>
                  </a:lnTo>
                  <a:lnTo>
                    <a:pt x="466" y="44"/>
                  </a:lnTo>
                  <a:lnTo>
                    <a:pt x="468" y="37"/>
                  </a:lnTo>
                  <a:lnTo>
                    <a:pt x="470" y="32"/>
                  </a:lnTo>
                  <a:lnTo>
                    <a:pt x="473" y="27"/>
                  </a:lnTo>
                  <a:lnTo>
                    <a:pt x="476" y="22"/>
                  </a:lnTo>
                  <a:lnTo>
                    <a:pt x="479" y="17"/>
                  </a:lnTo>
                  <a:lnTo>
                    <a:pt x="484" y="13"/>
                  </a:lnTo>
                  <a:lnTo>
                    <a:pt x="488" y="10"/>
                  </a:lnTo>
                  <a:lnTo>
                    <a:pt x="493" y="8"/>
                  </a:lnTo>
                  <a:lnTo>
                    <a:pt x="499" y="5"/>
                  </a:lnTo>
                  <a:lnTo>
                    <a:pt x="505" y="3"/>
                  </a:lnTo>
                  <a:lnTo>
                    <a:pt x="511" y="2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9" y="2"/>
                  </a:lnTo>
                  <a:lnTo>
                    <a:pt x="545" y="3"/>
                  </a:lnTo>
                  <a:lnTo>
                    <a:pt x="551" y="5"/>
                  </a:lnTo>
                  <a:lnTo>
                    <a:pt x="557" y="8"/>
                  </a:lnTo>
                  <a:lnTo>
                    <a:pt x="562" y="10"/>
                  </a:lnTo>
                  <a:lnTo>
                    <a:pt x="566" y="13"/>
                  </a:lnTo>
                  <a:lnTo>
                    <a:pt x="570" y="17"/>
                  </a:lnTo>
                  <a:lnTo>
                    <a:pt x="574" y="22"/>
                  </a:lnTo>
                  <a:lnTo>
                    <a:pt x="577" y="27"/>
                  </a:lnTo>
                  <a:lnTo>
                    <a:pt x="580" y="32"/>
                  </a:lnTo>
                  <a:lnTo>
                    <a:pt x="582" y="37"/>
                  </a:lnTo>
                  <a:lnTo>
                    <a:pt x="583" y="44"/>
                  </a:lnTo>
                  <a:lnTo>
                    <a:pt x="585" y="50"/>
                  </a:lnTo>
                  <a:lnTo>
                    <a:pt x="585" y="58"/>
                  </a:lnTo>
                  <a:lnTo>
                    <a:pt x="586" y="65"/>
                  </a:lnTo>
                  <a:lnTo>
                    <a:pt x="586" y="198"/>
                  </a:lnTo>
                  <a:lnTo>
                    <a:pt x="585" y="206"/>
                  </a:lnTo>
                  <a:lnTo>
                    <a:pt x="585" y="212"/>
                  </a:lnTo>
                  <a:lnTo>
                    <a:pt x="583" y="219"/>
                  </a:lnTo>
                  <a:lnTo>
                    <a:pt x="582" y="226"/>
                  </a:lnTo>
                  <a:lnTo>
                    <a:pt x="580" y="231"/>
                  </a:lnTo>
                  <a:lnTo>
                    <a:pt x="577" y="236"/>
                  </a:lnTo>
                  <a:lnTo>
                    <a:pt x="574" y="242"/>
                  </a:lnTo>
                  <a:lnTo>
                    <a:pt x="570" y="246"/>
                  </a:lnTo>
                  <a:lnTo>
                    <a:pt x="566" y="249"/>
                  </a:lnTo>
                  <a:lnTo>
                    <a:pt x="562" y="253"/>
                  </a:lnTo>
                  <a:lnTo>
                    <a:pt x="557" y="255"/>
                  </a:lnTo>
                  <a:lnTo>
                    <a:pt x="551" y="257"/>
                  </a:lnTo>
                  <a:lnTo>
                    <a:pt x="545" y="260"/>
                  </a:lnTo>
                  <a:lnTo>
                    <a:pt x="539" y="262"/>
                  </a:lnTo>
                  <a:lnTo>
                    <a:pt x="532" y="262"/>
                  </a:lnTo>
                  <a:lnTo>
                    <a:pt x="525" y="263"/>
                  </a:lnTo>
                  <a:lnTo>
                    <a:pt x="518" y="262"/>
                  </a:lnTo>
                  <a:lnTo>
                    <a:pt x="511" y="262"/>
                  </a:lnTo>
                  <a:lnTo>
                    <a:pt x="505" y="260"/>
                  </a:lnTo>
                  <a:lnTo>
                    <a:pt x="499" y="257"/>
                  </a:lnTo>
                  <a:lnTo>
                    <a:pt x="493" y="255"/>
                  </a:lnTo>
                  <a:lnTo>
                    <a:pt x="488" y="253"/>
                  </a:lnTo>
                  <a:lnTo>
                    <a:pt x="484" y="249"/>
                  </a:lnTo>
                  <a:lnTo>
                    <a:pt x="479" y="246"/>
                  </a:lnTo>
                  <a:lnTo>
                    <a:pt x="476" y="242"/>
                  </a:lnTo>
                  <a:lnTo>
                    <a:pt x="473" y="236"/>
                  </a:lnTo>
                  <a:lnTo>
                    <a:pt x="470" y="231"/>
                  </a:lnTo>
                  <a:lnTo>
                    <a:pt x="468" y="226"/>
                  </a:lnTo>
                  <a:lnTo>
                    <a:pt x="466" y="219"/>
                  </a:lnTo>
                  <a:lnTo>
                    <a:pt x="465" y="212"/>
                  </a:lnTo>
                  <a:lnTo>
                    <a:pt x="464" y="206"/>
                  </a:lnTo>
                  <a:lnTo>
                    <a:pt x="464" y="198"/>
                  </a:lnTo>
                  <a:lnTo>
                    <a:pt x="464" y="65"/>
                  </a:lnTo>
                  <a:close/>
                  <a:moveTo>
                    <a:pt x="345" y="186"/>
                  </a:moveTo>
                  <a:lnTo>
                    <a:pt x="373" y="4"/>
                  </a:lnTo>
                  <a:lnTo>
                    <a:pt x="429" y="4"/>
                  </a:lnTo>
                  <a:lnTo>
                    <a:pt x="429" y="260"/>
                  </a:lnTo>
                  <a:lnTo>
                    <a:pt x="391" y="260"/>
                  </a:lnTo>
                  <a:lnTo>
                    <a:pt x="391" y="76"/>
                  </a:lnTo>
                  <a:lnTo>
                    <a:pt x="363" y="260"/>
                  </a:lnTo>
                  <a:lnTo>
                    <a:pt x="325" y="260"/>
                  </a:lnTo>
                  <a:lnTo>
                    <a:pt x="295" y="79"/>
                  </a:lnTo>
                  <a:lnTo>
                    <a:pt x="295" y="260"/>
                  </a:lnTo>
                  <a:lnTo>
                    <a:pt x="259" y="260"/>
                  </a:lnTo>
                  <a:lnTo>
                    <a:pt x="259" y="4"/>
                  </a:lnTo>
                  <a:lnTo>
                    <a:pt x="316" y="4"/>
                  </a:lnTo>
                  <a:lnTo>
                    <a:pt x="345" y="186"/>
                  </a:lnTo>
                  <a:close/>
                  <a:moveTo>
                    <a:pt x="151" y="114"/>
                  </a:moveTo>
                  <a:lnTo>
                    <a:pt x="224" y="114"/>
                  </a:lnTo>
                  <a:lnTo>
                    <a:pt x="224" y="150"/>
                  </a:lnTo>
                  <a:lnTo>
                    <a:pt x="151" y="150"/>
                  </a:lnTo>
                  <a:lnTo>
                    <a:pt x="151" y="114"/>
                  </a:lnTo>
                  <a:close/>
                  <a:moveTo>
                    <a:pt x="61" y="0"/>
                  </a:moveTo>
                  <a:lnTo>
                    <a:pt x="68" y="0"/>
                  </a:lnTo>
                  <a:lnTo>
                    <a:pt x="74" y="2"/>
                  </a:lnTo>
                  <a:lnTo>
                    <a:pt x="81" y="3"/>
                  </a:lnTo>
                  <a:lnTo>
                    <a:pt x="86" y="5"/>
                  </a:lnTo>
                  <a:lnTo>
                    <a:pt x="91" y="8"/>
                  </a:lnTo>
                  <a:lnTo>
                    <a:pt x="97" y="10"/>
                  </a:lnTo>
                  <a:lnTo>
                    <a:pt x="101" y="13"/>
                  </a:lnTo>
                  <a:lnTo>
                    <a:pt x="105" y="17"/>
                  </a:lnTo>
                  <a:lnTo>
                    <a:pt x="108" y="22"/>
                  </a:lnTo>
                  <a:lnTo>
                    <a:pt x="111" y="27"/>
                  </a:lnTo>
                  <a:lnTo>
                    <a:pt x="115" y="32"/>
                  </a:lnTo>
                  <a:lnTo>
                    <a:pt x="117" y="37"/>
                  </a:lnTo>
                  <a:lnTo>
                    <a:pt x="118" y="44"/>
                  </a:lnTo>
                  <a:lnTo>
                    <a:pt x="119" y="50"/>
                  </a:lnTo>
                  <a:lnTo>
                    <a:pt x="120" y="58"/>
                  </a:lnTo>
                  <a:lnTo>
                    <a:pt x="120" y="65"/>
                  </a:lnTo>
                  <a:lnTo>
                    <a:pt x="120" y="73"/>
                  </a:lnTo>
                  <a:lnTo>
                    <a:pt x="82" y="73"/>
                  </a:lnTo>
                  <a:lnTo>
                    <a:pt x="82" y="63"/>
                  </a:lnTo>
                  <a:lnTo>
                    <a:pt x="82" y="57"/>
                  </a:lnTo>
                  <a:lnTo>
                    <a:pt x="81" y="51"/>
                  </a:lnTo>
                  <a:lnTo>
                    <a:pt x="79" y="46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70" y="39"/>
                  </a:lnTo>
                  <a:lnTo>
                    <a:pt x="66" y="37"/>
                  </a:lnTo>
                  <a:lnTo>
                    <a:pt x="62" y="37"/>
                  </a:lnTo>
                  <a:lnTo>
                    <a:pt x="58" y="37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5" y="46"/>
                  </a:lnTo>
                  <a:lnTo>
                    <a:pt x="44" y="48"/>
                  </a:lnTo>
                  <a:lnTo>
                    <a:pt x="43" y="51"/>
                  </a:lnTo>
                  <a:lnTo>
                    <a:pt x="42" y="57"/>
                  </a:lnTo>
                  <a:lnTo>
                    <a:pt x="42" y="63"/>
                  </a:lnTo>
                  <a:lnTo>
                    <a:pt x="43" y="71"/>
                  </a:lnTo>
                  <a:lnTo>
                    <a:pt x="44" y="77"/>
                  </a:lnTo>
                  <a:lnTo>
                    <a:pt x="45" y="81"/>
                  </a:lnTo>
                  <a:lnTo>
                    <a:pt x="49" y="88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67" y="109"/>
                  </a:lnTo>
                  <a:lnTo>
                    <a:pt x="81" y="122"/>
                  </a:lnTo>
                  <a:lnTo>
                    <a:pt x="88" y="129"/>
                  </a:lnTo>
                  <a:lnTo>
                    <a:pt x="96" y="137"/>
                  </a:lnTo>
                  <a:lnTo>
                    <a:pt x="102" y="144"/>
                  </a:lnTo>
                  <a:lnTo>
                    <a:pt x="105" y="149"/>
                  </a:lnTo>
                  <a:lnTo>
                    <a:pt x="108" y="154"/>
                  </a:lnTo>
                  <a:lnTo>
                    <a:pt x="114" y="163"/>
                  </a:lnTo>
                  <a:lnTo>
                    <a:pt x="116" y="168"/>
                  </a:lnTo>
                  <a:lnTo>
                    <a:pt x="117" y="173"/>
                  </a:lnTo>
                  <a:lnTo>
                    <a:pt x="119" y="179"/>
                  </a:lnTo>
                  <a:lnTo>
                    <a:pt x="120" y="184"/>
                  </a:lnTo>
                  <a:lnTo>
                    <a:pt x="120" y="191"/>
                  </a:lnTo>
                  <a:lnTo>
                    <a:pt x="120" y="198"/>
                  </a:lnTo>
                  <a:lnTo>
                    <a:pt x="120" y="206"/>
                  </a:lnTo>
                  <a:lnTo>
                    <a:pt x="120" y="212"/>
                  </a:lnTo>
                  <a:lnTo>
                    <a:pt x="118" y="219"/>
                  </a:lnTo>
                  <a:lnTo>
                    <a:pt x="117" y="226"/>
                  </a:lnTo>
                  <a:lnTo>
                    <a:pt x="115" y="231"/>
                  </a:lnTo>
                  <a:lnTo>
                    <a:pt x="111" y="236"/>
                  </a:lnTo>
                  <a:lnTo>
                    <a:pt x="108" y="242"/>
                  </a:lnTo>
                  <a:lnTo>
                    <a:pt x="105" y="246"/>
                  </a:lnTo>
                  <a:lnTo>
                    <a:pt x="101" y="249"/>
                  </a:lnTo>
                  <a:lnTo>
                    <a:pt x="97" y="253"/>
                  </a:lnTo>
                  <a:lnTo>
                    <a:pt x="91" y="255"/>
                  </a:lnTo>
                  <a:lnTo>
                    <a:pt x="86" y="257"/>
                  </a:lnTo>
                  <a:lnTo>
                    <a:pt x="81" y="260"/>
                  </a:lnTo>
                  <a:lnTo>
                    <a:pt x="74" y="262"/>
                  </a:lnTo>
                  <a:lnTo>
                    <a:pt x="68" y="262"/>
                  </a:lnTo>
                  <a:lnTo>
                    <a:pt x="61" y="263"/>
                  </a:lnTo>
                  <a:lnTo>
                    <a:pt x="53" y="262"/>
                  </a:lnTo>
                  <a:lnTo>
                    <a:pt x="47" y="262"/>
                  </a:lnTo>
                  <a:lnTo>
                    <a:pt x="41" y="260"/>
                  </a:lnTo>
                  <a:lnTo>
                    <a:pt x="34" y="257"/>
                  </a:lnTo>
                  <a:lnTo>
                    <a:pt x="29" y="255"/>
                  </a:lnTo>
                  <a:lnTo>
                    <a:pt x="24" y="253"/>
                  </a:lnTo>
                  <a:lnTo>
                    <a:pt x="19" y="249"/>
                  </a:lnTo>
                  <a:lnTo>
                    <a:pt x="15" y="246"/>
                  </a:lnTo>
                  <a:lnTo>
                    <a:pt x="12" y="242"/>
                  </a:lnTo>
                  <a:lnTo>
                    <a:pt x="9" y="236"/>
                  </a:lnTo>
                  <a:lnTo>
                    <a:pt x="7" y="231"/>
                  </a:lnTo>
                  <a:lnTo>
                    <a:pt x="5" y="226"/>
                  </a:lnTo>
                  <a:lnTo>
                    <a:pt x="3" y="219"/>
                  </a:lnTo>
                  <a:lnTo>
                    <a:pt x="1" y="212"/>
                  </a:lnTo>
                  <a:lnTo>
                    <a:pt x="0" y="206"/>
                  </a:lnTo>
                  <a:lnTo>
                    <a:pt x="0" y="198"/>
                  </a:lnTo>
                  <a:lnTo>
                    <a:pt x="0" y="182"/>
                  </a:lnTo>
                  <a:lnTo>
                    <a:pt x="38" y="182"/>
                  </a:lnTo>
                  <a:lnTo>
                    <a:pt x="38" y="200"/>
                  </a:lnTo>
                  <a:lnTo>
                    <a:pt x="38" y="207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9"/>
                  </a:lnTo>
                  <a:lnTo>
                    <a:pt x="47" y="223"/>
                  </a:lnTo>
                  <a:lnTo>
                    <a:pt x="51" y="224"/>
                  </a:lnTo>
                  <a:lnTo>
                    <a:pt x="54" y="225"/>
                  </a:lnTo>
                  <a:lnTo>
                    <a:pt x="60" y="226"/>
                  </a:lnTo>
                  <a:lnTo>
                    <a:pt x="64" y="225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74" y="219"/>
                  </a:lnTo>
                  <a:lnTo>
                    <a:pt x="77" y="216"/>
                  </a:lnTo>
                  <a:lnTo>
                    <a:pt x="79" y="212"/>
                  </a:lnTo>
                  <a:lnTo>
                    <a:pt x="80" y="207"/>
                  </a:lnTo>
                  <a:lnTo>
                    <a:pt x="80" y="200"/>
                  </a:lnTo>
                  <a:lnTo>
                    <a:pt x="80" y="191"/>
                  </a:lnTo>
                  <a:lnTo>
                    <a:pt x="79" y="187"/>
                  </a:lnTo>
                  <a:lnTo>
                    <a:pt x="77" y="182"/>
                  </a:lnTo>
                  <a:lnTo>
                    <a:pt x="73" y="175"/>
                  </a:lnTo>
                  <a:lnTo>
                    <a:pt x="68" y="168"/>
                  </a:lnTo>
                  <a:lnTo>
                    <a:pt x="62" y="160"/>
                  </a:lnTo>
                  <a:lnTo>
                    <a:pt x="55" y="154"/>
                  </a:lnTo>
                  <a:lnTo>
                    <a:pt x="41" y="140"/>
                  </a:lnTo>
                  <a:lnTo>
                    <a:pt x="33" y="134"/>
                  </a:lnTo>
                  <a:lnTo>
                    <a:pt x="27" y="126"/>
                  </a:lnTo>
                  <a:lnTo>
                    <a:pt x="19" y="118"/>
                  </a:lnTo>
                  <a:lnTo>
                    <a:pt x="16" y="114"/>
                  </a:lnTo>
                  <a:lnTo>
                    <a:pt x="14" y="109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5" y="89"/>
                  </a:lnTo>
                  <a:lnTo>
                    <a:pt x="4" y="84"/>
                  </a:lnTo>
                  <a:lnTo>
                    <a:pt x="3" y="78"/>
                  </a:lnTo>
                  <a:lnTo>
                    <a:pt x="1" y="71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4" y="44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0" y="27"/>
                  </a:lnTo>
                  <a:lnTo>
                    <a:pt x="13" y="22"/>
                  </a:lnTo>
                  <a:lnTo>
                    <a:pt x="16" y="17"/>
                  </a:lnTo>
                  <a:lnTo>
                    <a:pt x="20" y="13"/>
                  </a:lnTo>
                  <a:lnTo>
                    <a:pt x="25" y="10"/>
                  </a:lnTo>
                  <a:lnTo>
                    <a:pt x="30" y="8"/>
                  </a:lnTo>
                  <a:lnTo>
                    <a:pt x="35" y="5"/>
                  </a:lnTo>
                  <a:lnTo>
                    <a:pt x="41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685761955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C77C08-28B0-44D3-AD4D-CBDA8D3AB5B3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7" name="Round Same Side Corner Rectangle 16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8" name="Freeform 26"/>
            <p:cNvSpPr>
              <a:spLocks noEditPoints="1"/>
            </p:cNvSpPr>
            <p:nvPr userDrawn="1"/>
          </p:nvSpPr>
          <p:spPr bwMode="auto">
            <a:xfrm>
              <a:off x="9315323" y="6471960"/>
              <a:ext cx="1045515" cy="247226"/>
            </a:xfrm>
            <a:custGeom>
              <a:avLst/>
              <a:gdLst>
                <a:gd name="T0" fmla="*/ 975 w 1109"/>
                <a:gd name="T1" fmla="*/ 4 h 263"/>
                <a:gd name="T2" fmla="*/ 897 w 1109"/>
                <a:gd name="T3" fmla="*/ 4 h 263"/>
                <a:gd name="T4" fmla="*/ 779 w 1109"/>
                <a:gd name="T5" fmla="*/ 260 h 263"/>
                <a:gd name="T6" fmla="*/ 696 w 1109"/>
                <a:gd name="T7" fmla="*/ 219 h 263"/>
                <a:gd name="T8" fmla="*/ 705 w 1109"/>
                <a:gd name="T9" fmla="*/ 175 h 263"/>
                <a:gd name="T10" fmla="*/ 691 w 1109"/>
                <a:gd name="T11" fmla="*/ 145 h 263"/>
                <a:gd name="T12" fmla="*/ 683 w 1109"/>
                <a:gd name="T13" fmla="*/ 107 h 263"/>
                <a:gd name="T14" fmla="*/ 700 w 1109"/>
                <a:gd name="T15" fmla="*/ 81 h 263"/>
                <a:gd name="T16" fmla="*/ 693 w 1109"/>
                <a:gd name="T17" fmla="*/ 44 h 263"/>
                <a:gd name="T18" fmla="*/ 741 w 1109"/>
                <a:gd name="T19" fmla="*/ 81 h 263"/>
                <a:gd name="T20" fmla="*/ 715 w 1109"/>
                <a:gd name="T21" fmla="*/ 123 h 263"/>
                <a:gd name="T22" fmla="*/ 744 w 1109"/>
                <a:gd name="T23" fmla="*/ 159 h 263"/>
                <a:gd name="T24" fmla="*/ 742 w 1109"/>
                <a:gd name="T25" fmla="*/ 225 h 263"/>
                <a:gd name="T26" fmla="*/ 716 w 1109"/>
                <a:gd name="T27" fmla="*/ 253 h 263"/>
                <a:gd name="T28" fmla="*/ 621 w 1109"/>
                <a:gd name="T29" fmla="*/ 4 h 263"/>
                <a:gd name="T30" fmla="*/ 718 w 1109"/>
                <a:gd name="T31" fmla="*/ 12 h 263"/>
                <a:gd name="T32" fmla="*/ 740 w 1109"/>
                <a:gd name="T33" fmla="*/ 43 h 263"/>
                <a:gd name="T34" fmla="*/ 506 w 1109"/>
                <a:gd name="T35" fmla="*/ 214 h 263"/>
                <a:gd name="T36" fmla="*/ 529 w 1109"/>
                <a:gd name="T37" fmla="*/ 226 h 263"/>
                <a:gd name="T38" fmla="*/ 546 w 1109"/>
                <a:gd name="T39" fmla="*/ 200 h 263"/>
                <a:gd name="T40" fmla="*/ 537 w 1109"/>
                <a:gd name="T41" fmla="*/ 41 h 263"/>
                <a:gd name="T42" fmla="*/ 510 w 1109"/>
                <a:gd name="T43" fmla="*/ 43 h 263"/>
                <a:gd name="T44" fmla="*/ 464 w 1109"/>
                <a:gd name="T45" fmla="*/ 58 h 263"/>
                <a:gd name="T46" fmla="*/ 479 w 1109"/>
                <a:gd name="T47" fmla="*/ 17 h 263"/>
                <a:gd name="T48" fmla="*/ 518 w 1109"/>
                <a:gd name="T49" fmla="*/ 0 h 263"/>
                <a:gd name="T50" fmla="*/ 562 w 1109"/>
                <a:gd name="T51" fmla="*/ 10 h 263"/>
                <a:gd name="T52" fmla="*/ 583 w 1109"/>
                <a:gd name="T53" fmla="*/ 44 h 263"/>
                <a:gd name="T54" fmla="*/ 583 w 1109"/>
                <a:gd name="T55" fmla="*/ 219 h 263"/>
                <a:gd name="T56" fmla="*/ 562 w 1109"/>
                <a:gd name="T57" fmla="*/ 253 h 263"/>
                <a:gd name="T58" fmla="*/ 518 w 1109"/>
                <a:gd name="T59" fmla="*/ 262 h 263"/>
                <a:gd name="T60" fmla="*/ 479 w 1109"/>
                <a:gd name="T61" fmla="*/ 246 h 263"/>
                <a:gd name="T62" fmla="*/ 464 w 1109"/>
                <a:gd name="T63" fmla="*/ 206 h 263"/>
                <a:gd name="T64" fmla="*/ 391 w 1109"/>
                <a:gd name="T65" fmla="*/ 260 h 263"/>
                <a:gd name="T66" fmla="*/ 259 w 1109"/>
                <a:gd name="T67" fmla="*/ 4 h 263"/>
                <a:gd name="T68" fmla="*/ 151 w 1109"/>
                <a:gd name="T69" fmla="*/ 114 h 263"/>
                <a:gd name="T70" fmla="*/ 97 w 1109"/>
                <a:gd name="T71" fmla="*/ 10 h 263"/>
                <a:gd name="T72" fmla="*/ 118 w 1109"/>
                <a:gd name="T73" fmla="*/ 44 h 263"/>
                <a:gd name="T74" fmla="*/ 82 w 1109"/>
                <a:gd name="T75" fmla="*/ 57 h 263"/>
                <a:gd name="T76" fmla="*/ 66 w 1109"/>
                <a:gd name="T77" fmla="*/ 37 h 263"/>
                <a:gd name="T78" fmla="*/ 44 w 1109"/>
                <a:gd name="T79" fmla="*/ 48 h 263"/>
                <a:gd name="T80" fmla="*/ 49 w 1109"/>
                <a:gd name="T81" fmla="*/ 88 h 263"/>
                <a:gd name="T82" fmla="*/ 102 w 1109"/>
                <a:gd name="T83" fmla="*/ 144 h 263"/>
                <a:gd name="T84" fmla="*/ 120 w 1109"/>
                <a:gd name="T85" fmla="*/ 184 h 263"/>
                <a:gd name="T86" fmla="*/ 115 w 1109"/>
                <a:gd name="T87" fmla="*/ 231 h 263"/>
                <a:gd name="T88" fmla="*/ 86 w 1109"/>
                <a:gd name="T89" fmla="*/ 257 h 263"/>
                <a:gd name="T90" fmla="*/ 41 w 1109"/>
                <a:gd name="T91" fmla="*/ 260 h 263"/>
                <a:gd name="T92" fmla="*/ 9 w 1109"/>
                <a:gd name="T93" fmla="*/ 236 h 263"/>
                <a:gd name="T94" fmla="*/ 0 w 1109"/>
                <a:gd name="T95" fmla="*/ 182 h 263"/>
                <a:gd name="T96" fmla="*/ 47 w 1109"/>
                <a:gd name="T97" fmla="*/ 223 h 263"/>
                <a:gd name="T98" fmla="*/ 74 w 1109"/>
                <a:gd name="T99" fmla="*/ 219 h 263"/>
                <a:gd name="T100" fmla="*/ 77 w 1109"/>
                <a:gd name="T101" fmla="*/ 182 h 263"/>
                <a:gd name="T102" fmla="*/ 27 w 1109"/>
                <a:gd name="T103" fmla="*/ 126 h 263"/>
                <a:gd name="T104" fmla="*/ 4 w 1109"/>
                <a:gd name="T105" fmla="*/ 84 h 263"/>
                <a:gd name="T106" fmla="*/ 6 w 1109"/>
                <a:gd name="T107" fmla="*/ 37 h 263"/>
                <a:gd name="T108" fmla="*/ 30 w 1109"/>
                <a:gd name="T109" fmla="*/ 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9" h="263">
                  <a:moveTo>
                    <a:pt x="1069" y="4"/>
                  </a:moveTo>
                  <a:lnTo>
                    <a:pt x="1109" y="4"/>
                  </a:lnTo>
                  <a:lnTo>
                    <a:pt x="1109" y="260"/>
                  </a:lnTo>
                  <a:lnTo>
                    <a:pt x="1069" y="260"/>
                  </a:lnTo>
                  <a:lnTo>
                    <a:pt x="1069" y="4"/>
                  </a:lnTo>
                  <a:close/>
                  <a:moveTo>
                    <a:pt x="935" y="4"/>
                  </a:moveTo>
                  <a:lnTo>
                    <a:pt x="975" y="4"/>
                  </a:lnTo>
                  <a:lnTo>
                    <a:pt x="975" y="223"/>
                  </a:lnTo>
                  <a:lnTo>
                    <a:pt x="1042" y="223"/>
                  </a:lnTo>
                  <a:lnTo>
                    <a:pt x="1042" y="260"/>
                  </a:lnTo>
                  <a:lnTo>
                    <a:pt x="935" y="260"/>
                  </a:lnTo>
                  <a:lnTo>
                    <a:pt x="935" y="4"/>
                  </a:lnTo>
                  <a:close/>
                  <a:moveTo>
                    <a:pt x="857" y="4"/>
                  </a:moveTo>
                  <a:lnTo>
                    <a:pt x="897" y="4"/>
                  </a:lnTo>
                  <a:lnTo>
                    <a:pt x="897" y="260"/>
                  </a:lnTo>
                  <a:lnTo>
                    <a:pt x="857" y="260"/>
                  </a:lnTo>
                  <a:lnTo>
                    <a:pt x="857" y="4"/>
                  </a:lnTo>
                  <a:close/>
                  <a:moveTo>
                    <a:pt x="779" y="4"/>
                  </a:moveTo>
                  <a:lnTo>
                    <a:pt x="819" y="4"/>
                  </a:lnTo>
                  <a:lnTo>
                    <a:pt x="819" y="260"/>
                  </a:lnTo>
                  <a:lnTo>
                    <a:pt x="779" y="260"/>
                  </a:lnTo>
                  <a:lnTo>
                    <a:pt x="779" y="4"/>
                  </a:lnTo>
                  <a:close/>
                  <a:moveTo>
                    <a:pt x="661" y="144"/>
                  </a:moveTo>
                  <a:lnTo>
                    <a:pt x="661" y="223"/>
                  </a:lnTo>
                  <a:lnTo>
                    <a:pt x="685" y="223"/>
                  </a:lnTo>
                  <a:lnTo>
                    <a:pt x="689" y="223"/>
                  </a:lnTo>
                  <a:lnTo>
                    <a:pt x="693" y="221"/>
                  </a:lnTo>
                  <a:lnTo>
                    <a:pt x="696" y="219"/>
                  </a:lnTo>
                  <a:lnTo>
                    <a:pt x="699" y="217"/>
                  </a:lnTo>
                  <a:lnTo>
                    <a:pt x="702" y="214"/>
                  </a:lnTo>
                  <a:lnTo>
                    <a:pt x="703" y="212"/>
                  </a:lnTo>
                  <a:lnTo>
                    <a:pt x="704" y="210"/>
                  </a:lnTo>
                  <a:lnTo>
                    <a:pt x="705" y="205"/>
                  </a:lnTo>
                  <a:lnTo>
                    <a:pt x="705" y="197"/>
                  </a:lnTo>
                  <a:lnTo>
                    <a:pt x="705" y="175"/>
                  </a:lnTo>
                  <a:lnTo>
                    <a:pt x="705" y="168"/>
                  </a:lnTo>
                  <a:lnTo>
                    <a:pt x="704" y="160"/>
                  </a:lnTo>
                  <a:lnTo>
                    <a:pt x="702" y="155"/>
                  </a:lnTo>
                  <a:lnTo>
                    <a:pt x="698" y="151"/>
                  </a:lnTo>
                  <a:lnTo>
                    <a:pt x="697" y="150"/>
                  </a:lnTo>
                  <a:lnTo>
                    <a:pt x="695" y="147"/>
                  </a:lnTo>
                  <a:lnTo>
                    <a:pt x="691" y="145"/>
                  </a:lnTo>
                  <a:lnTo>
                    <a:pt x="686" y="144"/>
                  </a:lnTo>
                  <a:lnTo>
                    <a:pt x="679" y="144"/>
                  </a:lnTo>
                  <a:lnTo>
                    <a:pt x="661" y="144"/>
                  </a:lnTo>
                  <a:close/>
                  <a:moveTo>
                    <a:pt x="661" y="41"/>
                  </a:moveTo>
                  <a:lnTo>
                    <a:pt x="661" y="107"/>
                  </a:lnTo>
                  <a:lnTo>
                    <a:pt x="677" y="107"/>
                  </a:lnTo>
                  <a:lnTo>
                    <a:pt x="683" y="107"/>
                  </a:lnTo>
                  <a:lnTo>
                    <a:pt x="687" y="106"/>
                  </a:lnTo>
                  <a:lnTo>
                    <a:pt x="691" y="104"/>
                  </a:lnTo>
                  <a:lnTo>
                    <a:pt x="694" y="102"/>
                  </a:lnTo>
                  <a:lnTo>
                    <a:pt x="697" y="98"/>
                  </a:lnTo>
                  <a:lnTo>
                    <a:pt x="699" y="94"/>
                  </a:lnTo>
                  <a:lnTo>
                    <a:pt x="700" y="88"/>
                  </a:lnTo>
                  <a:lnTo>
                    <a:pt x="700" y="81"/>
                  </a:lnTo>
                  <a:lnTo>
                    <a:pt x="700" y="66"/>
                  </a:lnTo>
                  <a:lnTo>
                    <a:pt x="700" y="60"/>
                  </a:lnTo>
                  <a:lnTo>
                    <a:pt x="699" y="54"/>
                  </a:lnTo>
                  <a:lnTo>
                    <a:pt x="699" y="52"/>
                  </a:lnTo>
                  <a:lnTo>
                    <a:pt x="698" y="50"/>
                  </a:lnTo>
                  <a:lnTo>
                    <a:pt x="696" y="46"/>
                  </a:lnTo>
                  <a:lnTo>
                    <a:pt x="693" y="44"/>
                  </a:lnTo>
                  <a:lnTo>
                    <a:pt x="690" y="42"/>
                  </a:lnTo>
                  <a:lnTo>
                    <a:pt x="686" y="41"/>
                  </a:lnTo>
                  <a:lnTo>
                    <a:pt x="680" y="41"/>
                  </a:lnTo>
                  <a:lnTo>
                    <a:pt x="661" y="41"/>
                  </a:lnTo>
                  <a:close/>
                  <a:moveTo>
                    <a:pt x="741" y="63"/>
                  </a:moveTo>
                  <a:lnTo>
                    <a:pt x="741" y="71"/>
                  </a:lnTo>
                  <a:lnTo>
                    <a:pt x="741" y="81"/>
                  </a:lnTo>
                  <a:lnTo>
                    <a:pt x="740" y="89"/>
                  </a:lnTo>
                  <a:lnTo>
                    <a:pt x="738" y="97"/>
                  </a:lnTo>
                  <a:lnTo>
                    <a:pt x="735" y="104"/>
                  </a:lnTo>
                  <a:lnTo>
                    <a:pt x="731" y="110"/>
                  </a:lnTo>
                  <a:lnTo>
                    <a:pt x="727" y="115"/>
                  </a:lnTo>
                  <a:lnTo>
                    <a:pt x="722" y="120"/>
                  </a:lnTo>
                  <a:lnTo>
                    <a:pt x="715" y="123"/>
                  </a:lnTo>
                  <a:lnTo>
                    <a:pt x="723" y="126"/>
                  </a:lnTo>
                  <a:lnTo>
                    <a:pt x="726" y="128"/>
                  </a:lnTo>
                  <a:lnTo>
                    <a:pt x="729" y="132"/>
                  </a:lnTo>
                  <a:lnTo>
                    <a:pt x="734" y="137"/>
                  </a:lnTo>
                  <a:lnTo>
                    <a:pt x="739" y="143"/>
                  </a:lnTo>
                  <a:lnTo>
                    <a:pt x="742" y="151"/>
                  </a:lnTo>
                  <a:lnTo>
                    <a:pt x="744" y="159"/>
                  </a:lnTo>
                  <a:lnTo>
                    <a:pt x="745" y="169"/>
                  </a:lnTo>
                  <a:lnTo>
                    <a:pt x="745" y="178"/>
                  </a:lnTo>
                  <a:lnTo>
                    <a:pt x="745" y="198"/>
                  </a:lnTo>
                  <a:lnTo>
                    <a:pt x="745" y="206"/>
                  </a:lnTo>
                  <a:lnTo>
                    <a:pt x="744" y="213"/>
                  </a:lnTo>
                  <a:lnTo>
                    <a:pt x="743" y="219"/>
                  </a:lnTo>
                  <a:lnTo>
                    <a:pt x="742" y="225"/>
                  </a:lnTo>
                  <a:lnTo>
                    <a:pt x="740" y="230"/>
                  </a:lnTo>
                  <a:lnTo>
                    <a:pt x="736" y="235"/>
                  </a:lnTo>
                  <a:lnTo>
                    <a:pt x="733" y="239"/>
                  </a:lnTo>
                  <a:lnTo>
                    <a:pt x="730" y="244"/>
                  </a:lnTo>
                  <a:lnTo>
                    <a:pt x="726" y="248"/>
                  </a:lnTo>
                  <a:lnTo>
                    <a:pt x="721" y="250"/>
                  </a:lnTo>
                  <a:lnTo>
                    <a:pt x="716" y="253"/>
                  </a:lnTo>
                  <a:lnTo>
                    <a:pt x="711" y="255"/>
                  </a:lnTo>
                  <a:lnTo>
                    <a:pt x="705" y="257"/>
                  </a:lnTo>
                  <a:lnTo>
                    <a:pt x="698" y="259"/>
                  </a:lnTo>
                  <a:lnTo>
                    <a:pt x="691" y="260"/>
                  </a:lnTo>
                  <a:lnTo>
                    <a:pt x="685" y="260"/>
                  </a:lnTo>
                  <a:lnTo>
                    <a:pt x="621" y="260"/>
                  </a:lnTo>
                  <a:lnTo>
                    <a:pt x="621" y="4"/>
                  </a:lnTo>
                  <a:lnTo>
                    <a:pt x="681" y="4"/>
                  </a:lnTo>
                  <a:lnTo>
                    <a:pt x="689" y="4"/>
                  </a:lnTo>
                  <a:lnTo>
                    <a:pt x="696" y="5"/>
                  </a:lnTo>
                  <a:lnTo>
                    <a:pt x="703" y="6"/>
                  </a:lnTo>
                  <a:lnTo>
                    <a:pt x="709" y="7"/>
                  </a:lnTo>
                  <a:lnTo>
                    <a:pt x="714" y="9"/>
                  </a:lnTo>
                  <a:lnTo>
                    <a:pt x="718" y="12"/>
                  </a:lnTo>
                  <a:lnTo>
                    <a:pt x="723" y="15"/>
                  </a:lnTo>
                  <a:lnTo>
                    <a:pt x="727" y="18"/>
                  </a:lnTo>
                  <a:lnTo>
                    <a:pt x="730" y="22"/>
                  </a:lnTo>
                  <a:lnTo>
                    <a:pt x="733" y="27"/>
                  </a:lnTo>
                  <a:lnTo>
                    <a:pt x="735" y="31"/>
                  </a:lnTo>
                  <a:lnTo>
                    <a:pt x="738" y="36"/>
                  </a:lnTo>
                  <a:lnTo>
                    <a:pt x="740" y="43"/>
                  </a:lnTo>
                  <a:lnTo>
                    <a:pt x="741" y="48"/>
                  </a:lnTo>
                  <a:lnTo>
                    <a:pt x="741" y="55"/>
                  </a:lnTo>
                  <a:lnTo>
                    <a:pt x="741" y="63"/>
                  </a:lnTo>
                  <a:close/>
                  <a:moveTo>
                    <a:pt x="504" y="200"/>
                  </a:moveTo>
                  <a:lnTo>
                    <a:pt x="505" y="207"/>
                  </a:lnTo>
                  <a:lnTo>
                    <a:pt x="506" y="212"/>
                  </a:lnTo>
                  <a:lnTo>
                    <a:pt x="506" y="214"/>
                  </a:lnTo>
                  <a:lnTo>
                    <a:pt x="507" y="216"/>
                  </a:lnTo>
                  <a:lnTo>
                    <a:pt x="510" y="220"/>
                  </a:lnTo>
                  <a:lnTo>
                    <a:pt x="512" y="223"/>
                  </a:lnTo>
                  <a:lnTo>
                    <a:pt x="516" y="225"/>
                  </a:lnTo>
                  <a:lnTo>
                    <a:pt x="521" y="226"/>
                  </a:lnTo>
                  <a:lnTo>
                    <a:pt x="525" y="226"/>
                  </a:lnTo>
                  <a:lnTo>
                    <a:pt x="529" y="226"/>
                  </a:lnTo>
                  <a:lnTo>
                    <a:pt x="533" y="225"/>
                  </a:lnTo>
                  <a:lnTo>
                    <a:pt x="537" y="223"/>
                  </a:lnTo>
                  <a:lnTo>
                    <a:pt x="540" y="220"/>
                  </a:lnTo>
                  <a:lnTo>
                    <a:pt x="543" y="216"/>
                  </a:lnTo>
                  <a:lnTo>
                    <a:pt x="544" y="212"/>
                  </a:lnTo>
                  <a:lnTo>
                    <a:pt x="545" y="207"/>
                  </a:lnTo>
                  <a:lnTo>
                    <a:pt x="546" y="200"/>
                  </a:lnTo>
                  <a:lnTo>
                    <a:pt x="546" y="63"/>
                  </a:lnTo>
                  <a:lnTo>
                    <a:pt x="545" y="57"/>
                  </a:lnTo>
                  <a:lnTo>
                    <a:pt x="544" y="51"/>
                  </a:lnTo>
                  <a:lnTo>
                    <a:pt x="543" y="48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37" y="41"/>
                  </a:lnTo>
                  <a:lnTo>
                    <a:pt x="533" y="39"/>
                  </a:lnTo>
                  <a:lnTo>
                    <a:pt x="529" y="37"/>
                  </a:lnTo>
                  <a:lnTo>
                    <a:pt x="525" y="37"/>
                  </a:lnTo>
                  <a:lnTo>
                    <a:pt x="521" y="37"/>
                  </a:lnTo>
                  <a:lnTo>
                    <a:pt x="516" y="39"/>
                  </a:lnTo>
                  <a:lnTo>
                    <a:pt x="512" y="41"/>
                  </a:lnTo>
                  <a:lnTo>
                    <a:pt x="510" y="43"/>
                  </a:lnTo>
                  <a:lnTo>
                    <a:pt x="507" y="46"/>
                  </a:lnTo>
                  <a:lnTo>
                    <a:pt x="506" y="51"/>
                  </a:lnTo>
                  <a:lnTo>
                    <a:pt x="505" y="57"/>
                  </a:lnTo>
                  <a:lnTo>
                    <a:pt x="504" y="63"/>
                  </a:lnTo>
                  <a:lnTo>
                    <a:pt x="504" y="200"/>
                  </a:lnTo>
                  <a:close/>
                  <a:moveTo>
                    <a:pt x="464" y="65"/>
                  </a:moveTo>
                  <a:lnTo>
                    <a:pt x="464" y="58"/>
                  </a:lnTo>
                  <a:lnTo>
                    <a:pt x="465" y="50"/>
                  </a:lnTo>
                  <a:lnTo>
                    <a:pt x="466" y="44"/>
                  </a:lnTo>
                  <a:lnTo>
                    <a:pt x="468" y="37"/>
                  </a:lnTo>
                  <a:lnTo>
                    <a:pt x="470" y="32"/>
                  </a:lnTo>
                  <a:lnTo>
                    <a:pt x="473" y="27"/>
                  </a:lnTo>
                  <a:lnTo>
                    <a:pt x="476" y="22"/>
                  </a:lnTo>
                  <a:lnTo>
                    <a:pt x="479" y="17"/>
                  </a:lnTo>
                  <a:lnTo>
                    <a:pt x="484" y="13"/>
                  </a:lnTo>
                  <a:lnTo>
                    <a:pt x="488" y="10"/>
                  </a:lnTo>
                  <a:lnTo>
                    <a:pt x="493" y="8"/>
                  </a:lnTo>
                  <a:lnTo>
                    <a:pt x="499" y="5"/>
                  </a:lnTo>
                  <a:lnTo>
                    <a:pt x="505" y="3"/>
                  </a:lnTo>
                  <a:lnTo>
                    <a:pt x="511" y="2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9" y="2"/>
                  </a:lnTo>
                  <a:lnTo>
                    <a:pt x="545" y="3"/>
                  </a:lnTo>
                  <a:lnTo>
                    <a:pt x="551" y="5"/>
                  </a:lnTo>
                  <a:lnTo>
                    <a:pt x="557" y="8"/>
                  </a:lnTo>
                  <a:lnTo>
                    <a:pt x="562" y="10"/>
                  </a:lnTo>
                  <a:lnTo>
                    <a:pt x="566" y="13"/>
                  </a:lnTo>
                  <a:lnTo>
                    <a:pt x="570" y="17"/>
                  </a:lnTo>
                  <a:lnTo>
                    <a:pt x="574" y="22"/>
                  </a:lnTo>
                  <a:lnTo>
                    <a:pt x="577" y="27"/>
                  </a:lnTo>
                  <a:lnTo>
                    <a:pt x="580" y="32"/>
                  </a:lnTo>
                  <a:lnTo>
                    <a:pt x="582" y="37"/>
                  </a:lnTo>
                  <a:lnTo>
                    <a:pt x="583" y="44"/>
                  </a:lnTo>
                  <a:lnTo>
                    <a:pt x="585" y="50"/>
                  </a:lnTo>
                  <a:lnTo>
                    <a:pt x="585" y="58"/>
                  </a:lnTo>
                  <a:lnTo>
                    <a:pt x="586" y="65"/>
                  </a:lnTo>
                  <a:lnTo>
                    <a:pt x="586" y="198"/>
                  </a:lnTo>
                  <a:lnTo>
                    <a:pt x="585" y="206"/>
                  </a:lnTo>
                  <a:lnTo>
                    <a:pt x="585" y="212"/>
                  </a:lnTo>
                  <a:lnTo>
                    <a:pt x="583" y="219"/>
                  </a:lnTo>
                  <a:lnTo>
                    <a:pt x="582" y="226"/>
                  </a:lnTo>
                  <a:lnTo>
                    <a:pt x="580" y="231"/>
                  </a:lnTo>
                  <a:lnTo>
                    <a:pt x="577" y="236"/>
                  </a:lnTo>
                  <a:lnTo>
                    <a:pt x="574" y="242"/>
                  </a:lnTo>
                  <a:lnTo>
                    <a:pt x="570" y="246"/>
                  </a:lnTo>
                  <a:lnTo>
                    <a:pt x="566" y="249"/>
                  </a:lnTo>
                  <a:lnTo>
                    <a:pt x="562" y="253"/>
                  </a:lnTo>
                  <a:lnTo>
                    <a:pt x="557" y="255"/>
                  </a:lnTo>
                  <a:lnTo>
                    <a:pt x="551" y="257"/>
                  </a:lnTo>
                  <a:lnTo>
                    <a:pt x="545" y="260"/>
                  </a:lnTo>
                  <a:lnTo>
                    <a:pt x="539" y="262"/>
                  </a:lnTo>
                  <a:lnTo>
                    <a:pt x="532" y="262"/>
                  </a:lnTo>
                  <a:lnTo>
                    <a:pt x="525" y="263"/>
                  </a:lnTo>
                  <a:lnTo>
                    <a:pt x="518" y="262"/>
                  </a:lnTo>
                  <a:lnTo>
                    <a:pt x="511" y="262"/>
                  </a:lnTo>
                  <a:lnTo>
                    <a:pt x="505" y="260"/>
                  </a:lnTo>
                  <a:lnTo>
                    <a:pt x="499" y="257"/>
                  </a:lnTo>
                  <a:lnTo>
                    <a:pt x="493" y="255"/>
                  </a:lnTo>
                  <a:lnTo>
                    <a:pt x="488" y="253"/>
                  </a:lnTo>
                  <a:lnTo>
                    <a:pt x="484" y="249"/>
                  </a:lnTo>
                  <a:lnTo>
                    <a:pt x="479" y="246"/>
                  </a:lnTo>
                  <a:lnTo>
                    <a:pt x="476" y="242"/>
                  </a:lnTo>
                  <a:lnTo>
                    <a:pt x="473" y="236"/>
                  </a:lnTo>
                  <a:lnTo>
                    <a:pt x="470" y="231"/>
                  </a:lnTo>
                  <a:lnTo>
                    <a:pt x="468" y="226"/>
                  </a:lnTo>
                  <a:lnTo>
                    <a:pt x="466" y="219"/>
                  </a:lnTo>
                  <a:lnTo>
                    <a:pt x="465" y="212"/>
                  </a:lnTo>
                  <a:lnTo>
                    <a:pt x="464" y="206"/>
                  </a:lnTo>
                  <a:lnTo>
                    <a:pt x="464" y="198"/>
                  </a:lnTo>
                  <a:lnTo>
                    <a:pt x="464" y="65"/>
                  </a:lnTo>
                  <a:close/>
                  <a:moveTo>
                    <a:pt x="345" y="186"/>
                  </a:moveTo>
                  <a:lnTo>
                    <a:pt x="373" y="4"/>
                  </a:lnTo>
                  <a:lnTo>
                    <a:pt x="429" y="4"/>
                  </a:lnTo>
                  <a:lnTo>
                    <a:pt x="429" y="260"/>
                  </a:lnTo>
                  <a:lnTo>
                    <a:pt x="391" y="260"/>
                  </a:lnTo>
                  <a:lnTo>
                    <a:pt x="391" y="76"/>
                  </a:lnTo>
                  <a:lnTo>
                    <a:pt x="363" y="260"/>
                  </a:lnTo>
                  <a:lnTo>
                    <a:pt x="325" y="260"/>
                  </a:lnTo>
                  <a:lnTo>
                    <a:pt x="295" y="79"/>
                  </a:lnTo>
                  <a:lnTo>
                    <a:pt x="295" y="260"/>
                  </a:lnTo>
                  <a:lnTo>
                    <a:pt x="259" y="260"/>
                  </a:lnTo>
                  <a:lnTo>
                    <a:pt x="259" y="4"/>
                  </a:lnTo>
                  <a:lnTo>
                    <a:pt x="316" y="4"/>
                  </a:lnTo>
                  <a:lnTo>
                    <a:pt x="345" y="186"/>
                  </a:lnTo>
                  <a:close/>
                  <a:moveTo>
                    <a:pt x="151" y="114"/>
                  </a:moveTo>
                  <a:lnTo>
                    <a:pt x="224" y="114"/>
                  </a:lnTo>
                  <a:lnTo>
                    <a:pt x="224" y="150"/>
                  </a:lnTo>
                  <a:lnTo>
                    <a:pt x="151" y="150"/>
                  </a:lnTo>
                  <a:lnTo>
                    <a:pt x="151" y="114"/>
                  </a:lnTo>
                  <a:close/>
                  <a:moveTo>
                    <a:pt x="61" y="0"/>
                  </a:moveTo>
                  <a:lnTo>
                    <a:pt x="68" y="0"/>
                  </a:lnTo>
                  <a:lnTo>
                    <a:pt x="74" y="2"/>
                  </a:lnTo>
                  <a:lnTo>
                    <a:pt x="81" y="3"/>
                  </a:lnTo>
                  <a:lnTo>
                    <a:pt x="86" y="5"/>
                  </a:lnTo>
                  <a:lnTo>
                    <a:pt x="91" y="8"/>
                  </a:lnTo>
                  <a:lnTo>
                    <a:pt x="97" y="10"/>
                  </a:lnTo>
                  <a:lnTo>
                    <a:pt x="101" y="13"/>
                  </a:lnTo>
                  <a:lnTo>
                    <a:pt x="105" y="17"/>
                  </a:lnTo>
                  <a:lnTo>
                    <a:pt x="108" y="22"/>
                  </a:lnTo>
                  <a:lnTo>
                    <a:pt x="111" y="27"/>
                  </a:lnTo>
                  <a:lnTo>
                    <a:pt x="115" y="32"/>
                  </a:lnTo>
                  <a:lnTo>
                    <a:pt x="117" y="37"/>
                  </a:lnTo>
                  <a:lnTo>
                    <a:pt x="118" y="44"/>
                  </a:lnTo>
                  <a:lnTo>
                    <a:pt x="119" y="50"/>
                  </a:lnTo>
                  <a:lnTo>
                    <a:pt x="120" y="58"/>
                  </a:lnTo>
                  <a:lnTo>
                    <a:pt x="120" y="65"/>
                  </a:lnTo>
                  <a:lnTo>
                    <a:pt x="120" y="73"/>
                  </a:lnTo>
                  <a:lnTo>
                    <a:pt x="82" y="73"/>
                  </a:lnTo>
                  <a:lnTo>
                    <a:pt x="82" y="63"/>
                  </a:lnTo>
                  <a:lnTo>
                    <a:pt x="82" y="57"/>
                  </a:lnTo>
                  <a:lnTo>
                    <a:pt x="81" y="51"/>
                  </a:lnTo>
                  <a:lnTo>
                    <a:pt x="79" y="46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70" y="39"/>
                  </a:lnTo>
                  <a:lnTo>
                    <a:pt x="66" y="37"/>
                  </a:lnTo>
                  <a:lnTo>
                    <a:pt x="62" y="37"/>
                  </a:lnTo>
                  <a:lnTo>
                    <a:pt x="58" y="37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5" y="46"/>
                  </a:lnTo>
                  <a:lnTo>
                    <a:pt x="44" y="48"/>
                  </a:lnTo>
                  <a:lnTo>
                    <a:pt x="43" y="51"/>
                  </a:lnTo>
                  <a:lnTo>
                    <a:pt x="42" y="57"/>
                  </a:lnTo>
                  <a:lnTo>
                    <a:pt x="42" y="63"/>
                  </a:lnTo>
                  <a:lnTo>
                    <a:pt x="43" y="71"/>
                  </a:lnTo>
                  <a:lnTo>
                    <a:pt x="44" y="77"/>
                  </a:lnTo>
                  <a:lnTo>
                    <a:pt x="45" y="81"/>
                  </a:lnTo>
                  <a:lnTo>
                    <a:pt x="49" y="88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67" y="109"/>
                  </a:lnTo>
                  <a:lnTo>
                    <a:pt x="81" y="122"/>
                  </a:lnTo>
                  <a:lnTo>
                    <a:pt x="88" y="129"/>
                  </a:lnTo>
                  <a:lnTo>
                    <a:pt x="96" y="137"/>
                  </a:lnTo>
                  <a:lnTo>
                    <a:pt x="102" y="144"/>
                  </a:lnTo>
                  <a:lnTo>
                    <a:pt x="105" y="149"/>
                  </a:lnTo>
                  <a:lnTo>
                    <a:pt x="108" y="154"/>
                  </a:lnTo>
                  <a:lnTo>
                    <a:pt x="114" y="163"/>
                  </a:lnTo>
                  <a:lnTo>
                    <a:pt x="116" y="168"/>
                  </a:lnTo>
                  <a:lnTo>
                    <a:pt x="117" y="173"/>
                  </a:lnTo>
                  <a:lnTo>
                    <a:pt x="119" y="179"/>
                  </a:lnTo>
                  <a:lnTo>
                    <a:pt x="120" y="184"/>
                  </a:lnTo>
                  <a:lnTo>
                    <a:pt x="120" y="191"/>
                  </a:lnTo>
                  <a:lnTo>
                    <a:pt x="120" y="198"/>
                  </a:lnTo>
                  <a:lnTo>
                    <a:pt x="120" y="206"/>
                  </a:lnTo>
                  <a:lnTo>
                    <a:pt x="120" y="212"/>
                  </a:lnTo>
                  <a:lnTo>
                    <a:pt x="118" y="219"/>
                  </a:lnTo>
                  <a:lnTo>
                    <a:pt x="117" y="226"/>
                  </a:lnTo>
                  <a:lnTo>
                    <a:pt x="115" y="231"/>
                  </a:lnTo>
                  <a:lnTo>
                    <a:pt x="111" y="236"/>
                  </a:lnTo>
                  <a:lnTo>
                    <a:pt x="108" y="242"/>
                  </a:lnTo>
                  <a:lnTo>
                    <a:pt x="105" y="246"/>
                  </a:lnTo>
                  <a:lnTo>
                    <a:pt x="101" y="249"/>
                  </a:lnTo>
                  <a:lnTo>
                    <a:pt x="97" y="253"/>
                  </a:lnTo>
                  <a:lnTo>
                    <a:pt x="91" y="255"/>
                  </a:lnTo>
                  <a:lnTo>
                    <a:pt x="86" y="257"/>
                  </a:lnTo>
                  <a:lnTo>
                    <a:pt x="81" y="260"/>
                  </a:lnTo>
                  <a:lnTo>
                    <a:pt x="74" y="262"/>
                  </a:lnTo>
                  <a:lnTo>
                    <a:pt x="68" y="262"/>
                  </a:lnTo>
                  <a:lnTo>
                    <a:pt x="61" y="263"/>
                  </a:lnTo>
                  <a:lnTo>
                    <a:pt x="53" y="262"/>
                  </a:lnTo>
                  <a:lnTo>
                    <a:pt x="47" y="262"/>
                  </a:lnTo>
                  <a:lnTo>
                    <a:pt x="41" y="260"/>
                  </a:lnTo>
                  <a:lnTo>
                    <a:pt x="34" y="257"/>
                  </a:lnTo>
                  <a:lnTo>
                    <a:pt x="29" y="255"/>
                  </a:lnTo>
                  <a:lnTo>
                    <a:pt x="24" y="253"/>
                  </a:lnTo>
                  <a:lnTo>
                    <a:pt x="19" y="249"/>
                  </a:lnTo>
                  <a:lnTo>
                    <a:pt x="15" y="246"/>
                  </a:lnTo>
                  <a:lnTo>
                    <a:pt x="12" y="242"/>
                  </a:lnTo>
                  <a:lnTo>
                    <a:pt x="9" y="236"/>
                  </a:lnTo>
                  <a:lnTo>
                    <a:pt x="7" y="231"/>
                  </a:lnTo>
                  <a:lnTo>
                    <a:pt x="5" y="226"/>
                  </a:lnTo>
                  <a:lnTo>
                    <a:pt x="3" y="219"/>
                  </a:lnTo>
                  <a:lnTo>
                    <a:pt x="1" y="212"/>
                  </a:lnTo>
                  <a:lnTo>
                    <a:pt x="0" y="206"/>
                  </a:lnTo>
                  <a:lnTo>
                    <a:pt x="0" y="198"/>
                  </a:lnTo>
                  <a:lnTo>
                    <a:pt x="0" y="182"/>
                  </a:lnTo>
                  <a:lnTo>
                    <a:pt x="38" y="182"/>
                  </a:lnTo>
                  <a:lnTo>
                    <a:pt x="38" y="200"/>
                  </a:lnTo>
                  <a:lnTo>
                    <a:pt x="38" y="207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9"/>
                  </a:lnTo>
                  <a:lnTo>
                    <a:pt x="47" y="223"/>
                  </a:lnTo>
                  <a:lnTo>
                    <a:pt x="51" y="224"/>
                  </a:lnTo>
                  <a:lnTo>
                    <a:pt x="54" y="225"/>
                  </a:lnTo>
                  <a:lnTo>
                    <a:pt x="60" y="226"/>
                  </a:lnTo>
                  <a:lnTo>
                    <a:pt x="64" y="225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74" y="219"/>
                  </a:lnTo>
                  <a:lnTo>
                    <a:pt x="77" y="216"/>
                  </a:lnTo>
                  <a:lnTo>
                    <a:pt x="79" y="212"/>
                  </a:lnTo>
                  <a:lnTo>
                    <a:pt x="80" y="207"/>
                  </a:lnTo>
                  <a:lnTo>
                    <a:pt x="80" y="200"/>
                  </a:lnTo>
                  <a:lnTo>
                    <a:pt x="80" y="191"/>
                  </a:lnTo>
                  <a:lnTo>
                    <a:pt x="79" y="187"/>
                  </a:lnTo>
                  <a:lnTo>
                    <a:pt x="77" y="182"/>
                  </a:lnTo>
                  <a:lnTo>
                    <a:pt x="73" y="175"/>
                  </a:lnTo>
                  <a:lnTo>
                    <a:pt x="68" y="168"/>
                  </a:lnTo>
                  <a:lnTo>
                    <a:pt x="62" y="160"/>
                  </a:lnTo>
                  <a:lnTo>
                    <a:pt x="55" y="154"/>
                  </a:lnTo>
                  <a:lnTo>
                    <a:pt x="41" y="140"/>
                  </a:lnTo>
                  <a:lnTo>
                    <a:pt x="33" y="134"/>
                  </a:lnTo>
                  <a:lnTo>
                    <a:pt x="27" y="126"/>
                  </a:lnTo>
                  <a:lnTo>
                    <a:pt x="19" y="118"/>
                  </a:lnTo>
                  <a:lnTo>
                    <a:pt x="16" y="114"/>
                  </a:lnTo>
                  <a:lnTo>
                    <a:pt x="14" y="109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5" y="89"/>
                  </a:lnTo>
                  <a:lnTo>
                    <a:pt x="4" y="84"/>
                  </a:lnTo>
                  <a:lnTo>
                    <a:pt x="3" y="78"/>
                  </a:lnTo>
                  <a:lnTo>
                    <a:pt x="1" y="71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4" y="44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0" y="27"/>
                  </a:lnTo>
                  <a:lnTo>
                    <a:pt x="13" y="22"/>
                  </a:lnTo>
                  <a:lnTo>
                    <a:pt x="16" y="17"/>
                  </a:lnTo>
                  <a:lnTo>
                    <a:pt x="20" y="13"/>
                  </a:lnTo>
                  <a:lnTo>
                    <a:pt x="25" y="10"/>
                  </a:lnTo>
                  <a:lnTo>
                    <a:pt x="30" y="8"/>
                  </a:lnTo>
                  <a:lnTo>
                    <a:pt x="35" y="5"/>
                  </a:lnTo>
                  <a:lnTo>
                    <a:pt x="41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21057391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0864BC-DF15-4CEC-8173-1B3BF498111C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7" name="Round Same Side Corner Rectangle 16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8" name="Freeform 26"/>
            <p:cNvSpPr>
              <a:spLocks noEditPoints="1"/>
            </p:cNvSpPr>
            <p:nvPr userDrawn="1"/>
          </p:nvSpPr>
          <p:spPr bwMode="auto">
            <a:xfrm>
              <a:off x="9315323" y="6471960"/>
              <a:ext cx="1045515" cy="247226"/>
            </a:xfrm>
            <a:custGeom>
              <a:avLst/>
              <a:gdLst>
                <a:gd name="T0" fmla="*/ 975 w 1109"/>
                <a:gd name="T1" fmla="*/ 4 h 263"/>
                <a:gd name="T2" fmla="*/ 897 w 1109"/>
                <a:gd name="T3" fmla="*/ 4 h 263"/>
                <a:gd name="T4" fmla="*/ 779 w 1109"/>
                <a:gd name="T5" fmla="*/ 260 h 263"/>
                <a:gd name="T6" fmla="*/ 696 w 1109"/>
                <a:gd name="T7" fmla="*/ 219 h 263"/>
                <a:gd name="T8" fmla="*/ 705 w 1109"/>
                <a:gd name="T9" fmla="*/ 175 h 263"/>
                <a:gd name="T10" fmla="*/ 691 w 1109"/>
                <a:gd name="T11" fmla="*/ 145 h 263"/>
                <a:gd name="T12" fmla="*/ 683 w 1109"/>
                <a:gd name="T13" fmla="*/ 107 h 263"/>
                <a:gd name="T14" fmla="*/ 700 w 1109"/>
                <a:gd name="T15" fmla="*/ 81 h 263"/>
                <a:gd name="T16" fmla="*/ 693 w 1109"/>
                <a:gd name="T17" fmla="*/ 44 h 263"/>
                <a:gd name="T18" fmla="*/ 741 w 1109"/>
                <a:gd name="T19" fmla="*/ 81 h 263"/>
                <a:gd name="T20" fmla="*/ 715 w 1109"/>
                <a:gd name="T21" fmla="*/ 123 h 263"/>
                <a:gd name="T22" fmla="*/ 744 w 1109"/>
                <a:gd name="T23" fmla="*/ 159 h 263"/>
                <a:gd name="T24" fmla="*/ 742 w 1109"/>
                <a:gd name="T25" fmla="*/ 225 h 263"/>
                <a:gd name="T26" fmla="*/ 716 w 1109"/>
                <a:gd name="T27" fmla="*/ 253 h 263"/>
                <a:gd name="T28" fmla="*/ 621 w 1109"/>
                <a:gd name="T29" fmla="*/ 4 h 263"/>
                <a:gd name="T30" fmla="*/ 718 w 1109"/>
                <a:gd name="T31" fmla="*/ 12 h 263"/>
                <a:gd name="T32" fmla="*/ 740 w 1109"/>
                <a:gd name="T33" fmla="*/ 43 h 263"/>
                <a:gd name="T34" fmla="*/ 506 w 1109"/>
                <a:gd name="T35" fmla="*/ 214 h 263"/>
                <a:gd name="T36" fmla="*/ 529 w 1109"/>
                <a:gd name="T37" fmla="*/ 226 h 263"/>
                <a:gd name="T38" fmla="*/ 546 w 1109"/>
                <a:gd name="T39" fmla="*/ 200 h 263"/>
                <a:gd name="T40" fmla="*/ 537 w 1109"/>
                <a:gd name="T41" fmla="*/ 41 h 263"/>
                <a:gd name="T42" fmla="*/ 510 w 1109"/>
                <a:gd name="T43" fmla="*/ 43 h 263"/>
                <a:gd name="T44" fmla="*/ 464 w 1109"/>
                <a:gd name="T45" fmla="*/ 58 h 263"/>
                <a:gd name="T46" fmla="*/ 479 w 1109"/>
                <a:gd name="T47" fmla="*/ 17 h 263"/>
                <a:gd name="T48" fmla="*/ 518 w 1109"/>
                <a:gd name="T49" fmla="*/ 0 h 263"/>
                <a:gd name="T50" fmla="*/ 562 w 1109"/>
                <a:gd name="T51" fmla="*/ 10 h 263"/>
                <a:gd name="T52" fmla="*/ 583 w 1109"/>
                <a:gd name="T53" fmla="*/ 44 h 263"/>
                <a:gd name="T54" fmla="*/ 583 w 1109"/>
                <a:gd name="T55" fmla="*/ 219 h 263"/>
                <a:gd name="T56" fmla="*/ 562 w 1109"/>
                <a:gd name="T57" fmla="*/ 253 h 263"/>
                <a:gd name="T58" fmla="*/ 518 w 1109"/>
                <a:gd name="T59" fmla="*/ 262 h 263"/>
                <a:gd name="T60" fmla="*/ 479 w 1109"/>
                <a:gd name="T61" fmla="*/ 246 h 263"/>
                <a:gd name="T62" fmla="*/ 464 w 1109"/>
                <a:gd name="T63" fmla="*/ 206 h 263"/>
                <a:gd name="T64" fmla="*/ 391 w 1109"/>
                <a:gd name="T65" fmla="*/ 260 h 263"/>
                <a:gd name="T66" fmla="*/ 259 w 1109"/>
                <a:gd name="T67" fmla="*/ 4 h 263"/>
                <a:gd name="T68" fmla="*/ 151 w 1109"/>
                <a:gd name="T69" fmla="*/ 114 h 263"/>
                <a:gd name="T70" fmla="*/ 97 w 1109"/>
                <a:gd name="T71" fmla="*/ 10 h 263"/>
                <a:gd name="T72" fmla="*/ 118 w 1109"/>
                <a:gd name="T73" fmla="*/ 44 h 263"/>
                <a:gd name="T74" fmla="*/ 82 w 1109"/>
                <a:gd name="T75" fmla="*/ 57 h 263"/>
                <a:gd name="T76" fmla="*/ 66 w 1109"/>
                <a:gd name="T77" fmla="*/ 37 h 263"/>
                <a:gd name="T78" fmla="*/ 44 w 1109"/>
                <a:gd name="T79" fmla="*/ 48 h 263"/>
                <a:gd name="T80" fmla="*/ 49 w 1109"/>
                <a:gd name="T81" fmla="*/ 88 h 263"/>
                <a:gd name="T82" fmla="*/ 102 w 1109"/>
                <a:gd name="T83" fmla="*/ 144 h 263"/>
                <a:gd name="T84" fmla="*/ 120 w 1109"/>
                <a:gd name="T85" fmla="*/ 184 h 263"/>
                <a:gd name="T86" fmla="*/ 115 w 1109"/>
                <a:gd name="T87" fmla="*/ 231 h 263"/>
                <a:gd name="T88" fmla="*/ 86 w 1109"/>
                <a:gd name="T89" fmla="*/ 257 h 263"/>
                <a:gd name="T90" fmla="*/ 41 w 1109"/>
                <a:gd name="T91" fmla="*/ 260 h 263"/>
                <a:gd name="T92" fmla="*/ 9 w 1109"/>
                <a:gd name="T93" fmla="*/ 236 h 263"/>
                <a:gd name="T94" fmla="*/ 0 w 1109"/>
                <a:gd name="T95" fmla="*/ 182 h 263"/>
                <a:gd name="T96" fmla="*/ 47 w 1109"/>
                <a:gd name="T97" fmla="*/ 223 h 263"/>
                <a:gd name="T98" fmla="*/ 74 w 1109"/>
                <a:gd name="T99" fmla="*/ 219 h 263"/>
                <a:gd name="T100" fmla="*/ 77 w 1109"/>
                <a:gd name="T101" fmla="*/ 182 h 263"/>
                <a:gd name="T102" fmla="*/ 27 w 1109"/>
                <a:gd name="T103" fmla="*/ 126 h 263"/>
                <a:gd name="T104" fmla="*/ 4 w 1109"/>
                <a:gd name="T105" fmla="*/ 84 h 263"/>
                <a:gd name="T106" fmla="*/ 6 w 1109"/>
                <a:gd name="T107" fmla="*/ 37 h 263"/>
                <a:gd name="T108" fmla="*/ 30 w 1109"/>
                <a:gd name="T109" fmla="*/ 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9" h="263">
                  <a:moveTo>
                    <a:pt x="1069" y="4"/>
                  </a:moveTo>
                  <a:lnTo>
                    <a:pt x="1109" y="4"/>
                  </a:lnTo>
                  <a:lnTo>
                    <a:pt x="1109" y="260"/>
                  </a:lnTo>
                  <a:lnTo>
                    <a:pt x="1069" y="260"/>
                  </a:lnTo>
                  <a:lnTo>
                    <a:pt x="1069" y="4"/>
                  </a:lnTo>
                  <a:close/>
                  <a:moveTo>
                    <a:pt x="935" y="4"/>
                  </a:moveTo>
                  <a:lnTo>
                    <a:pt x="975" y="4"/>
                  </a:lnTo>
                  <a:lnTo>
                    <a:pt x="975" y="223"/>
                  </a:lnTo>
                  <a:lnTo>
                    <a:pt x="1042" y="223"/>
                  </a:lnTo>
                  <a:lnTo>
                    <a:pt x="1042" y="260"/>
                  </a:lnTo>
                  <a:lnTo>
                    <a:pt x="935" y="260"/>
                  </a:lnTo>
                  <a:lnTo>
                    <a:pt x="935" y="4"/>
                  </a:lnTo>
                  <a:close/>
                  <a:moveTo>
                    <a:pt x="857" y="4"/>
                  </a:moveTo>
                  <a:lnTo>
                    <a:pt x="897" y="4"/>
                  </a:lnTo>
                  <a:lnTo>
                    <a:pt x="897" y="260"/>
                  </a:lnTo>
                  <a:lnTo>
                    <a:pt x="857" y="260"/>
                  </a:lnTo>
                  <a:lnTo>
                    <a:pt x="857" y="4"/>
                  </a:lnTo>
                  <a:close/>
                  <a:moveTo>
                    <a:pt x="779" y="4"/>
                  </a:moveTo>
                  <a:lnTo>
                    <a:pt x="819" y="4"/>
                  </a:lnTo>
                  <a:lnTo>
                    <a:pt x="819" y="260"/>
                  </a:lnTo>
                  <a:lnTo>
                    <a:pt x="779" y="260"/>
                  </a:lnTo>
                  <a:lnTo>
                    <a:pt x="779" y="4"/>
                  </a:lnTo>
                  <a:close/>
                  <a:moveTo>
                    <a:pt x="661" y="144"/>
                  </a:moveTo>
                  <a:lnTo>
                    <a:pt x="661" y="223"/>
                  </a:lnTo>
                  <a:lnTo>
                    <a:pt x="685" y="223"/>
                  </a:lnTo>
                  <a:lnTo>
                    <a:pt x="689" y="223"/>
                  </a:lnTo>
                  <a:lnTo>
                    <a:pt x="693" y="221"/>
                  </a:lnTo>
                  <a:lnTo>
                    <a:pt x="696" y="219"/>
                  </a:lnTo>
                  <a:lnTo>
                    <a:pt x="699" y="217"/>
                  </a:lnTo>
                  <a:lnTo>
                    <a:pt x="702" y="214"/>
                  </a:lnTo>
                  <a:lnTo>
                    <a:pt x="703" y="212"/>
                  </a:lnTo>
                  <a:lnTo>
                    <a:pt x="704" y="210"/>
                  </a:lnTo>
                  <a:lnTo>
                    <a:pt x="705" y="205"/>
                  </a:lnTo>
                  <a:lnTo>
                    <a:pt x="705" y="197"/>
                  </a:lnTo>
                  <a:lnTo>
                    <a:pt x="705" y="175"/>
                  </a:lnTo>
                  <a:lnTo>
                    <a:pt x="705" y="168"/>
                  </a:lnTo>
                  <a:lnTo>
                    <a:pt x="704" y="160"/>
                  </a:lnTo>
                  <a:lnTo>
                    <a:pt x="702" y="155"/>
                  </a:lnTo>
                  <a:lnTo>
                    <a:pt x="698" y="151"/>
                  </a:lnTo>
                  <a:lnTo>
                    <a:pt x="697" y="150"/>
                  </a:lnTo>
                  <a:lnTo>
                    <a:pt x="695" y="147"/>
                  </a:lnTo>
                  <a:lnTo>
                    <a:pt x="691" y="145"/>
                  </a:lnTo>
                  <a:lnTo>
                    <a:pt x="686" y="144"/>
                  </a:lnTo>
                  <a:lnTo>
                    <a:pt x="679" y="144"/>
                  </a:lnTo>
                  <a:lnTo>
                    <a:pt x="661" y="144"/>
                  </a:lnTo>
                  <a:close/>
                  <a:moveTo>
                    <a:pt x="661" y="41"/>
                  </a:moveTo>
                  <a:lnTo>
                    <a:pt x="661" y="107"/>
                  </a:lnTo>
                  <a:lnTo>
                    <a:pt x="677" y="107"/>
                  </a:lnTo>
                  <a:lnTo>
                    <a:pt x="683" y="107"/>
                  </a:lnTo>
                  <a:lnTo>
                    <a:pt x="687" y="106"/>
                  </a:lnTo>
                  <a:lnTo>
                    <a:pt x="691" y="104"/>
                  </a:lnTo>
                  <a:lnTo>
                    <a:pt x="694" y="102"/>
                  </a:lnTo>
                  <a:lnTo>
                    <a:pt x="697" y="98"/>
                  </a:lnTo>
                  <a:lnTo>
                    <a:pt x="699" y="94"/>
                  </a:lnTo>
                  <a:lnTo>
                    <a:pt x="700" y="88"/>
                  </a:lnTo>
                  <a:lnTo>
                    <a:pt x="700" y="81"/>
                  </a:lnTo>
                  <a:lnTo>
                    <a:pt x="700" y="66"/>
                  </a:lnTo>
                  <a:lnTo>
                    <a:pt x="700" y="60"/>
                  </a:lnTo>
                  <a:lnTo>
                    <a:pt x="699" y="54"/>
                  </a:lnTo>
                  <a:lnTo>
                    <a:pt x="699" y="52"/>
                  </a:lnTo>
                  <a:lnTo>
                    <a:pt x="698" y="50"/>
                  </a:lnTo>
                  <a:lnTo>
                    <a:pt x="696" y="46"/>
                  </a:lnTo>
                  <a:lnTo>
                    <a:pt x="693" y="44"/>
                  </a:lnTo>
                  <a:lnTo>
                    <a:pt x="690" y="42"/>
                  </a:lnTo>
                  <a:lnTo>
                    <a:pt x="686" y="41"/>
                  </a:lnTo>
                  <a:lnTo>
                    <a:pt x="680" y="41"/>
                  </a:lnTo>
                  <a:lnTo>
                    <a:pt x="661" y="41"/>
                  </a:lnTo>
                  <a:close/>
                  <a:moveTo>
                    <a:pt x="741" y="63"/>
                  </a:moveTo>
                  <a:lnTo>
                    <a:pt x="741" y="71"/>
                  </a:lnTo>
                  <a:lnTo>
                    <a:pt x="741" y="81"/>
                  </a:lnTo>
                  <a:lnTo>
                    <a:pt x="740" y="89"/>
                  </a:lnTo>
                  <a:lnTo>
                    <a:pt x="738" y="97"/>
                  </a:lnTo>
                  <a:lnTo>
                    <a:pt x="735" y="104"/>
                  </a:lnTo>
                  <a:lnTo>
                    <a:pt x="731" y="110"/>
                  </a:lnTo>
                  <a:lnTo>
                    <a:pt x="727" y="115"/>
                  </a:lnTo>
                  <a:lnTo>
                    <a:pt x="722" y="120"/>
                  </a:lnTo>
                  <a:lnTo>
                    <a:pt x="715" y="123"/>
                  </a:lnTo>
                  <a:lnTo>
                    <a:pt x="723" y="126"/>
                  </a:lnTo>
                  <a:lnTo>
                    <a:pt x="726" y="128"/>
                  </a:lnTo>
                  <a:lnTo>
                    <a:pt x="729" y="132"/>
                  </a:lnTo>
                  <a:lnTo>
                    <a:pt x="734" y="137"/>
                  </a:lnTo>
                  <a:lnTo>
                    <a:pt x="739" y="143"/>
                  </a:lnTo>
                  <a:lnTo>
                    <a:pt x="742" y="151"/>
                  </a:lnTo>
                  <a:lnTo>
                    <a:pt x="744" y="159"/>
                  </a:lnTo>
                  <a:lnTo>
                    <a:pt x="745" y="169"/>
                  </a:lnTo>
                  <a:lnTo>
                    <a:pt x="745" y="178"/>
                  </a:lnTo>
                  <a:lnTo>
                    <a:pt x="745" y="198"/>
                  </a:lnTo>
                  <a:lnTo>
                    <a:pt x="745" y="206"/>
                  </a:lnTo>
                  <a:lnTo>
                    <a:pt x="744" y="213"/>
                  </a:lnTo>
                  <a:lnTo>
                    <a:pt x="743" y="219"/>
                  </a:lnTo>
                  <a:lnTo>
                    <a:pt x="742" y="225"/>
                  </a:lnTo>
                  <a:lnTo>
                    <a:pt x="740" y="230"/>
                  </a:lnTo>
                  <a:lnTo>
                    <a:pt x="736" y="235"/>
                  </a:lnTo>
                  <a:lnTo>
                    <a:pt x="733" y="239"/>
                  </a:lnTo>
                  <a:lnTo>
                    <a:pt x="730" y="244"/>
                  </a:lnTo>
                  <a:lnTo>
                    <a:pt x="726" y="248"/>
                  </a:lnTo>
                  <a:lnTo>
                    <a:pt x="721" y="250"/>
                  </a:lnTo>
                  <a:lnTo>
                    <a:pt x="716" y="253"/>
                  </a:lnTo>
                  <a:lnTo>
                    <a:pt x="711" y="255"/>
                  </a:lnTo>
                  <a:lnTo>
                    <a:pt x="705" y="257"/>
                  </a:lnTo>
                  <a:lnTo>
                    <a:pt x="698" y="259"/>
                  </a:lnTo>
                  <a:lnTo>
                    <a:pt x="691" y="260"/>
                  </a:lnTo>
                  <a:lnTo>
                    <a:pt x="685" y="260"/>
                  </a:lnTo>
                  <a:lnTo>
                    <a:pt x="621" y="260"/>
                  </a:lnTo>
                  <a:lnTo>
                    <a:pt x="621" y="4"/>
                  </a:lnTo>
                  <a:lnTo>
                    <a:pt x="681" y="4"/>
                  </a:lnTo>
                  <a:lnTo>
                    <a:pt x="689" y="4"/>
                  </a:lnTo>
                  <a:lnTo>
                    <a:pt x="696" y="5"/>
                  </a:lnTo>
                  <a:lnTo>
                    <a:pt x="703" y="6"/>
                  </a:lnTo>
                  <a:lnTo>
                    <a:pt x="709" y="7"/>
                  </a:lnTo>
                  <a:lnTo>
                    <a:pt x="714" y="9"/>
                  </a:lnTo>
                  <a:lnTo>
                    <a:pt x="718" y="12"/>
                  </a:lnTo>
                  <a:lnTo>
                    <a:pt x="723" y="15"/>
                  </a:lnTo>
                  <a:lnTo>
                    <a:pt x="727" y="18"/>
                  </a:lnTo>
                  <a:lnTo>
                    <a:pt x="730" y="22"/>
                  </a:lnTo>
                  <a:lnTo>
                    <a:pt x="733" y="27"/>
                  </a:lnTo>
                  <a:lnTo>
                    <a:pt x="735" y="31"/>
                  </a:lnTo>
                  <a:lnTo>
                    <a:pt x="738" y="36"/>
                  </a:lnTo>
                  <a:lnTo>
                    <a:pt x="740" y="43"/>
                  </a:lnTo>
                  <a:lnTo>
                    <a:pt x="741" y="48"/>
                  </a:lnTo>
                  <a:lnTo>
                    <a:pt x="741" y="55"/>
                  </a:lnTo>
                  <a:lnTo>
                    <a:pt x="741" y="63"/>
                  </a:lnTo>
                  <a:close/>
                  <a:moveTo>
                    <a:pt x="504" y="200"/>
                  </a:moveTo>
                  <a:lnTo>
                    <a:pt x="505" y="207"/>
                  </a:lnTo>
                  <a:lnTo>
                    <a:pt x="506" y="212"/>
                  </a:lnTo>
                  <a:lnTo>
                    <a:pt x="506" y="214"/>
                  </a:lnTo>
                  <a:lnTo>
                    <a:pt x="507" y="216"/>
                  </a:lnTo>
                  <a:lnTo>
                    <a:pt x="510" y="220"/>
                  </a:lnTo>
                  <a:lnTo>
                    <a:pt x="512" y="223"/>
                  </a:lnTo>
                  <a:lnTo>
                    <a:pt x="516" y="225"/>
                  </a:lnTo>
                  <a:lnTo>
                    <a:pt x="521" y="226"/>
                  </a:lnTo>
                  <a:lnTo>
                    <a:pt x="525" y="226"/>
                  </a:lnTo>
                  <a:lnTo>
                    <a:pt x="529" y="226"/>
                  </a:lnTo>
                  <a:lnTo>
                    <a:pt x="533" y="225"/>
                  </a:lnTo>
                  <a:lnTo>
                    <a:pt x="537" y="223"/>
                  </a:lnTo>
                  <a:lnTo>
                    <a:pt x="540" y="220"/>
                  </a:lnTo>
                  <a:lnTo>
                    <a:pt x="543" y="216"/>
                  </a:lnTo>
                  <a:lnTo>
                    <a:pt x="544" y="212"/>
                  </a:lnTo>
                  <a:lnTo>
                    <a:pt x="545" y="207"/>
                  </a:lnTo>
                  <a:lnTo>
                    <a:pt x="546" y="200"/>
                  </a:lnTo>
                  <a:lnTo>
                    <a:pt x="546" y="63"/>
                  </a:lnTo>
                  <a:lnTo>
                    <a:pt x="545" y="57"/>
                  </a:lnTo>
                  <a:lnTo>
                    <a:pt x="544" y="51"/>
                  </a:lnTo>
                  <a:lnTo>
                    <a:pt x="543" y="48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37" y="41"/>
                  </a:lnTo>
                  <a:lnTo>
                    <a:pt x="533" y="39"/>
                  </a:lnTo>
                  <a:lnTo>
                    <a:pt x="529" y="37"/>
                  </a:lnTo>
                  <a:lnTo>
                    <a:pt x="525" y="37"/>
                  </a:lnTo>
                  <a:lnTo>
                    <a:pt x="521" y="37"/>
                  </a:lnTo>
                  <a:lnTo>
                    <a:pt x="516" y="39"/>
                  </a:lnTo>
                  <a:lnTo>
                    <a:pt x="512" y="41"/>
                  </a:lnTo>
                  <a:lnTo>
                    <a:pt x="510" y="43"/>
                  </a:lnTo>
                  <a:lnTo>
                    <a:pt x="507" y="46"/>
                  </a:lnTo>
                  <a:lnTo>
                    <a:pt x="506" y="51"/>
                  </a:lnTo>
                  <a:lnTo>
                    <a:pt x="505" y="57"/>
                  </a:lnTo>
                  <a:lnTo>
                    <a:pt x="504" y="63"/>
                  </a:lnTo>
                  <a:lnTo>
                    <a:pt x="504" y="200"/>
                  </a:lnTo>
                  <a:close/>
                  <a:moveTo>
                    <a:pt x="464" y="65"/>
                  </a:moveTo>
                  <a:lnTo>
                    <a:pt x="464" y="58"/>
                  </a:lnTo>
                  <a:lnTo>
                    <a:pt x="465" y="50"/>
                  </a:lnTo>
                  <a:lnTo>
                    <a:pt x="466" y="44"/>
                  </a:lnTo>
                  <a:lnTo>
                    <a:pt x="468" y="37"/>
                  </a:lnTo>
                  <a:lnTo>
                    <a:pt x="470" y="32"/>
                  </a:lnTo>
                  <a:lnTo>
                    <a:pt x="473" y="27"/>
                  </a:lnTo>
                  <a:lnTo>
                    <a:pt x="476" y="22"/>
                  </a:lnTo>
                  <a:lnTo>
                    <a:pt x="479" y="17"/>
                  </a:lnTo>
                  <a:lnTo>
                    <a:pt x="484" y="13"/>
                  </a:lnTo>
                  <a:lnTo>
                    <a:pt x="488" y="10"/>
                  </a:lnTo>
                  <a:lnTo>
                    <a:pt x="493" y="8"/>
                  </a:lnTo>
                  <a:lnTo>
                    <a:pt x="499" y="5"/>
                  </a:lnTo>
                  <a:lnTo>
                    <a:pt x="505" y="3"/>
                  </a:lnTo>
                  <a:lnTo>
                    <a:pt x="511" y="2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9" y="2"/>
                  </a:lnTo>
                  <a:lnTo>
                    <a:pt x="545" y="3"/>
                  </a:lnTo>
                  <a:lnTo>
                    <a:pt x="551" y="5"/>
                  </a:lnTo>
                  <a:lnTo>
                    <a:pt x="557" y="8"/>
                  </a:lnTo>
                  <a:lnTo>
                    <a:pt x="562" y="10"/>
                  </a:lnTo>
                  <a:lnTo>
                    <a:pt x="566" y="13"/>
                  </a:lnTo>
                  <a:lnTo>
                    <a:pt x="570" y="17"/>
                  </a:lnTo>
                  <a:lnTo>
                    <a:pt x="574" y="22"/>
                  </a:lnTo>
                  <a:lnTo>
                    <a:pt x="577" y="27"/>
                  </a:lnTo>
                  <a:lnTo>
                    <a:pt x="580" y="32"/>
                  </a:lnTo>
                  <a:lnTo>
                    <a:pt x="582" y="37"/>
                  </a:lnTo>
                  <a:lnTo>
                    <a:pt x="583" y="44"/>
                  </a:lnTo>
                  <a:lnTo>
                    <a:pt x="585" y="50"/>
                  </a:lnTo>
                  <a:lnTo>
                    <a:pt x="585" y="58"/>
                  </a:lnTo>
                  <a:lnTo>
                    <a:pt x="586" y="65"/>
                  </a:lnTo>
                  <a:lnTo>
                    <a:pt x="586" y="198"/>
                  </a:lnTo>
                  <a:lnTo>
                    <a:pt x="585" y="206"/>
                  </a:lnTo>
                  <a:lnTo>
                    <a:pt x="585" y="212"/>
                  </a:lnTo>
                  <a:lnTo>
                    <a:pt x="583" y="219"/>
                  </a:lnTo>
                  <a:lnTo>
                    <a:pt x="582" y="226"/>
                  </a:lnTo>
                  <a:lnTo>
                    <a:pt x="580" y="231"/>
                  </a:lnTo>
                  <a:lnTo>
                    <a:pt x="577" y="236"/>
                  </a:lnTo>
                  <a:lnTo>
                    <a:pt x="574" y="242"/>
                  </a:lnTo>
                  <a:lnTo>
                    <a:pt x="570" y="246"/>
                  </a:lnTo>
                  <a:lnTo>
                    <a:pt x="566" y="249"/>
                  </a:lnTo>
                  <a:lnTo>
                    <a:pt x="562" y="253"/>
                  </a:lnTo>
                  <a:lnTo>
                    <a:pt x="557" y="255"/>
                  </a:lnTo>
                  <a:lnTo>
                    <a:pt x="551" y="257"/>
                  </a:lnTo>
                  <a:lnTo>
                    <a:pt x="545" y="260"/>
                  </a:lnTo>
                  <a:lnTo>
                    <a:pt x="539" y="262"/>
                  </a:lnTo>
                  <a:lnTo>
                    <a:pt x="532" y="262"/>
                  </a:lnTo>
                  <a:lnTo>
                    <a:pt x="525" y="263"/>
                  </a:lnTo>
                  <a:lnTo>
                    <a:pt x="518" y="262"/>
                  </a:lnTo>
                  <a:lnTo>
                    <a:pt x="511" y="262"/>
                  </a:lnTo>
                  <a:lnTo>
                    <a:pt x="505" y="260"/>
                  </a:lnTo>
                  <a:lnTo>
                    <a:pt x="499" y="257"/>
                  </a:lnTo>
                  <a:lnTo>
                    <a:pt x="493" y="255"/>
                  </a:lnTo>
                  <a:lnTo>
                    <a:pt x="488" y="253"/>
                  </a:lnTo>
                  <a:lnTo>
                    <a:pt x="484" y="249"/>
                  </a:lnTo>
                  <a:lnTo>
                    <a:pt x="479" y="246"/>
                  </a:lnTo>
                  <a:lnTo>
                    <a:pt x="476" y="242"/>
                  </a:lnTo>
                  <a:lnTo>
                    <a:pt x="473" y="236"/>
                  </a:lnTo>
                  <a:lnTo>
                    <a:pt x="470" y="231"/>
                  </a:lnTo>
                  <a:lnTo>
                    <a:pt x="468" y="226"/>
                  </a:lnTo>
                  <a:lnTo>
                    <a:pt x="466" y="219"/>
                  </a:lnTo>
                  <a:lnTo>
                    <a:pt x="465" y="212"/>
                  </a:lnTo>
                  <a:lnTo>
                    <a:pt x="464" y="206"/>
                  </a:lnTo>
                  <a:lnTo>
                    <a:pt x="464" y="198"/>
                  </a:lnTo>
                  <a:lnTo>
                    <a:pt x="464" y="65"/>
                  </a:lnTo>
                  <a:close/>
                  <a:moveTo>
                    <a:pt x="345" y="186"/>
                  </a:moveTo>
                  <a:lnTo>
                    <a:pt x="373" y="4"/>
                  </a:lnTo>
                  <a:lnTo>
                    <a:pt x="429" y="4"/>
                  </a:lnTo>
                  <a:lnTo>
                    <a:pt x="429" y="260"/>
                  </a:lnTo>
                  <a:lnTo>
                    <a:pt x="391" y="260"/>
                  </a:lnTo>
                  <a:lnTo>
                    <a:pt x="391" y="76"/>
                  </a:lnTo>
                  <a:lnTo>
                    <a:pt x="363" y="260"/>
                  </a:lnTo>
                  <a:lnTo>
                    <a:pt x="325" y="260"/>
                  </a:lnTo>
                  <a:lnTo>
                    <a:pt x="295" y="79"/>
                  </a:lnTo>
                  <a:lnTo>
                    <a:pt x="295" y="260"/>
                  </a:lnTo>
                  <a:lnTo>
                    <a:pt x="259" y="260"/>
                  </a:lnTo>
                  <a:lnTo>
                    <a:pt x="259" y="4"/>
                  </a:lnTo>
                  <a:lnTo>
                    <a:pt x="316" y="4"/>
                  </a:lnTo>
                  <a:lnTo>
                    <a:pt x="345" y="186"/>
                  </a:lnTo>
                  <a:close/>
                  <a:moveTo>
                    <a:pt x="151" y="114"/>
                  </a:moveTo>
                  <a:lnTo>
                    <a:pt x="224" y="114"/>
                  </a:lnTo>
                  <a:lnTo>
                    <a:pt x="224" y="150"/>
                  </a:lnTo>
                  <a:lnTo>
                    <a:pt x="151" y="150"/>
                  </a:lnTo>
                  <a:lnTo>
                    <a:pt x="151" y="114"/>
                  </a:lnTo>
                  <a:close/>
                  <a:moveTo>
                    <a:pt x="61" y="0"/>
                  </a:moveTo>
                  <a:lnTo>
                    <a:pt x="68" y="0"/>
                  </a:lnTo>
                  <a:lnTo>
                    <a:pt x="74" y="2"/>
                  </a:lnTo>
                  <a:lnTo>
                    <a:pt x="81" y="3"/>
                  </a:lnTo>
                  <a:lnTo>
                    <a:pt x="86" y="5"/>
                  </a:lnTo>
                  <a:lnTo>
                    <a:pt x="91" y="8"/>
                  </a:lnTo>
                  <a:lnTo>
                    <a:pt x="97" y="10"/>
                  </a:lnTo>
                  <a:lnTo>
                    <a:pt x="101" y="13"/>
                  </a:lnTo>
                  <a:lnTo>
                    <a:pt x="105" y="17"/>
                  </a:lnTo>
                  <a:lnTo>
                    <a:pt x="108" y="22"/>
                  </a:lnTo>
                  <a:lnTo>
                    <a:pt x="111" y="27"/>
                  </a:lnTo>
                  <a:lnTo>
                    <a:pt x="115" y="32"/>
                  </a:lnTo>
                  <a:lnTo>
                    <a:pt x="117" y="37"/>
                  </a:lnTo>
                  <a:lnTo>
                    <a:pt x="118" y="44"/>
                  </a:lnTo>
                  <a:lnTo>
                    <a:pt x="119" y="50"/>
                  </a:lnTo>
                  <a:lnTo>
                    <a:pt x="120" y="58"/>
                  </a:lnTo>
                  <a:lnTo>
                    <a:pt x="120" y="65"/>
                  </a:lnTo>
                  <a:lnTo>
                    <a:pt x="120" y="73"/>
                  </a:lnTo>
                  <a:lnTo>
                    <a:pt x="82" y="73"/>
                  </a:lnTo>
                  <a:lnTo>
                    <a:pt x="82" y="63"/>
                  </a:lnTo>
                  <a:lnTo>
                    <a:pt x="82" y="57"/>
                  </a:lnTo>
                  <a:lnTo>
                    <a:pt x="81" y="51"/>
                  </a:lnTo>
                  <a:lnTo>
                    <a:pt x="79" y="46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70" y="39"/>
                  </a:lnTo>
                  <a:lnTo>
                    <a:pt x="66" y="37"/>
                  </a:lnTo>
                  <a:lnTo>
                    <a:pt x="62" y="37"/>
                  </a:lnTo>
                  <a:lnTo>
                    <a:pt x="58" y="37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5" y="46"/>
                  </a:lnTo>
                  <a:lnTo>
                    <a:pt x="44" y="48"/>
                  </a:lnTo>
                  <a:lnTo>
                    <a:pt x="43" y="51"/>
                  </a:lnTo>
                  <a:lnTo>
                    <a:pt x="42" y="57"/>
                  </a:lnTo>
                  <a:lnTo>
                    <a:pt x="42" y="63"/>
                  </a:lnTo>
                  <a:lnTo>
                    <a:pt x="43" y="71"/>
                  </a:lnTo>
                  <a:lnTo>
                    <a:pt x="44" y="77"/>
                  </a:lnTo>
                  <a:lnTo>
                    <a:pt x="45" y="81"/>
                  </a:lnTo>
                  <a:lnTo>
                    <a:pt x="49" y="88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67" y="109"/>
                  </a:lnTo>
                  <a:lnTo>
                    <a:pt x="81" y="122"/>
                  </a:lnTo>
                  <a:lnTo>
                    <a:pt x="88" y="129"/>
                  </a:lnTo>
                  <a:lnTo>
                    <a:pt x="96" y="137"/>
                  </a:lnTo>
                  <a:lnTo>
                    <a:pt x="102" y="144"/>
                  </a:lnTo>
                  <a:lnTo>
                    <a:pt x="105" y="149"/>
                  </a:lnTo>
                  <a:lnTo>
                    <a:pt x="108" y="154"/>
                  </a:lnTo>
                  <a:lnTo>
                    <a:pt x="114" y="163"/>
                  </a:lnTo>
                  <a:lnTo>
                    <a:pt x="116" y="168"/>
                  </a:lnTo>
                  <a:lnTo>
                    <a:pt x="117" y="173"/>
                  </a:lnTo>
                  <a:lnTo>
                    <a:pt x="119" y="179"/>
                  </a:lnTo>
                  <a:lnTo>
                    <a:pt x="120" y="184"/>
                  </a:lnTo>
                  <a:lnTo>
                    <a:pt x="120" y="191"/>
                  </a:lnTo>
                  <a:lnTo>
                    <a:pt x="120" y="198"/>
                  </a:lnTo>
                  <a:lnTo>
                    <a:pt x="120" y="206"/>
                  </a:lnTo>
                  <a:lnTo>
                    <a:pt x="120" y="212"/>
                  </a:lnTo>
                  <a:lnTo>
                    <a:pt x="118" y="219"/>
                  </a:lnTo>
                  <a:lnTo>
                    <a:pt x="117" y="226"/>
                  </a:lnTo>
                  <a:lnTo>
                    <a:pt x="115" y="231"/>
                  </a:lnTo>
                  <a:lnTo>
                    <a:pt x="111" y="236"/>
                  </a:lnTo>
                  <a:lnTo>
                    <a:pt x="108" y="242"/>
                  </a:lnTo>
                  <a:lnTo>
                    <a:pt x="105" y="246"/>
                  </a:lnTo>
                  <a:lnTo>
                    <a:pt x="101" y="249"/>
                  </a:lnTo>
                  <a:lnTo>
                    <a:pt x="97" y="253"/>
                  </a:lnTo>
                  <a:lnTo>
                    <a:pt x="91" y="255"/>
                  </a:lnTo>
                  <a:lnTo>
                    <a:pt x="86" y="257"/>
                  </a:lnTo>
                  <a:lnTo>
                    <a:pt x="81" y="260"/>
                  </a:lnTo>
                  <a:lnTo>
                    <a:pt x="74" y="262"/>
                  </a:lnTo>
                  <a:lnTo>
                    <a:pt x="68" y="262"/>
                  </a:lnTo>
                  <a:lnTo>
                    <a:pt x="61" y="263"/>
                  </a:lnTo>
                  <a:lnTo>
                    <a:pt x="53" y="262"/>
                  </a:lnTo>
                  <a:lnTo>
                    <a:pt x="47" y="262"/>
                  </a:lnTo>
                  <a:lnTo>
                    <a:pt x="41" y="260"/>
                  </a:lnTo>
                  <a:lnTo>
                    <a:pt x="34" y="257"/>
                  </a:lnTo>
                  <a:lnTo>
                    <a:pt x="29" y="255"/>
                  </a:lnTo>
                  <a:lnTo>
                    <a:pt x="24" y="253"/>
                  </a:lnTo>
                  <a:lnTo>
                    <a:pt x="19" y="249"/>
                  </a:lnTo>
                  <a:lnTo>
                    <a:pt x="15" y="246"/>
                  </a:lnTo>
                  <a:lnTo>
                    <a:pt x="12" y="242"/>
                  </a:lnTo>
                  <a:lnTo>
                    <a:pt x="9" y="236"/>
                  </a:lnTo>
                  <a:lnTo>
                    <a:pt x="7" y="231"/>
                  </a:lnTo>
                  <a:lnTo>
                    <a:pt x="5" y="226"/>
                  </a:lnTo>
                  <a:lnTo>
                    <a:pt x="3" y="219"/>
                  </a:lnTo>
                  <a:lnTo>
                    <a:pt x="1" y="212"/>
                  </a:lnTo>
                  <a:lnTo>
                    <a:pt x="0" y="206"/>
                  </a:lnTo>
                  <a:lnTo>
                    <a:pt x="0" y="198"/>
                  </a:lnTo>
                  <a:lnTo>
                    <a:pt x="0" y="182"/>
                  </a:lnTo>
                  <a:lnTo>
                    <a:pt x="38" y="182"/>
                  </a:lnTo>
                  <a:lnTo>
                    <a:pt x="38" y="200"/>
                  </a:lnTo>
                  <a:lnTo>
                    <a:pt x="38" y="207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9"/>
                  </a:lnTo>
                  <a:lnTo>
                    <a:pt x="47" y="223"/>
                  </a:lnTo>
                  <a:lnTo>
                    <a:pt x="51" y="224"/>
                  </a:lnTo>
                  <a:lnTo>
                    <a:pt x="54" y="225"/>
                  </a:lnTo>
                  <a:lnTo>
                    <a:pt x="60" y="226"/>
                  </a:lnTo>
                  <a:lnTo>
                    <a:pt x="64" y="225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74" y="219"/>
                  </a:lnTo>
                  <a:lnTo>
                    <a:pt x="77" y="216"/>
                  </a:lnTo>
                  <a:lnTo>
                    <a:pt x="79" y="212"/>
                  </a:lnTo>
                  <a:lnTo>
                    <a:pt x="80" y="207"/>
                  </a:lnTo>
                  <a:lnTo>
                    <a:pt x="80" y="200"/>
                  </a:lnTo>
                  <a:lnTo>
                    <a:pt x="80" y="191"/>
                  </a:lnTo>
                  <a:lnTo>
                    <a:pt x="79" y="187"/>
                  </a:lnTo>
                  <a:lnTo>
                    <a:pt x="77" y="182"/>
                  </a:lnTo>
                  <a:lnTo>
                    <a:pt x="73" y="175"/>
                  </a:lnTo>
                  <a:lnTo>
                    <a:pt x="68" y="168"/>
                  </a:lnTo>
                  <a:lnTo>
                    <a:pt x="62" y="160"/>
                  </a:lnTo>
                  <a:lnTo>
                    <a:pt x="55" y="154"/>
                  </a:lnTo>
                  <a:lnTo>
                    <a:pt x="41" y="140"/>
                  </a:lnTo>
                  <a:lnTo>
                    <a:pt x="33" y="134"/>
                  </a:lnTo>
                  <a:lnTo>
                    <a:pt x="27" y="126"/>
                  </a:lnTo>
                  <a:lnTo>
                    <a:pt x="19" y="118"/>
                  </a:lnTo>
                  <a:lnTo>
                    <a:pt x="16" y="114"/>
                  </a:lnTo>
                  <a:lnTo>
                    <a:pt x="14" y="109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5" y="89"/>
                  </a:lnTo>
                  <a:lnTo>
                    <a:pt x="4" y="84"/>
                  </a:lnTo>
                  <a:lnTo>
                    <a:pt x="3" y="78"/>
                  </a:lnTo>
                  <a:lnTo>
                    <a:pt x="1" y="71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4" y="44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0" y="27"/>
                  </a:lnTo>
                  <a:lnTo>
                    <a:pt x="13" y="22"/>
                  </a:lnTo>
                  <a:lnTo>
                    <a:pt x="16" y="17"/>
                  </a:lnTo>
                  <a:lnTo>
                    <a:pt x="20" y="13"/>
                  </a:lnTo>
                  <a:lnTo>
                    <a:pt x="25" y="10"/>
                  </a:lnTo>
                  <a:lnTo>
                    <a:pt x="30" y="8"/>
                  </a:lnTo>
                  <a:lnTo>
                    <a:pt x="35" y="5"/>
                  </a:lnTo>
                  <a:lnTo>
                    <a:pt x="41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60241816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5A710-87D6-4D73-B0CD-FF9F691FE542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78257128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690C51-F570-4738-9D4A-6E0C566CEB76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15237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EBACE-99FB-4356-8E8D-F68DBE238ACB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45614591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CAAFAA1-A1CA-4E49-9B39-D97D6C1E0901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9001037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3B8587-26E2-4E1B-BA7A-E1D59C1B069A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6"/>
            <p:cNvSpPr>
              <a:spLocks noEditPoints="1"/>
            </p:cNvSpPr>
            <p:nvPr userDrawn="1"/>
          </p:nvSpPr>
          <p:spPr bwMode="auto">
            <a:xfrm>
              <a:off x="9315323" y="6471960"/>
              <a:ext cx="1045515" cy="247226"/>
            </a:xfrm>
            <a:custGeom>
              <a:avLst/>
              <a:gdLst>
                <a:gd name="T0" fmla="*/ 975 w 1109"/>
                <a:gd name="T1" fmla="*/ 4 h 263"/>
                <a:gd name="T2" fmla="*/ 897 w 1109"/>
                <a:gd name="T3" fmla="*/ 4 h 263"/>
                <a:gd name="T4" fmla="*/ 779 w 1109"/>
                <a:gd name="T5" fmla="*/ 260 h 263"/>
                <a:gd name="T6" fmla="*/ 696 w 1109"/>
                <a:gd name="T7" fmla="*/ 219 h 263"/>
                <a:gd name="T8" fmla="*/ 705 w 1109"/>
                <a:gd name="T9" fmla="*/ 175 h 263"/>
                <a:gd name="T10" fmla="*/ 691 w 1109"/>
                <a:gd name="T11" fmla="*/ 145 h 263"/>
                <a:gd name="T12" fmla="*/ 683 w 1109"/>
                <a:gd name="T13" fmla="*/ 107 h 263"/>
                <a:gd name="T14" fmla="*/ 700 w 1109"/>
                <a:gd name="T15" fmla="*/ 81 h 263"/>
                <a:gd name="T16" fmla="*/ 693 w 1109"/>
                <a:gd name="T17" fmla="*/ 44 h 263"/>
                <a:gd name="T18" fmla="*/ 741 w 1109"/>
                <a:gd name="T19" fmla="*/ 81 h 263"/>
                <a:gd name="T20" fmla="*/ 715 w 1109"/>
                <a:gd name="T21" fmla="*/ 123 h 263"/>
                <a:gd name="T22" fmla="*/ 744 w 1109"/>
                <a:gd name="T23" fmla="*/ 159 h 263"/>
                <a:gd name="T24" fmla="*/ 742 w 1109"/>
                <a:gd name="T25" fmla="*/ 225 h 263"/>
                <a:gd name="T26" fmla="*/ 716 w 1109"/>
                <a:gd name="T27" fmla="*/ 253 h 263"/>
                <a:gd name="T28" fmla="*/ 621 w 1109"/>
                <a:gd name="T29" fmla="*/ 4 h 263"/>
                <a:gd name="T30" fmla="*/ 718 w 1109"/>
                <a:gd name="T31" fmla="*/ 12 h 263"/>
                <a:gd name="T32" fmla="*/ 740 w 1109"/>
                <a:gd name="T33" fmla="*/ 43 h 263"/>
                <a:gd name="T34" fmla="*/ 506 w 1109"/>
                <a:gd name="T35" fmla="*/ 214 h 263"/>
                <a:gd name="T36" fmla="*/ 529 w 1109"/>
                <a:gd name="T37" fmla="*/ 226 h 263"/>
                <a:gd name="T38" fmla="*/ 546 w 1109"/>
                <a:gd name="T39" fmla="*/ 200 h 263"/>
                <a:gd name="T40" fmla="*/ 537 w 1109"/>
                <a:gd name="T41" fmla="*/ 41 h 263"/>
                <a:gd name="T42" fmla="*/ 510 w 1109"/>
                <a:gd name="T43" fmla="*/ 43 h 263"/>
                <a:gd name="T44" fmla="*/ 464 w 1109"/>
                <a:gd name="T45" fmla="*/ 58 h 263"/>
                <a:gd name="T46" fmla="*/ 479 w 1109"/>
                <a:gd name="T47" fmla="*/ 17 h 263"/>
                <a:gd name="T48" fmla="*/ 518 w 1109"/>
                <a:gd name="T49" fmla="*/ 0 h 263"/>
                <a:gd name="T50" fmla="*/ 562 w 1109"/>
                <a:gd name="T51" fmla="*/ 10 h 263"/>
                <a:gd name="T52" fmla="*/ 583 w 1109"/>
                <a:gd name="T53" fmla="*/ 44 h 263"/>
                <a:gd name="T54" fmla="*/ 583 w 1109"/>
                <a:gd name="T55" fmla="*/ 219 h 263"/>
                <a:gd name="T56" fmla="*/ 562 w 1109"/>
                <a:gd name="T57" fmla="*/ 253 h 263"/>
                <a:gd name="T58" fmla="*/ 518 w 1109"/>
                <a:gd name="T59" fmla="*/ 262 h 263"/>
                <a:gd name="T60" fmla="*/ 479 w 1109"/>
                <a:gd name="T61" fmla="*/ 246 h 263"/>
                <a:gd name="T62" fmla="*/ 464 w 1109"/>
                <a:gd name="T63" fmla="*/ 206 h 263"/>
                <a:gd name="T64" fmla="*/ 391 w 1109"/>
                <a:gd name="T65" fmla="*/ 260 h 263"/>
                <a:gd name="T66" fmla="*/ 259 w 1109"/>
                <a:gd name="T67" fmla="*/ 4 h 263"/>
                <a:gd name="T68" fmla="*/ 151 w 1109"/>
                <a:gd name="T69" fmla="*/ 114 h 263"/>
                <a:gd name="T70" fmla="*/ 97 w 1109"/>
                <a:gd name="T71" fmla="*/ 10 h 263"/>
                <a:gd name="T72" fmla="*/ 118 w 1109"/>
                <a:gd name="T73" fmla="*/ 44 h 263"/>
                <a:gd name="T74" fmla="*/ 82 w 1109"/>
                <a:gd name="T75" fmla="*/ 57 h 263"/>
                <a:gd name="T76" fmla="*/ 66 w 1109"/>
                <a:gd name="T77" fmla="*/ 37 h 263"/>
                <a:gd name="T78" fmla="*/ 44 w 1109"/>
                <a:gd name="T79" fmla="*/ 48 h 263"/>
                <a:gd name="T80" fmla="*/ 49 w 1109"/>
                <a:gd name="T81" fmla="*/ 88 h 263"/>
                <a:gd name="T82" fmla="*/ 102 w 1109"/>
                <a:gd name="T83" fmla="*/ 144 h 263"/>
                <a:gd name="T84" fmla="*/ 120 w 1109"/>
                <a:gd name="T85" fmla="*/ 184 h 263"/>
                <a:gd name="T86" fmla="*/ 115 w 1109"/>
                <a:gd name="T87" fmla="*/ 231 h 263"/>
                <a:gd name="T88" fmla="*/ 86 w 1109"/>
                <a:gd name="T89" fmla="*/ 257 h 263"/>
                <a:gd name="T90" fmla="*/ 41 w 1109"/>
                <a:gd name="T91" fmla="*/ 260 h 263"/>
                <a:gd name="T92" fmla="*/ 9 w 1109"/>
                <a:gd name="T93" fmla="*/ 236 h 263"/>
                <a:gd name="T94" fmla="*/ 0 w 1109"/>
                <a:gd name="T95" fmla="*/ 182 h 263"/>
                <a:gd name="T96" fmla="*/ 47 w 1109"/>
                <a:gd name="T97" fmla="*/ 223 h 263"/>
                <a:gd name="T98" fmla="*/ 74 w 1109"/>
                <a:gd name="T99" fmla="*/ 219 h 263"/>
                <a:gd name="T100" fmla="*/ 77 w 1109"/>
                <a:gd name="T101" fmla="*/ 182 h 263"/>
                <a:gd name="T102" fmla="*/ 27 w 1109"/>
                <a:gd name="T103" fmla="*/ 126 h 263"/>
                <a:gd name="T104" fmla="*/ 4 w 1109"/>
                <a:gd name="T105" fmla="*/ 84 h 263"/>
                <a:gd name="T106" fmla="*/ 6 w 1109"/>
                <a:gd name="T107" fmla="*/ 37 h 263"/>
                <a:gd name="T108" fmla="*/ 30 w 1109"/>
                <a:gd name="T109" fmla="*/ 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9" h="263">
                  <a:moveTo>
                    <a:pt x="1069" y="4"/>
                  </a:moveTo>
                  <a:lnTo>
                    <a:pt x="1109" y="4"/>
                  </a:lnTo>
                  <a:lnTo>
                    <a:pt x="1109" y="260"/>
                  </a:lnTo>
                  <a:lnTo>
                    <a:pt x="1069" y="260"/>
                  </a:lnTo>
                  <a:lnTo>
                    <a:pt x="1069" y="4"/>
                  </a:lnTo>
                  <a:close/>
                  <a:moveTo>
                    <a:pt x="935" y="4"/>
                  </a:moveTo>
                  <a:lnTo>
                    <a:pt x="975" y="4"/>
                  </a:lnTo>
                  <a:lnTo>
                    <a:pt x="975" y="223"/>
                  </a:lnTo>
                  <a:lnTo>
                    <a:pt x="1042" y="223"/>
                  </a:lnTo>
                  <a:lnTo>
                    <a:pt x="1042" y="260"/>
                  </a:lnTo>
                  <a:lnTo>
                    <a:pt x="935" y="260"/>
                  </a:lnTo>
                  <a:lnTo>
                    <a:pt x="935" y="4"/>
                  </a:lnTo>
                  <a:close/>
                  <a:moveTo>
                    <a:pt x="857" y="4"/>
                  </a:moveTo>
                  <a:lnTo>
                    <a:pt x="897" y="4"/>
                  </a:lnTo>
                  <a:lnTo>
                    <a:pt x="897" y="260"/>
                  </a:lnTo>
                  <a:lnTo>
                    <a:pt x="857" y="260"/>
                  </a:lnTo>
                  <a:lnTo>
                    <a:pt x="857" y="4"/>
                  </a:lnTo>
                  <a:close/>
                  <a:moveTo>
                    <a:pt x="779" y="4"/>
                  </a:moveTo>
                  <a:lnTo>
                    <a:pt x="819" y="4"/>
                  </a:lnTo>
                  <a:lnTo>
                    <a:pt x="819" y="260"/>
                  </a:lnTo>
                  <a:lnTo>
                    <a:pt x="779" y="260"/>
                  </a:lnTo>
                  <a:lnTo>
                    <a:pt x="779" y="4"/>
                  </a:lnTo>
                  <a:close/>
                  <a:moveTo>
                    <a:pt x="661" y="144"/>
                  </a:moveTo>
                  <a:lnTo>
                    <a:pt x="661" y="223"/>
                  </a:lnTo>
                  <a:lnTo>
                    <a:pt x="685" y="223"/>
                  </a:lnTo>
                  <a:lnTo>
                    <a:pt x="689" y="223"/>
                  </a:lnTo>
                  <a:lnTo>
                    <a:pt x="693" y="221"/>
                  </a:lnTo>
                  <a:lnTo>
                    <a:pt x="696" y="219"/>
                  </a:lnTo>
                  <a:lnTo>
                    <a:pt x="699" y="217"/>
                  </a:lnTo>
                  <a:lnTo>
                    <a:pt x="702" y="214"/>
                  </a:lnTo>
                  <a:lnTo>
                    <a:pt x="703" y="212"/>
                  </a:lnTo>
                  <a:lnTo>
                    <a:pt x="704" y="210"/>
                  </a:lnTo>
                  <a:lnTo>
                    <a:pt x="705" y="205"/>
                  </a:lnTo>
                  <a:lnTo>
                    <a:pt x="705" y="197"/>
                  </a:lnTo>
                  <a:lnTo>
                    <a:pt x="705" y="175"/>
                  </a:lnTo>
                  <a:lnTo>
                    <a:pt x="705" y="168"/>
                  </a:lnTo>
                  <a:lnTo>
                    <a:pt x="704" y="160"/>
                  </a:lnTo>
                  <a:lnTo>
                    <a:pt x="702" y="155"/>
                  </a:lnTo>
                  <a:lnTo>
                    <a:pt x="698" y="151"/>
                  </a:lnTo>
                  <a:lnTo>
                    <a:pt x="697" y="150"/>
                  </a:lnTo>
                  <a:lnTo>
                    <a:pt x="695" y="147"/>
                  </a:lnTo>
                  <a:lnTo>
                    <a:pt x="691" y="145"/>
                  </a:lnTo>
                  <a:lnTo>
                    <a:pt x="686" y="144"/>
                  </a:lnTo>
                  <a:lnTo>
                    <a:pt x="679" y="144"/>
                  </a:lnTo>
                  <a:lnTo>
                    <a:pt x="661" y="144"/>
                  </a:lnTo>
                  <a:close/>
                  <a:moveTo>
                    <a:pt x="661" y="41"/>
                  </a:moveTo>
                  <a:lnTo>
                    <a:pt x="661" y="107"/>
                  </a:lnTo>
                  <a:lnTo>
                    <a:pt x="677" y="107"/>
                  </a:lnTo>
                  <a:lnTo>
                    <a:pt x="683" y="107"/>
                  </a:lnTo>
                  <a:lnTo>
                    <a:pt x="687" y="106"/>
                  </a:lnTo>
                  <a:lnTo>
                    <a:pt x="691" y="104"/>
                  </a:lnTo>
                  <a:lnTo>
                    <a:pt x="694" y="102"/>
                  </a:lnTo>
                  <a:lnTo>
                    <a:pt x="697" y="98"/>
                  </a:lnTo>
                  <a:lnTo>
                    <a:pt x="699" y="94"/>
                  </a:lnTo>
                  <a:lnTo>
                    <a:pt x="700" y="88"/>
                  </a:lnTo>
                  <a:lnTo>
                    <a:pt x="700" y="81"/>
                  </a:lnTo>
                  <a:lnTo>
                    <a:pt x="700" y="66"/>
                  </a:lnTo>
                  <a:lnTo>
                    <a:pt x="700" y="60"/>
                  </a:lnTo>
                  <a:lnTo>
                    <a:pt x="699" y="54"/>
                  </a:lnTo>
                  <a:lnTo>
                    <a:pt x="699" y="52"/>
                  </a:lnTo>
                  <a:lnTo>
                    <a:pt x="698" y="50"/>
                  </a:lnTo>
                  <a:lnTo>
                    <a:pt x="696" y="46"/>
                  </a:lnTo>
                  <a:lnTo>
                    <a:pt x="693" y="44"/>
                  </a:lnTo>
                  <a:lnTo>
                    <a:pt x="690" y="42"/>
                  </a:lnTo>
                  <a:lnTo>
                    <a:pt x="686" y="41"/>
                  </a:lnTo>
                  <a:lnTo>
                    <a:pt x="680" y="41"/>
                  </a:lnTo>
                  <a:lnTo>
                    <a:pt x="661" y="41"/>
                  </a:lnTo>
                  <a:close/>
                  <a:moveTo>
                    <a:pt x="741" y="63"/>
                  </a:moveTo>
                  <a:lnTo>
                    <a:pt x="741" y="71"/>
                  </a:lnTo>
                  <a:lnTo>
                    <a:pt x="741" y="81"/>
                  </a:lnTo>
                  <a:lnTo>
                    <a:pt x="740" y="89"/>
                  </a:lnTo>
                  <a:lnTo>
                    <a:pt x="738" y="97"/>
                  </a:lnTo>
                  <a:lnTo>
                    <a:pt x="735" y="104"/>
                  </a:lnTo>
                  <a:lnTo>
                    <a:pt x="731" y="110"/>
                  </a:lnTo>
                  <a:lnTo>
                    <a:pt x="727" y="115"/>
                  </a:lnTo>
                  <a:lnTo>
                    <a:pt x="722" y="120"/>
                  </a:lnTo>
                  <a:lnTo>
                    <a:pt x="715" y="123"/>
                  </a:lnTo>
                  <a:lnTo>
                    <a:pt x="723" y="126"/>
                  </a:lnTo>
                  <a:lnTo>
                    <a:pt x="726" y="128"/>
                  </a:lnTo>
                  <a:lnTo>
                    <a:pt x="729" y="132"/>
                  </a:lnTo>
                  <a:lnTo>
                    <a:pt x="734" y="137"/>
                  </a:lnTo>
                  <a:lnTo>
                    <a:pt x="739" y="143"/>
                  </a:lnTo>
                  <a:lnTo>
                    <a:pt x="742" y="151"/>
                  </a:lnTo>
                  <a:lnTo>
                    <a:pt x="744" y="159"/>
                  </a:lnTo>
                  <a:lnTo>
                    <a:pt x="745" y="169"/>
                  </a:lnTo>
                  <a:lnTo>
                    <a:pt x="745" y="178"/>
                  </a:lnTo>
                  <a:lnTo>
                    <a:pt x="745" y="198"/>
                  </a:lnTo>
                  <a:lnTo>
                    <a:pt x="745" y="206"/>
                  </a:lnTo>
                  <a:lnTo>
                    <a:pt x="744" y="213"/>
                  </a:lnTo>
                  <a:lnTo>
                    <a:pt x="743" y="219"/>
                  </a:lnTo>
                  <a:lnTo>
                    <a:pt x="742" y="225"/>
                  </a:lnTo>
                  <a:lnTo>
                    <a:pt x="740" y="230"/>
                  </a:lnTo>
                  <a:lnTo>
                    <a:pt x="736" y="235"/>
                  </a:lnTo>
                  <a:lnTo>
                    <a:pt x="733" y="239"/>
                  </a:lnTo>
                  <a:lnTo>
                    <a:pt x="730" y="244"/>
                  </a:lnTo>
                  <a:lnTo>
                    <a:pt x="726" y="248"/>
                  </a:lnTo>
                  <a:lnTo>
                    <a:pt x="721" y="250"/>
                  </a:lnTo>
                  <a:lnTo>
                    <a:pt x="716" y="253"/>
                  </a:lnTo>
                  <a:lnTo>
                    <a:pt x="711" y="255"/>
                  </a:lnTo>
                  <a:lnTo>
                    <a:pt x="705" y="257"/>
                  </a:lnTo>
                  <a:lnTo>
                    <a:pt x="698" y="259"/>
                  </a:lnTo>
                  <a:lnTo>
                    <a:pt x="691" y="260"/>
                  </a:lnTo>
                  <a:lnTo>
                    <a:pt x="685" y="260"/>
                  </a:lnTo>
                  <a:lnTo>
                    <a:pt x="621" y="260"/>
                  </a:lnTo>
                  <a:lnTo>
                    <a:pt x="621" y="4"/>
                  </a:lnTo>
                  <a:lnTo>
                    <a:pt x="681" y="4"/>
                  </a:lnTo>
                  <a:lnTo>
                    <a:pt x="689" y="4"/>
                  </a:lnTo>
                  <a:lnTo>
                    <a:pt x="696" y="5"/>
                  </a:lnTo>
                  <a:lnTo>
                    <a:pt x="703" y="6"/>
                  </a:lnTo>
                  <a:lnTo>
                    <a:pt x="709" y="7"/>
                  </a:lnTo>
                  <a:lnTo>
                    <a:pt x="714" y="9"/>
                  </a:lnTo>
                  <a:lnTo>
                    <a:pt x="718" y="12"/>
                  </a:lnTo>
                  <a:lnTo>
                    <a:pt x="723" y="15"/>
                  </a:lnTo>
                  <a:lnTo>
                    <a:pt x="727" y="18"/>
                  </a:lnTo>
                  <a:lnTo>
                    <a:pt x="730" y="22"/>
                  </a:lnTo>
                  <a:lnTo>
                    <a:pt x="733" y="27"/>
                  </a:lnTo>
                  <a:lnTo>
                    <a:pt x="735" y="31"/>
                  </a:lnTo>
                  <a:lnTo>
                    <a:pt x="738" y="36"/>
                  </a:lnTo>
                  <a:lnTo>
                    <a:pt x="740" y="43"/>
                  </a:lnTo>
                  <a:lnTo>
                    <a:pt x="741" y="48"/>
                  </a:lnTo>
                  <a:lnTo>
                    <a:pt x="741" y="55"/>
                  </a:lnTo>
                  <a:lnTo>
                    <a:pt x="741" y="63"/>
                  </a:lnTo>
                  <a:close/>
                  <a:moveTo>
                    <a:pt x="504" y="200"/>
                  </a:moveTo>
                  <a:lnTo>
                    <a:pt x="505" y="207"/>
                  </a:lnTo>
                  <a:lnTo>
                    <a:pt x="506" y="212"/>
                  </a:lnTo>
                  <a:lnTo>
                    <a:pt x="506" y="214"/>
                  </a:lnTo>
                  <a:lnTo>
                    <a:pt x="507" y="216"/>
                  </a:lnTo>
                  <a:lnTo>
                    <a:pt x="510" y="220"/>
                  </a:lnTo>
                  <a:lnTo>
                    <a:pt x="512" y="223"/>
                  </a:lnTo>
                  <a:lnTo>
                    <a:pt x="516" y="225"/>
                  </a:lnTo>
                  <a:lnTo>
                    <a:pt x="521" y="226"/>
                  </a:lnTo>
                  <a:lnTo>
                    <a:pt x="525" y="226"/>
                  </a:lnTo>
                  <a:lnTo>
                    <a:pt x="529" y="226"/>
                  </a:lnTo>
                  <a:lnTo>
                    <a:pt x="533" y="225"/>
                  </a:lnTo>
                  <a:lnTo>
                    <a:pt x="537" y="223"/>
                  </a:lnTo>
                  <a:lnTo>
                    <a:pt x="540" y="220"/>
                  </a:lnTo>
                  <a:lnTo>
                    <a:pt x="543" y="216"/>
                  </a:lnTo>
                  <a:lnTo>
                    <a:pt x="544" y="212"/>
                  </a:lnTo>
                  <a:lnTo>
                    <a:pt x="545" y="207"/>
                  </a:lnTo>
                  <a:lnTo>
                    <a:pt x="546" y="200"/>
                  </a:lnTo>
                  <a:lnTo>
                    <a:pt x="546" y="63"/>
                  </a:lnTo>
                  <a:lnTo>
                    <a:pt x="545" y="57"/>
                  </a:lnTo>
                  <a:lnTo>
                    <a:pt x="544" y="51"/>
                  </a:lnTo>
                  <a:lnTo>
                    <a:pt x="543" y="48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37" y="41"/>
                  </a:lnTo>
                  <a:lnTo>
                    <a:pt x="533" y="39"/>
                  </a:lnTo>
                  <a:lnTo>
                    <a:pt x="529" y="37"/>
                  </a:lnTo>
                  <a:lnTo>
                    <a:pt x="525" y="37"/>
                  </a:lnTo>
                  <a:lnTo>
                    <a:pt x="521" y="37"/>
                  </a:lnTo>
                  <a:lnTo>
                    <a:pt x="516" y="39"/>
                  </a:lnTo>
                  <a:lnTo>
                    <a:pt x="512" y="41"/>
                  </a:lnTo>
                  <a:lnTo>
                    <a:pt x="510" y="43"/>
                  </a:lnTo>
                  <a:lnTo>
                    <a:pt x="507" y="46"/>
                  </a:lnTo>
                  <a:lnTo>
                    <a:pt x="506" y="51"/>
                  </a:lnTo>
                  <a:lnTo>
                    <a:pt x="505" y="57"/>
                  </a:lnTo>
                  <a:lnTo>
                    <a:pt x="504" y="63"/>
                  </a:lnTo>
                  <a:lnTo>
                    <a:pt x="504" y="200"/>
                  </a:lnTo>
                  <a:close/>
                  <a:moveTo>
                    <a:pt x="464" y="65"/>
                  </a:moveTo>
                  <a:lnTo>
                    <a:pt x="464" y="58"/>
                  </a:lnTo>
                  <a:lnTo>
                    <a:pt x="465" y="50"/>
                  </a:lnTo>
                  <a:lnTo>
                    <a:pt x="466" y="44"/>
                  </a:lnTo>
                  <a:lnTo>
                    <a:pt x="468" y="37"/>
                  </a:lnTo>
                  <a:lnTo>
                    <a:pt x="470" y="32"/>
                  </a:lnTo>
                  <a:lnTo>
                    <a:pt x="473" y="27"/>
                  </a:lnTo>
                  <a:lnTo>
                    <a:pt x="476" y="22"/>
                  </a:lnTo>
                  <a:lnTo>
                    <a:pt x="479" y="17"/>
                  </a:lnTo>
                  <a:lnTo>
                    <a:pt x="484" y="13"/>
                  </a:lnTo>
                  <a:lnTo>
                    <a:pt x="488" y="10"/>
                  </a:lnTo>
                  <a:lnTo>
                    <a:pt x="493" y="8"/>
                  </a:lnTo>
                  <a:lnTo>
                    <a:pt x="499" y="5"/>
                  </a:lnTo>
                  <a:lnTo>
                    <a:pt x="505" y="3"/>
                  </a:lnTo>
                  <a:lnTo>
                    <a:pt x="511" y="2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9" y="2"/>
                  </a:lnTo>
                  <a:lnTo>
                    <a:pt x="545" y="3"/>
                  </a:lnTo>
                  <a:lnTo>
                    <a:pt x="551" y="5"/>
                  </a:lnTo>
                  <a:lnTo>
                    <a:pt x="557" y="8"/>
                  </a:lnTo>
                  <a:lnTo>
                    <a:pt x="562" y="10"/>
                  </a:lnTo>
                  <a:lnTo>
                    <a:pt x="566" y="13"/>
                  </a:lnTo>
                  <a:lnTo>
                    <a:pt x="570" y="17"/>
                  </a:lnTo>
                  <a:lnTo>
                    <a:pt x="574" y="22"/>
                  </a:lnTo>
                  <a:lnTo>
                    <a:pt x="577" y="27"/>
                  </a:lnTo>
                  <a:lnTo>
                    <a:pt x="580" y="32"/>
                  </a:lnTo>
                  <a:lnTo>
                    <a:pt x="582" y="37"/>
                  </a:lnTo>
                  <a:lnTo>
                    <a:pt x="583" y="44"/>
                  </a:lnTo>
                  <a:lnTo>
                    <a:pt x="585" y="50"/>
                  </a:lnTo>
                  <a:lnTo>
                    <a:pt x="585" y="58"/>
                  </a:lnTo>
                  <a:lnTo>
                    <a:pt x="586" y="65"/>
                  </a:lnTo>
                  <a:lnTo>
                    <a:pt x="586" y="198"/>
                  </a:lnTo>
                  <a:lnTo>
                    <a:pt x="585" y="206"/>
                  </a:lnTo>
                  <a:lnTo>
                    <a:pt x="585" y="212"/>
                  </a:lnTo>
                  <a:lnTo>
                    <a:pt x="583" y="219"/>
                  </a:lnTo>
                  <a:lnTo>
                    <a:pt x="582" y="226"/>
                  </a:lnTo>
                  <a:lnTo>
                    <a:pt x="580" y="231"/>
                  </a:lnTo>
                  <a:lnTo>
                    <a:pt x="577" y="236"/>
                  </a:lnTo>
                  <a:lnTo>
                    <a:pt x="574" y="242"/>
                  </a:lnTo>
                  <a:lnTo>
                    <a:pt x="570" y="246"/>
                  </a:lnTo>
                  <a:lnTo>
                    <a:pt x="566" y="249"/>
                  </a:lnTo>
                  <a:lnTo>
                    <a:pt x="562" y="253"/>
                  </a:lnTo>
                  <a:lnTo>
                    <a:pt x="557" y="255"/>
                  </a:lnTo>
                  <a:lnTo>
                    <a:pt x="551" y="257"/>
                  </a:lnTo>
                  <a:lnTo>
                    <a:pt x="545" y="260"/>
                  </a:lnTo>
                  <a:lnTo>
                    <a:pt x="539" y="262"/>
                  </a:lnTo>
                  <a:lnTo>
                    <a:pt x="532" y="262"/>
                  </a:lnTo>
                  <a:lnTo>
                    <a:pt x="525" y="263"/>
                  </a:lnTo>
                  <a:lnTo>
                    <a:pt x="518" y="262"/>
                  </a:lnTo>
                  <a:lnTo>
                    <a:pt x="511" y="262"/>
                  </a:lnTo>
                  <a:lnTo>
                    <a:pt x="505" y="260"/>
                  </a:lnTo>
                  <a:lnTo>
                    <a:pt x="499" y="257"/>
                  </a:lnTo>
                  <a:lnTo>
                    <a:pt x="493" y="255"/>
                  </a:lnTo>
                  <a:lnTo>
                    <a:pt x="488" y="253"/>
                  </a:lnTo>
                  <a:lnTo>
                    <a:pt x="484" y="249"/>
                  </a:lnTo>
                  <a:lnTo>
                    <a:pt x="479" y="246"/>
                  </a:lnTo>
                  <a:lnTo>
                    <a:pt x="476" y="242"/>
                  </a:lnTo>
                  <a:lnTo>
                    <a:pt x="473" y="236"/>
                  </a:lnTo>
                  <a:lnTo>
                    <a:pt x="470" y="231"/>
                  </a:lnTo>
                  <a:lnTo>
                    <a:pt x="468" y="226"/>
                  </a:lnTo>
                  <a:lnTo>
                    <a:pt x="466" y="219"/>
                  </a:lnTo>
                  <a:lnTo>
                    <a:pt x="465" y="212"/>
                  </a:lnTo>
                  <a:lnTo>
                    <a:pt x="464" y="206"/>
                  </a:lnTo>
                  <a:lnTo>
                    <a:pt x="464" y="198"/>
                  </a:lnTo>
                  <a:lnTo>
                    <a:pt x="464" y="65"/>
                  </a:lnTo>
                  <a:close/>
                  <a:moveTo>
                    <a:pt x="345" y="186"/>
                  </a:moveTo>
                  <a:lnTo>
                    <a:pt x="373" y="4"/>
                  </a:lnTo>
                  <a:lnTo>
                    <a:pt x="429" y="4"/>
                  </a:lnTo>
                  <a:lnTo>
                    <a:pt x="429" y="260"/>
                  </a:lnTo>
                  <a:lnTo>
                    <a:pt x="391" y="260"/>
                  </a:lnTo>
                  <a:lnTo>
                    <a:pt x="391" y="76"/>
                  </a:lnTo>
                  <a:lnTo>
                    <a:pt x="363" y="260"/>
                  </a:lnTo>
                  <a:lnTo>
                    <a:pt x="325" y="260"/>
                  </a:lnTo>
                  <a:lnTo>
                    <a:pt x="295" y="79"/>
                  </a:lnTo>
                  <a:lnTo>
                    <a:pt x="295" y="260"/>
                  </a:lnTo>
                  <a:lnTo>
                    <a:pt x="259" y="260"/>
                  </a:lnTo>
                  <a:lnTo>
                    <a:pt x="259" y="4"/>
                  </a:lnTo>
                  <a:lnTo>
                    <a:pt x="316" y="4"/>
                  </a:lnTo>
                  <a:lnTo>
                    <a:pt x="345" y="186"/>
                  </a:lnTo>
                  <a:close/>
                  <a:moveTo>
                    <a:pt x="151" y="114"/>
                  </a:moveTo>
                  <a:lnTo>
                    <a:pt x="224" y="114"/>
                  </a:lnTo>
                  <a:lnTo>
                    <a:pt x="224" y="150"/>
                  </a:lnTo>
                  <a:lnTo>
                    <a:pt x="151" y="150"/>
                  </a:lnTo>
                  <a:lnTo>
                    <a:pt x="151" y="114"/>
                  </a:lnTo>
                  <a:close/>
                  <a:moveTo>
                    <a:pt x="61" y="0"/>
                  </a:moveTo>
                  <a:lnTo>
                    <a:pt x="68" y="0"/>
                  </a:lnTo>
                  <a:lnTo>
                    <a:pt x="74" y="2"/>
                  </a:lnTo>
                  <a:lnTo>
                    <a:pt x="81" y="3"/>
                  </a:lnTo>
                  <a:lnTo>
                    <a:pt x="86" y="5"/>
                  </a:lnTo>
                  <a:lnTo>
                    <a:pt x="91" y="8"/>
                  </a:lnTo>
                  <a:lnTo>
                    <a:pt x="97" y="10"/>
                  </a:lnTo>
                  <a:lnTo>
                    <a:pt x="101" y="13"/>
                  </a:lnTo>
                  <a:lnTo>
                    <a:pt x="105" y="17"/>
                  </a:lnTo>
                  <a:lnTo>
                    <a:pt x="108" y="22"/>
                  </a:lnTo>
                  <a:lnTo>
                    <a:pt x="111" y="27"/>
                  </a:lnTo>
                  <a:lnTo>
                    <a:pt x="115" y="32"/>
                  </a:lnTo>
                  <a:lnTo>
                    <a:pt x="117" y="37"/>
                  </a:lnTo>
                  <a:lnTo>
                    <a:pt x="118" y="44"/>
                  </a:lnTo>
                  <a:lnTo>
                    <a:pt x="119" y="50"/>
                  </a:lnTo>
                  <a:lnTo>
                    <a:pt x="120" y="58"/>
                  </a:lnTo>
                  <a:lnTo>
                    <a:pt x="120" y="65"/>
                  </a:lnTo>
                  <a:lnTo>
                    <a:pt x="120" y="73"/>
                  </a:lnTo>
                  <a:lnTo>
                    <a:pt x="82" y="73"/>
                  </a:lnTo>
                  <a:lnTo>
                    <a:pt x="82" y="63"/>
                  </a:lnTo>
                  <a:lnTo>
                    <a:pt x="82" y="57"/>
                  </a:lnTo>
                  <a:lnTo>
                    <a:pt x="81" y="51"/>
                  </a:lnTo>
                  <a:lnTo>
                    <a:pt x="79" y="46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70" y="39"/>
                  </a:lnTo>
                  <a:lnTo>
                    <a:pt x="66" y="37"/>
                  </a:lnTo>
                  <a:lnTo>
                    <a:pt x="62" y="37"/>
                  </a:lnTo>
                  <a:lnTo>
                    <a:pt x="58" y="37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5" y="46"/>
                  </a:lnTo>
                  <a:lnTo>
                    <a:pt x="44" y="48"/>
                  </a:lnTo>
                  <a:lnTo>
                    <a:pt x="43" y="51"/>
                  </a:lnTo>
                  <a:lnTo>
                    <a:pt x="42" y="57"/>
                  </a:lnTo>
                  <a:lnTo>
                    <a:pt x="42" y="63"/>
                  </a:lnTo>
                  <a:lnTo>
                    <a:pt x="43" y="71"/>
                  </a:lnTo>
                  <a:lnTo>
                    <a:pt x="44" y="77"/>
                  </a:lnTo>
                  <a:lnTo>
                    <a:pt x="45" y="81"/>
                  </a:lnTo>
                  <a:lnTo>
                    <a:pt x="49" y="88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67" y="109"/>
                  </a:lnTo>
                  <a:lnTo>
                    <a:pt x="81" y="122"/>
                  </a:lnTo>
                  <a:lnTo>
                    <a:pt x="88" y="129"/>
                  </a:lnTo>
                  <a:lnTo>
                    <a:pt x="96" y="137"/>
                  </a:lnTo>
                  <a:lnTo>
                    <a:pt x="102" y="144"/>
                  </a:lnTo>
                  <a:lnTo>
                    <a:pt x="105" y="149"/>
                  </a:lnTo>
                  <a:lnTo>
                    <a:pt x="108" y="154"/>
                  </a:lnTo>
                  <a:lnTo>
                    <a:pt x="114" y="163"/>
                  </a:lnTo>
                  <a:lnTo>
                    <a:pt x="116" y="168"/>
                  </a:lnTo>
                  <a:lnTo>
                    <a:pt x="117" y="173"/>
                  </a:lnTo>
                  <a:lnTo>
                    <a:pt x="119" y="179"/>
                  </a:lnTo>
                  <a:lnTo>
                    <a:pt x="120" y="184"/>
                  </a:lnTo>
                  <a:lnTo>
                    <a:pt x="120" y="191"/>
                  </a:lnTo>
                  <a:lnTo>
                    <a:pt x="120" y="198"/>
                  </a:lnTo>
                  <a:lnTo>
                    <a:pt x="120" y="206"/>
                  </a:lnTo>
                  <a:lnTo>
                    <a:pt x="120" y="212"/>
                  </a:lnTo>
                  <a:lnTo>
                    <a:pt x="118" y="219"/>
                  </a:lnTo>
                  <a:lnTo>
                    <a:pt x="117" y="226"/>
                  </a:lnTo>
                  <a:lnTo>
                    <a:pt x="115" y="231"/>
                  </a:lnTo>
                  <a:lnTo>
                    <a:pt x="111" y="236"/>
                  </a:lnTo>
                  <a:lnTo>
                    <a:pt x="108" y="242"/>
                  </a:lnTo>
                  <a:lnTo>
                    <a:pt x="105" y="246"/>
                  </a:lnTo>
                  <a:lnTo>
                    <a:pt x="101" y="249"/>
                  </a:lnTo>
                  <a:lnTo>
                    <a:pt x="97" y="253"/>
                  </a:lnTo>
                  <a:lnTo>
                    <a:pt x="91" y="255"/>
                  </a:lnTo>
                  <a:lnTo>
                    <a:pt x="86" y="257"/>
                  </a:lnTo>
                  <a:lnTo>
                    <a:pt x="81" y="260"/>
                  </a:lnTo>
                  <a:lnTo>
                    <a:pt x="74" y="262"/>
                  </a:lnTo>
                  <a:lnTo>
                    <a:pt x="68" y="262"/>
                  </a:lnTo>
                  <a:lnTo>
                    <a:pt x="61" y="263"/>
                  </a:lnTo>
                  <a:lnTo>
                    <a:pt x="53" y="262"/>
                  </a:lnTo>
                  <a:lnTo>
                    <a:pt x="47" y="262"/>
                  </a:lnTo>
                  <a:lnTo>
                    <a:pt x="41" y="260"/>
                  </a:lnTo>
                  <a:lnTo>
                    <a:pt x="34" y="257"/>
                  </a:lnTo>
                  <a:lnTo>
                    <a:pt x="29" y="255"/>
                  </a:lnTo>
                  <a:lnTo>
                    <a:pt x="24" y="253"/>
                  </a:lnTo>
                  <a:lnTo>
                    <a:pt x="19" y="249"/>
                  </a:lnTo>
                  <a:lnTo>
                    <a:pt x="15" y="246"/>
                  </a:lnTo>
                  <a:lnTo>
                    <a:pt x="12" y="242"/>
                  </a:lnTo>
                  <a:lnTo>
                    <a:pt x="9" y="236"/>
                  </a:lnTo>
                  <a:lnTo>
                    <a:pt x="7" y="231"/>
                  </a:lnTo>
                  <a:lnTo>
                    <a:pt x="5" y="226"/>
                  </a:lnTo>
                  <a:lnTo>
                    <a:pt x="3" y="219"/>
                  </a:lnTo>
                  <a:lnTo>
                    <a:pt x="1" y="212"/>
                  </a:lnTo>
                  <a:lnTo>
                    <a:pt x="0" y="206"/>
                  </a:lnTo>
                  <a:lnTo>
                    <a:pt x="0" y="198"/>
                  </a:lnTo>
                  <a:lnTo>
                    <a:pt x="0" y="182"/>
                  </a:lnTo>
                  <a:lnTo>
                    <a:pt x="38" y="182"/>
                  </a:lnTo>
                  <a:lnTo>
                    <a:pt x="38" y="200"/>
                  </a:lnTo>
                  <a:lnTo>
                    <a:pt x="38" y="207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9"/>
                  </a:lnTo>
                  <a:lnTo>
                    <a:pt x="47" y="223"/>
                  </a:lnTo>
                  <a:lnTo>
                    <a:pt x="51" y="224"/>
                  </a:lnTo>
                  <a:lnTo>
                    <a:pt x="54" y="225"/>
                  </a:lnTo>
                  <a:lnTo>
                    <a:pt x="60" y="226"/>
                  </a:lnTo>
                  <a:lnTo>
                    <a:pt x="64" y="225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74" y="219"/>
                  </a:lnTo>
                  <a:lnTo>
                    <a:pt x="77" y="216"/>
                  </a:lnTo>
                  <a:lnTo>
                    <a:pt x="79" y="212"/>
                  </a:lnTo>
                  <a:lnTo>
                    <a:pt x="80" y="207"/>
                  </a:lnTo>
                  <a:lnTo>
                    <a:pt x="80" y="200"/>
                  </a:lnTo>
                  <a:lnTo>
                    <a:pt x="80" y="191"/>
                  </a:lnTo>
                  <a:lnTo>
                    <a:pt x="79" y="187"/>
                  </a:lnTo>
                  <a:lnTo>
                    <a:pt x="77" y="182"/>
                  </a:lnTo>
                  <a:lnTo>
                    <a:pt x="73" y="175"/>
                  </a:lnTo>
                  <a:lnTo>
                    <a:pt x="68" y="168"/>
                  </a:lnTo>
                  <a:lnTo>
                    <a:pt x="62" y="160"/>
                  </a:lnTo>
                  <a:lnTo>
                    <a:pt x="55" y="154"/>
                  </a:lnTo>
                  <a:lnTo>
                    <a:pt x="41" y="140"/>
                  </a:lnTo>
                  <a:lnTo>
                    <a:pt x="33" y="134"/>
                  </a:lnTo>
                  <a:lnTo>
                    <a:pt x="27" y="126"/>
                  </a:lnTo>
                  <a:lnTo>
                    <a:pt x="19" y="118"/>
                  </a:lnTo>
                  <a:lnTo>
                    <a:pt x="16" y="114"/>
                  </a:lnTo>
                  <a:lnTo>
                    <a:pt x="14" y="109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5" y="89"/>
                  </a:lnTo>
                  <a:lnTo>
                    <a:pt x="4" y="84"/>
                  </a:lnTo>
                  <a:lnTo>
                    <a:pt x="3" y="78"/>
                  </a:lnTo>
                  <a:lnTo>
                    <a:pt x="1" y="71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4" y="44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0" y="27"/>
                  </a:lnTo>
                  <a:lnTo>
                    <a:pt x="13" y="22"/>
                  </a:lnTo>
                  <a:lnTo>
                    <a:pt x="16" y="17"/>
                  </a:lnTo>
                  <a:lnTo>
                    <a:pt x="20" y="13"/>
                  </a:lnTo>
                  <a:lnTo>
                    <a:pt x="25" y="10"/>
                  </a:lnTo>
                  <a:lnTo>
                    <a:pt x="30" y="8"/>
                  </a:lnTo>
                  <a:lnTo>
                    <a:pt x="35" y="5"/>
                  </a:lnTo>
                  <a:lnTo>
                    <a:pt x="41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94211229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4D05E0-02D4-450E-8D35-CB45AE24F5FD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6"/>
            <p:cNvSpPr>
              <a:spLocks noEditPoints="1"/>
            </p:cNvSpPr>
            <p:nvPr userDrawn="1"/>
          </p:nvSpPr>
          <p:spPr bwMode="auto">
            <a:xfrm>
              <a:off x="9315323" y="6471960"/>
              <a:ext cx="1045515" cy="247226"/>
            </a:xfrm>
            <a:custGeom>
              <a:avLst/>
              <a:gdLst>
                <a:gd name="T0" fmla="*/ 975 w 1109"/>
                <a:gd name="T1" fmla="*/ 4 h 263"/>
                <a:gd name="T2" fmla="*/ 897 w 1109"/>
                <a:gd name="T3" fmla="*/ 4 h 263"/>
                <a:gd name="T4" fmla="*/ 779 w 1109"/>
                <a:gd name="T5" fmla="*/ 260 h 263"/>
                <a:gd name="T6" fmla="*/ 696 w 1109"/>
                <a:gd name="T7" fmla="*/ 219 h 263"/>
                <a:gd name="T8" fmla="*/ 705 w 1109"/>
                <a:gd name="T9" fmla="*/ 175 h 263"/>
                <a:gd name="T10" fmla="*/ 691 w 1109"/>
                <a:gd name="T11" fmla="*/ 145 h 263"/>
                <a:gd name="T12" fmla="*/ 683 w 1109"/>
                <a:gd name="T13" fmla="*/ 107 h 263"/>
                <a:gd name="T14" fmla="*/ 700 w 1109"/>
                <a:gd name="T15" fmla="*/ 81 h 263"/>
                <a:gd name="T16" fmla="*/ 693 w 1109"/>
                <a:gd name="T17" fmla="*/ 44 h 263"/>
                <a:gd name="T18" fmla="*/ 741 w 1109"/>
                <a:gd name="T19" fmla="*/ 81 h 263"/>
                <a:gd name="T20" fmla="*/ 715 w 1109"/>
                <a:gd name="T21" fmla="*/ 123 h 263"/>
                <a:gd name="T22" fmla="*/ 744 w 1109"/>
                <a:gd name="T23" fmla="*/ 159 h 263"/>
                <a:gd name="T24" fmla="*/ 742 w 1109"/>
                <a:gd name="T25" fmla="*/ 225 h 263"/>
                <a:gd name="T26" fmla="*/ 716 w 1109"/>
                <a:gd name="T27" fmla="*/ 253 h 263"/>
                <a:gd name="T28" fmla="*/ 621 w 1109"/>
                <a:gd name="T29" fmla="*/ 4 h 263"/>
                <a:gd name="T30" fmla="*/ 718 w 1109"/>
                <a:gd name="T31" fmla="*/ 12 h 263"/>
                <a:gd name="T32" fmla="*/ 740 w 1109"/>
                <a:gd name="T33" fmla="*/ 43 h 263"/>
                <a:gd name="T34" fmla="*/ 506 w 1109"/>
                <a:gd name="T35" fmla="*/ 214 h 263"/>
                <a:gd name="T36" fmla="*/ 529 w 1109"/>
                <a:gd name="T37" fmla="*/ 226 h 263"/>
                <a:gd name="T38" fmla="*/ 546 w 1109"/>
                <a:gd name="T39" fmla="*/ 200 h 263"/>
                <a:gd name="T40" fmla="*/ 537 w 1109"/>
                <a:gd name="T41" fmla="*/ 41 h 263"/>
                <a:gd name="T42" fmla="*/ 510 w 1109"/>
                <a:gd name="T43" fmla="*/ 43 h 263"/>
                <a:gd name="T44" fmla="*/ 464 w 1109"/>
                <a:gd name="T45" fmla="*/ 58 h 263"/>
                <a:gd name="T46" fmla="*/ 479 w 1109"/>
                <a:gd name="T47" fmla="*/ 17 h 263"/>
                <a:gd name="T48" fmla="*/ 518 w 1109"/>
                <a:gd name="T49" fmla="*/ 0 h 263"/>
                <a:gd name="T50" fmla="*/ 562 w 1109"/>
                <a:gd name="T51" fmla="*/ 10 h 263"/>
                <a:gd name="T52" fmla="*/ 583 w 1109"/>
                <a:gd name="T53" fmla="*/ 44 h 263"/>
                <a:gd name="T54" fmla="*/ 583 w 1109"/>
                <a:gd name="T55" fmla="*/ 219 h 263"/>
                <a:gd name="T56" fmla="*/ 562 w 1109"/>
                <a:gd name="T57" fmla="*/ 253 h 263"/>
                <a:gd name="T58" fmla="*/ 518 w 1109"/>
                <a:gd name="T59" fmla="*/ 262 h 263"/>
                <a:gd name="T60" fmla="*/ 479 w 1109"/>
                <a:gd name="T61" fmla="*/ 246 h 263"/>
                <a:gd name="T62" fmla="*/ 464 w 1109"/>
                <a:gd name="T63" fmla="*/ 206 h 263"/>
                <a:gd name="T64" fmla="*/ 391 w 1109"/>
                <a:gd name="T65" fmla="*/ 260 h 263"/>
                <a:gd name="T66" fmla="*/ 259 w 1109"/>
                <a:gd name="T67" fmla="*/ 4 h 263"/>
                <a:gd name="T68" fmla="*/ 151 w 1109"/>
                <a:gd name="T69" fmla="*/ 114 h 263"/>
                <a:gd name="T70" fmla="*/ 97 w 1109"/>
                <a:gd name="T71" fmla="*/ 10 h 263"/>
                <a:gd name="T72" fmla="*/ 118 w 1109"/>
                <a:gd name="T73" fmla="*/ 44 h 263"/>
                <a:gd name="T74" fmla="*/ 82 w 1109"/>
                <a:gd name="T75" fmla="*/ 57 h 263"/>
                <a:gd name="T76" fmla="*/ 66 w 1109"/>
                <a:gd name="T77" fmla="*/ 37 h 263"/>
                <a:gd name="T78" fmla="*/ 44 w 1109"/>
                <a:gd name="T79" fmla="*/ 48 h 263"/>
                <a:gd name="T80" fmla="*/ 49 w 1109"/>
                <a:gd name="T81" fmla="*/ 88 h 263"/>
                <a:gd name="T82" fmla="*/ 102 w 1109"/>
                <a:gd name="T83" fmla="*/ 144 h 263"/>
                <a:gd name="T84" fmla="*/ 120 w 1109"/>
                <a:gd name="T85" fmla="*/ 184 h 263"/>
                <a:gd name="T86" fmla="*/ 115 w 1109"/>
                <a:gd name="T87" fmla="*/ 231 h 263"/>
                <a:gd name="T88" fmla="*/ 86 w 1109"/>
                <a:gd name="T89" fmla="*/ 257 h 263"/>
                <a:gd name="T90" fmla="*/ 41 w 1109"/>
                <a:gd name="T91" fmla="*/ 260 h 263"/>
                <a:gd name="T92" fmla="*/ 9 w 1109"/>
                <a:gd name="T93" fmla="*/ 236 h 263"/>
                <a:gd name="T94" fmla="*/ 0 w 1109"/>
                <a:gd name="T95" fmla="*/ 182 h 263"/>
                <a:gd name="T96" fmla="*/ 47 w 1109"/>
                <a:gd name="T97" fmla="*/ 223 h 263"/>
                <a:gd name="T98" fmla="*/ 74 w 1109"/>
                <a:gd name="T99" fmla="*/ 219 h 263"/>
                <a:gd name="T100" fmla="*/ 77 w 1109"/>
                <a:gd name="T101" fmla="*/ 182 h 263"/>
                <a:gd name="T102" fmla="*/ 27 w 1109"/>
                <a:gd name="T103" fmla="*/ 126 h 263"/>
                <a:gd name="T104" fmla="*/ 4 w 1109"/>
                <a:gd name="T105" fmla="*/ 84 h 263"/>
                <a:gd name="T106" fmla="*/ 6 w 1109"/>
                <a:gd name="T107" fmla="*/ 37 h 263"/>
                <a:gd name="T108" fmla="*/ 30 w 1109"/>
                <a:gd name="T109" fmla="*/ 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9" h="263">
                  <a:moveTo>
                    <a:pt x="1069" y="4"/>
                  </a:moveTo>
                  <a:lnTo>
                    <a:pt x="1109" y="4"/>
                  </a:lnTo>
                  <a:lnTo>
                    <a:pt x="1109" y="260"/>
                  </a:lnTo>
                  <a:lnTo>
                    <a:pt x="1069" y="260"/>
                  </a:lnTo>
                  <a:lnTo>
                    <a:pt x="1069" y="4"/>
                  </a:lnTo>
                  <a:close/>
                  <a:moveTo>
                    <a:pt x="935" y="4"/>
                  </a:moveTo>
                  <a:lnTo>
                    <a:pt x="975" y="4"/>
                  </a:lnTo>
                  <a:lnTo>
                    <a:pt x="975" y="223"/>
                  </a:lnTo>
                  <a:lnTo>
                    <a:pt x="1042" y="223"/>
                  </a:lnTo>
                  <a:lnTo>
                    <a:pt x="1042" y="260"/>
                  </a:lnTo>
                  <a:lnTo>
                    <a:pt x="935" y="260"/>
                  </a:lnTo>
                  <a:lnTo>
                    <a:pt x="935" y="4"/>
                  </a:lnTo>
                  <a:close/>
                  <a:moveTo>
                    <a:pt x="857" y="4"/>
                  </a:moveTo>
                  <a:lnTo>
                    <a:pt x="897" y="4"/>
                  </a:lnTo>
                  <a:lnTo>
                    <a:pt x="897" y="260"/>
                  </a:lnTo>
                  <a:lnTo>
                    <a:pt x="857" y="260"/>
                  </a:lnTo>
                  <a:lnTo>
                    <a:pt x="857" y="4"/>
                  </a:lnTo>
                  <a:close/>
                  <a:moveTo>
                    <a:pt x="779" y="4"/>
                  </a:moveTo>
                  <a:lnTo>
                    <a:pt x="819" y="4"/>
                  </a:lnTo>
                  <a:lnTo>
                    <a:pt x="819" y="260"/>
                  </a:lnTo>
                  <a:lnTo>
                    <a:pt x="779" y="260"/>
                  </a:lnTo>
                  <a:lnTo>
                    <a:pt x="779" y="4"/>
                  </a:lnTo>
                  <a:close/>
                  <a:moveTo>
                    <a:pt x="661" y="144"/>
                  </a:moveTo>
                  <a:lnTo>
                    <a:pt x="661" y="223"/>
                  </a:lnTo>
                  <a:lnTo>
                    <a:pt x="685" y="223"/>
                  </a:lnTo>
                  <a:lnTo>
                    <a:pt x="689" y="223"/>
                  </a:lnTo>
                  <a:lnTo>
                    <a:pt x="693" y="221"/>
                  </a:lnTo>
                  <a:lnTo>
                    <a:pt x="696" y="219"/>
                  </a:lnTo>
                  <a:lnTo>
                    <a:pt x="699" y="217"/>
                  </a:lnTo>
                  <a:lnTo>
                    <a:pt x="702" y="214"/>
                  </a:lnTo>
                  <a:lnTo>
                    <a:pt x="703" y="212"/>
                  </a:lnTo>
                  <a:lnTo>
                    <a:pt x="704" y="210"/>
                  </a:lnTo>
                  <a:lnTo>
                    <a:pt x="705" y="205"/>
                  </a:lnTo>
                  <a:lnTo>
                    <a:pt x="705" y="197"/>
                  </a:lnTo>
                  <a:lnTo>
                    <a:pt x="705" y="175"/>
                  </a:lnTo>
                  <a:lnTo>
                    <a:pt x="705" y="168"/>
                  </a:lnTo>
                  <a:lnTo>
                    <a:pt x="704" y="160"/>
                  </a:lnTo>
                  <a:lnTo>
                    <a:pt x="702" y="155"/>
                  </a:lnTo>
                  <a:lnTo>
                    <a:pt x="698" y="151"/>
                  </a:lnTo>
                  <a:lnTo>
                    <a:pt x="697" y="150"/>
                  </a:lnTo>
                  <a:lnTo>
                    <a:pt x="695" y="147"/>
                  </a:lnTo>
                  <a:lnTo>
                    <a:pt x="691" y="145"/>
                  </a:lnTo>
                  <a:lnTo>
                    <a:pt x="686" y="144"/>
                  </a:lnTo>
                  <a:lnTo>
                    <a:pt x="679" y="144"/>
                  </a:lnTo>
                  <a:lnTo>
                    <a:pt x="661" y="144"/>
                  </a:lnTo>
                  <a:close/>
                  <a:moveTo>
                    <a:pt x="661" y="41"/>
                  </a:moveTo>
                  <a:lnTo>
                    <a:pt x="661" y="107"/>
                  </a:lnTo>
                  <a:lnTo>
                    <a:pt x="677" y="107"/>
                  </a:lnTo>
                  <a:lnTo>
                    <a:pt x="683" y="107"/>
                  </a:lnTo>
                  <a:lnTo>
                    <a:pt x="687" y="106"/>
                  </a:lnTo>
                  <a:lnTo>
                    <a:pt x="691" y="104"/>
                  </a:lnTo>
                  <a:lnTo>
                    <a:pt x="694" y="102"/>
                  </a:lnTo>
                  <a:lnTo>
                    <a:pt x="697" y="98"/>
                  </a:lnTo>
                  <a:lnTo>
                    <a:pt x="699" y="94"/>
                  </a:lnTo>
                  <a:lnTo>
                    <a:pt x="700" y="88"/>
                  </a:lnTo>
                  <a:lnTo>
                    <a:pt x="700" y="81"/>
                  </a:lnTo>
                  <a:lnTo>
                    <a:pt x="700" y="66"/>
                  </a:lnTo>
                  <a:lnTo>
                    <a:pt x="700" y="60"/>
                  </a:lnTo>
                  <a:lnTo>
                    <a:pt x="699" y="54"/>
                  </a:lnTo>
                  <a:lnTo>
                    <a:pt x="699" y="52"/>
                  </a:lnTo>
                  <a:lnTo>
                    <a:pt x="698" y="50"/>
                  </a:lnTo>
                  <a:lnTo>
                    <a:pt x="696" y="46"/>
                  </a:lnTo>
                  <a:lnTo>
                    <a:pt x="693" y="44"/>
                  </a:lnTo>
                  <a:lnTo>
                    <a:pt x="690" y="42"/>
                  </a:lnTo>
                  <a:lnTo>
                    <a:pt x="686" y="41"/>
                  </a:lnTo>
                  <a:lnTo>
                    <a:pt x="680" y="41"/>
                  </a:lnTo>
                  <a:lnTo>
                    <a:pt x="661" y="41"/>
                  </a:lnTo>
                  <a:close/>
                  <a:moveTo>
                    <a:pt x="741" y="63"/>
                  </a:moveTo>
                  <a:lnTo>
                    <a:pt x="741" y="71"/>
                  </a:lnTo>
                  <a:lnTo>
                    <a:pt x="741" y="81"/>
                  </a:lnTo>
                  <a:lnTo>
                    <a:pt x="740" y="89"/>
                  </a:lnTo>
                  <a:lnTo>
                    <a:pt x="738" y="97"/>
                  </a:lnTo>
                  <a:lnTo>
                    <a:pt x="735" y="104"/>
                  </a:lnTo>
                  <a:lnTo>
                    <a:pt x="731" y="110"/>
                  </a:lnTo>
                  <a:lnTo>
                    <a:pt x="727" y="115"/>
                  </a:lnTo>
                  <a:lnTo>
                    <a:pt x="722" y="120"/>
                  </a:lnTo>
                  <a:lnTo>
                    <a:pt x="715" y="123"/>
                  </a:lnTo>
                  <a:lnTo>
                    <a:pt x="723" y="126"/>
                  </a:lnTo>
                  <a:lnTo>
                    <a:pt x="726" y="128"/>
                  </a:lnTo>
                  <a:lnTo>
                    <a:pt x="729" y="132"/>
                  </a:lnTo>
                  <a:lnTo>
                    <a:pt x="734" y="137"/>
                  </a:lnTo>
                  <a:lnTo>
                    <a:pt x="739" y="143"/>
                  </a:lnTo>
                  <a:lnTo>
                    <a:pt x="742" y="151"/>
                  </a:lnTo>
                  <a:lnTo>
                    <a:pt x="744" y="159"/>
                  </a:lnTo>
                  <a:lnTo>
                    <a:pt x="745" y="169"/>
                  </a:lnTo>
                  <a:lnTo>
                    <a:pt x="745" y="178"/>
                  </a:lnTo>
                  <a:lnTo>
                    <a:pt x="745" y="198"/>
                  </a:lnTo>
                  <a:lnTo>
                    <a:pt x="745" y="206"/>
                  </a:lnTo>
                  <a:lnTo>
                    <a:pt x="744" y="213"/>
                  </a:lnTo>
                  <a:lnTo>
                    <a:pt x="743" y="219"/>
                  </a:lnTo>
                  <a:lnTo>
                    <a:pt x="742" y="225"/>
                  </a:lnTo>
                  <a:lnTo>
                    <a:pt x="740" y="230"/>
                  </a:lnTo>
                  <a:lnTo>
                    <a:pt x="736" y="235"/>
                  </a:lnTo>
                  <a:lnTo>
                    <a:pt x="733" y="239"/>
                  </a:lnTo>
                  <a:lnTo>
                    <a:pt x="730" y="244"/>
                  </a:lnTo>
                  <a:lnTo>
                    <a:pt x="726" y="248"/>
                  </a:lnTo>
                  <a:lnTo>
                    <a:pt x="721" y="250"/>
                  </a:lnTo>
                  <a:lnTo>
                    <a:pt x="716" y="253"/>
                  </a:lnTo>
                  <a:lnTo>
                    <a:pt x="711" y="255"/>
                  </a:lnTo>
                  <a:lnTo>
                    <a:pt x="705" y="257"/>
                  </a:lnTo>
                  <a:lnTo>
                    <a:pt x="698" y="259"/>
                  </a:lnTo>
                  <a:lnTo>
                    <a:pt x="691" y="260"/>
                  </a:lnTo>
                  <a:lnTo>
                    <a:pt x="685" y="260"/>
                  </a:lnTo>
                  <a:lnTo>
                    <a:pt x="621" y="260"/>
                  </a:lnTo>
                  <a:lnTo>
                    <a:pt x="621" y="4"/>
                  </a:lnTo>
                  <a:lnTo>
                    <a:pt x="681" y="4"/>
                  </a:lnTo>
                  <a:lnTo>
                    <a:pt x="689" y="4"/>
                  </a:lnTo>
                  <a:lnTo>
                    <a:pt x="696" y="5"/>
                  </a:lnTo>
                  <a:lnTo>
                    <a:pt x="703" y="6"/>
                  </a:lnTo>
                  <a:lnTo>
                    <a:pt x="709" y="7"/>
                  </a:lnTo>
                  <a:lnTo>
                    <a:pt x="714" y="9"/>
                  </a:lnTo>
                  <a:lnTo>
                    <a:pt x="718" y="12"/>
                  </a:lnTo>
                  <a:lnTo>
                    <a:pt x="723" y="15"/>
                  </a:lnTo>
                  <a:lnTo>
                    <a:pt x="727" y="18"/>
                  </a:lnTo>
                  <a:lnTo>
                    <a:pt x="730" y="22"/>
                  </a:lnTo>
                  <a:lnTo>
                    <a:pt x="733" y="27"/>
                  </a:lnTo>
                  <a:lnTo>
                    <a:pt x="735" y="31"/>
                  </a:lnTo>
                  <a:lnTo>
                    <a:pt x="738" y="36"/>
                  </a:lnTo>
                  <a:lnTo>
                    <a:pt x="740" y="43"/>
                  </a:lnTo>
                  <a:lnTo>
                    <a:pt x="741" y="48"/>
                  </a:lnTo>
                  <a:lnTo>
                    <a:pt x="741" y="55"/>
                  </a:lnTo>
                  <a:lnTo>
                    <a:pt x="741" y="63"/>
                  </a:lnTo>
                  <a:close/>
                  <a:moveTo>
                    <a:pt x="504" y="200"/>
                  </a:moveTo>
                  <a:lnTo>
                    <a:pt x="505" y="207"/>
                  </a:lnTo>
                  <a:lnTo>
                    <a:pt x="506" y="212"/>
                  </a:lnTo>
                  <a:lnTo>
                    <a:pt x="506" y="214"/>
                  </a:lnTo>
                  <a:lnTo>
                    <a:pt x="507" y="216"/>
                  </a:lnTo>
                  <a:lnTo>
                    <a:pt x="510" y="220"/>
                  </a:lnTo>
                  <a:lnTo>
                    <a:pt x="512" y="223"/>
                  </a:lnTo>
                  <a:lnTo>
                    <a:pt x="516" y="225"/>
                  </a:lnTo>
                  <a:lnTo>
                    <a:pt x="521" y="226"/>
                  </a:lnTo>
                  <a:lnTo>
                    <a:pt x="525" y="226"/>
                  </a:lnTo>
                  <a:lnTo>
                    <a:pt x="529" y="226"/>
                  </a:lnTo>
                  <a:lnTo>
                    <a:pt x="533" y="225"/>
                  </a:lnTo>
                  <a:lnTo>
                    <a:pt x="537" y="223"/>
                  </a:lnTo>
                  <a:lnTo>
                    <a:pt x="540" y="220"/>
                  </a:lnTo>
                  <a:lnTo>
                    <a:pt x="543" y="216"/>
                  </a:lnTo>
                  <a:lnTo>
                    <a:pt x="544" y="212"/>
                  </a:lnTo>
                  <a:lnTo>
                    <a:pt x="545" y="207"/>
                  </a:lnTo>
                  <a:lnTo>
                    <a:pt x="546" y="200"/>
                  </a:lnTo>
                  <a:lnTo>
                    <a:pt x="546" y="63"/>
                  </a:lnTo>
                  <a:lnTo>
                    <a:pt x="545" y="57"/>
                  </a:lnTo>
                  <a:lnTo>
                    <a:pt x="544" y="51"/>
                  </a:lnTo>
                  <a:lnTo>
                    <a:pt x="543" y="48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37" y="41"/>
                  </a:lnTo>
                  <a:lnTo>
                    <a:pt x="533" y="39"/>
                  </a:lnTo>
                  <a:lnTo>
                    <a:pt x="529" y="37"/>
                  </a:lnTo>
                  <a:lnTo>
                    <a:pt x="525" y="37"/>
                  </a:lnTo>
                  <a:lnTo>
                    <a:pt x="521" y="37"/>
                  </a:lnTo>
                  <a:lnTo>
                    <a:pt x="516" y="39"/>
                  </a:lnTo>
                  <a:lnTo>
                    <a:pt x="512" y="41"/>
                  </a:lnTo>
                  <a:lnTo>
                    <a:pt x="510" y="43"/>
                  </a:lnTo>
                  <a:lnTo>
                    <a:pt x="507" y="46"/>
                  </a:lnTo>
                  <a:lnTo>
                    <a:pt x="506" y="51"/>
                  </a:lnTo>
                  <a:lnTo>
                    <a:pt x="505" y="57"/>
                  </a:lnTo>
                  <a:lnTo>
                    <a:pt x="504" y="63"/>
                  </a:lnTo>
                  <a:lnTo>
                    <a:pt x="504" y="200"/>
                  </a:lnTo>
                  <a:close/>
                  <a:moveTo>
                    <a:pt x="464" y="65"/>
                  </a:moveTo>
                  <a:lnTo>
                    <a:pt x="464" y="58"/>
                  </a:lnTo>
                  <a:lnTo>
                    <a:pt x="465" y="50"/>
                  </a:lnTo>
                  <a:lnTo>
                    <a:pt x="466" y="44"/>
                  </a:lnTo>
                  <a:lnTo>
                    <a:pt x="468" y="37"/>
                  </a:lnTo>
                  <a:lnTo>
                    <a:pt x="470" y="32"/>
                  </a:lnTo>
                  <a:lnTo>
                    <a:pt x="473" y="27"/>
                  </a:lnTo>
                  <a:lnTo>
                    <a:pt x="476" y="22"/>
                  </a:lnTo>
                  <a:lnTo>
                    <a:pt x="479" y="17"/>
                  </a:lnTo>
                  <a:lnTo>
                    <a:pt x="484" y="13"/>
                  </a:lnTo>
                  <a:lnTo>
                    <a:pt x="488" y="10"/>
                  </a:lnTo>
                  <a:lnTo>
                    <a:pt x="493" y="8"/>
                  </a:lnTo>
                  <a:lnTo>
                    <a:pt x="499" y="5"/>
                  </a:lnTo>
                  <a:lnTo>
                    <a:pt x="505" y="3"/>
                  </a:lnTo>
                  <a:lnTo>
                    <a:pt x="511" y="2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9" y="2"/>
                  </a:lnTo>
                  <a:lnTo>
                    <a:pt x="545" y="3"/>
                  </a:lnTo>
                  <a:lnTo>
                    <a:pt x="551" y="5"/>
                  </a:lnTo>
                  <a:lnTo>
                    <a:pt x="557" y="8"/>
                  </a:lnTo>
                  <a:lnTo>
                    <a:pt x="562" y="10"/>
                  </a:lnTo>
                  <a:lnTo>
                    <a:pt x="566" y="13"/>
                  </a:lnTo>
                  <a:lnTo>
                    <a:pt x="570" y="17"/>
                  </a:lnTo>
                  <a:lnTo>
                    <a:pt x="574" y="22"/>
                  </a:lnTo>
                  <a:lnTo>
                    <a:pt x="577" y="27"/>
                  </a:lnTo>
                  <a:lnTo>
                    <a:pt x="580" y="32"/>
                  </a:lnTo>
                  <a:lnTo>
                    <a:pt x="582" y="37"/>
                  </a:lnTo>
                  <a:lnTo>
                    <a:pt x="583" y="44"/>
                  </a:lnTo>
                  <a:lnTo>
                    <a:pt x="585" y="50"/>
                  </a:lnTo>
                  <a:lnTo>
                    <a:pt x="585" y="58"/>
                  </a:lnTo>
                  <a:lnTo>
                    <a:pt x="586" y="65"/>
                  </a:lnTo>
                  <a:lnTo>
                    <a:pt x="586" y="198"/>
                  </a:lnTo>
                  <a:lnTo>
                    <a:pt x="585" y="206"/>
                  </a:lnTo>
                  <a:lnTo>
                    <a:pt x="585" y="212"/>
                  </a:lnTo>
                  <a:lnTo>
                    <a:pt x="583" y="219"/>
                  </a:lnTo>
                  <a:lnTo>
                    <a:pt x="582" y="226"/>
                  </a:lnTo>
                  <a:lnTo>
                    <a:pt x="580" y="231"/>
                  </a:lnTo>
                  <a:lnTo>
                    <a:pt x="577" y="236"/>
                  </a:lnTo>
                  <a:lnTo>
                    <a:pt x="574" y="242"/>
                  </a:lnTo>
                  <a:lnTo>
                    <a:pt x="570" y="246"/>
                  </a:lnTo>
                  <a:lnTo>
                    <a:pt x="566" y="249"/>
                  </a:lnTo>
                  <a:lnTo>
                    <a:pt x="562" y="253"/>
                  </a:lnTo>
                  <a:lnTo>
                    <a:pt x="557" y="255"/>
                  </a:lnTo>
                  <a:lnTo>
                    <a:pt x="551" y="257"/>
                  </a:lnTo>
                  <a:lnTo>
                    <a:pt x="545" y="260"/>
                  </a:lnTo>
                  <a:lnTo>
                    <a:pt x="539" y="262"/>
                  </a:lnTo>
                  <a:lnTo>
                    <a:pt x="532" y="262"/>
                  </a:lnTo>
                  <a:lnTo>
                    <a:pt x="525" y="263"/>
                  </a:lnTo>
                  <a:lnTo>
                    <a:pt x="518" y="262"/>
                  </a:lnTo>
                  <a:lnTo>
                    <a:pt x="511" y="262"/>
                  </a:lnTo>
                  <a:lnTo>
                    <a:pt x="505" y="260"/>
                  </a:lnTo>
                  <a:lnTo>
                    <a:pt x="499" y="257"/>
                  </a:lnTo>
                  <a:lnTo>
                    <a:pt x="493" y="255"/>
                  </a:lnTo>
                  <a:lnTo>
                    <a:pt x="488" y="253"/>
                  </a:lnTo>
                  <a:lnTo>
                    <a:pt x="484" y="249"/>
                  </a:lnTo>
                  <a:lnTo>
                    <a:pt x="479" y="246"/>
                  </a:lnTo>
                  <a:lnTo>
                    <a:pt x="476" y="242"/>
                  </a:lnTo>
                  <a:lnTo>
                    <a:pt x="473" y="236"/>
                  </a:lnTo>
                  <a:lnTo>
                    <a:pt x="470" y="231"/>
                  </a:lnTo>
                  <a:lnTo>
                    <a:pt x="468" y="226"/>
                  </a:lnTo>
                  <a:lnTo>
                    <a:pt x="466" y="219"/>
                  </a:lnTo>
                  <a:lnTo>
                    <a:pt x="465" y="212"/>
                  </a:lnTo>
                  <a:lnTo>
                    <a:pt x="464" y="206"/>
                  </a:lnTo>
                  <a:lnTo>
                    <a:pt x="464" y="198"/>
                  </a:lnTo>
                  <a:lnTo>
                    <a:pt x="464" y="65"/>
                  </a:lnTo>
                  <a:close/>
                  <a:moveTo>
                    <a:pt x="345" y="186"/>
                  </a:moveTo>
                  <a:lnTo>
                    <a:pt x="373" y="4"/>
                  </a:lnTo>
                  <a:lnTo>
                    <a:pt x="429" y="4"/>
                  </a:lnTo>
                  <a:lnTo>
                    <a:pt x="429" y="260"/>
                  </a:lnTo>
                  <a:lnTo>
                    <a:pt x="391" y="260"/>
                  </a:lnTo>
                  <a:lnTo>
                    <a:pt x="391" y="76"/>
                  </a:lnTo>
                  <a:lnTo>
                    <a:pt x="363" y="260"/>
                  </a:lnTo>
                  <a:lnTo>
                    <a:pt x="325" y="260"/>
                  </a:lnTo>
                  <a:lnTo>
                    <a:pt x="295" y="79"/>
                  </a:lnTo>
                  <a:lnTo>
                    <a:pt x="295" y="260"/>
                  </a:lnTo>
                  <a:lnTo>
                    <a:pt x="259" y="260"/>
                  </a:lnTo>
                  <a:lnTo>
                    <a:pt x="259" y="4"/>
                  </a:lnTo>
                  <a:lnTo>
                    <a:pt x="316" y="4"/>
                  </a:lnTo>
                  <a:lnTo>
                    <a:pt x="345" y="186"/>
                  </a:lnTo>
                  <a:close/>
                  <a:moveTo>
                    <a:pt x="151" y="114"/>
                  </a:moveTo>
                  <a:lnTo>
                    <a:pt x="224" y="114"/>
                  </a:lnTo>
                  <a:lnTo>
                    <a:pt x="224" y="150"/>
                  </a:lnTo>
                  <a:lnTo>
                    <a:pt x="151" y="150"/>
                  </a:lnTo>
                  <a:lnTo>
                    <a:pt x="151" y="114"/>
                  </a:lnTo>
                  <a:close/>
                  <a:moveTo>
                    <a:pt x="61" y="0"/>
                  </a:moveTo>
                  <a:lnTo>
                    <a:pt x="68" y="0"/>
                  </a:lnTo>
                  <a:lnTo>
                    <a:pt x="74" y="2"/>
                  </a:lnTo>
                  <a:lnTo>
                    <a:pt x="81" y="3"/>
                  </a:lnTo>
                  <a:lnTo>
                    <a:pt x="86" y="5"/>
                  </a:lnTo>
                  <a:lnTo>
                    <a:pt x="91" y="8"/>
                  </a:lnTo>
                  <a:lnTo>
                    <a:pt x="97" y="10"/>
                  </a:lnTo>
                  <a:lnTo>
                    <a:pt x="101" y="13"/>
                  </a:lnTo>
                  <a:lnTo>
                    <a:pt x="105" y="17"/>
                  </a:lnTo>
                  <a:lnTo>
                    <a:pt x="108" y="22"/>
                  </a:lnTo>
                  <a:lnTo>
                    <a:pt x="111" y="27"/>
                  </a:lnTo>
                  <a:lnTo>
                    <a:pt x="115" y="32"/>
                  </a:lnTo>
                  <a:lnTo>
                    <a:pt x="117" y="37"/>
                  </a:lnTo>
                  <a:lnTo>
                    <a:pt x="118" y="44"/>
                  </a:lnTo>
                  <a:lnTo>
                    <a:pt x="119" y="50"/>
                  </a:lnTo>
                  <a:lnTo>
                    <a:pt x="120" y="58"/>
                  </a:lnTo>
                  <a:lnTo>
                    <a:pt x="120" y="65"/>
                  </a:lnTo>
                  <a:lnTo>
                    <a:pt x="120" y="73"/>
                  </a:lnTo>
                  <a:lnTo>
                    <a:pt x="82" y="73"/>
                  </a:lnTo>
                  <a:lnTo>
                    <a:pt x="82" y="63"/>
                  </a:lnTo>
                  <a:lnTo>
                    <a:pt x="82" y="57"/>
                  </a:lnTo>
                  <a:lnTo>
                    <a:pt x="81" y="51"/>
                  </a:lnTo>
                  <a:lnTo>
                    <a:pt x="79" y="46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70" y="39"/>
                  </a:lnTo>
                  <a:lnTo>
                    <a:pt x="66" y="37"/>
                  </a:lnTo>
                  <a:lnTo>
                    <a:pt x="62" y="37"/>
                  </a:lnTo>
                  <a:lnTo>
                    <a:pt x="58" y="37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5" y="46"/>
                  </a:lnTo>
                  <a:lnTo>
                    <a:pt x="44" y="48"/>
                  </a:lnTo>
                  <a:lnTo>
                    <a:pt x="43" y="51"/>
                  </a:lnTo>
                  <a:lnTo>
                    <a:pt x="42" y="57"/>
                  </a:lnTo>
                  <a:lnTo>
                    <a:pt x="42" y="63"/>
                  </a:lnTo>
                  <a:lnTo>
                    <a:pt x="43" y="71"/>
                  </a:lnTo>
                  <a:lnTo>
                    <a:pt x="44" y="77"/>
                  </a:lnTo>
                  <a:lnTo>
                    <a:pt x="45" y="81"/>
                  </a:lnTo>
                  <a:lnTo>
                    <a:pt x="49" y="88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67" y="109"/>
                  </a:lnTo>
                  <a:lnTo>
                    <a:pt x="81" y="122"/>
                  </a:lnTo>
                  <a:lnTo>
                    <a:pt x="88" y="129"/>
                  </a:lnTo>
                  <a:lnTo>
                    <a:pt x="96" y="137"/>
                  </a:lnTo>
                  <a:lnTo>
                    <a:pt x="102" y="144"/>
                  </a:lnTo>
                  <a:lnTo>
                    <a:pt x="105" y="149"/>
                  </a:lnTo>
                  <a:lnTo>
                    <a:pt x="108" y="154"/>
                  </a:lnTo>
                  <a:lnTo>
                    <a:pt x="114" y="163"/>
                  </a:lnTo>
                  <a:lnTo>
                    <a:pt x="116" y="168"/>
                  </a:lnTo>
                  <a:lnTo>
                    <a:pt x="117" y="173"/>
                  </a:lnTo>
                  <a:lnTo>
                    <a:pt x="119" y="179"/>
                  </a:lnTo>
                  <a:lnTo>
                    <a:pt x="120" y="184"/>
                  </a:lnTo>
                  <a:lnTo>
                    <a:pt x="120" y="191"/>
                  </a:lnTo>
                  <a:lnTo>
                    <a:pt x="120" y="198"/>
                  </a:lnTo>
                  <a:lnTo>
                    <a:pt x="120" y="206"/>
                  </a:lnTo>
                  <a:lnTo>
                    <a:pt x="120" y="212"/>
                  </a:lnTo>
                  <a:lnTo>
                    <a:pt x="118" y="219"/>
                  </a:lnTo>
                  <a:lnTo>
                    <a:pt x="117" y="226"/>
                  </a:lnTo>
                  <a:lnTo>
                    <a:pt x="115" y="231"/>
                  </a:lnTo>
                  <a:lnTo>
                    <a:pt x="111" y="236"/>
                  </a:lnTo>
                  <a:lnTo>
                    <a:pt x="108" y="242"/>
                  </a:lnTo>
                  <a:lnTo>
                    <a:pt x="105" y="246"/>
                  </a:lnTo>
                  <a:lnTo>
                    <a:pt x="101" y="249"/>
                  </a:lnTo>
                  <a:lnTo>
                    <a:pt x="97" y="253"/>
                  </a:lnTo>
                  <a:lnTo>
                    <a:pt x="91" y="255"/>
                  </a:lnTo>
                  <a:lnTo>
                    <a:pt x="86" y="257"/>
                  </a:lnTo>
                  <a:lnTo>
                    <a:pt x="81" y="260"/>
                  </a:lnTo>
                  <a:lnTo>
                    <a:pt x="74" y="262"/>
                  </a:lnTo>
                  <a:lnTo>
                    <a:pt x="68" y="262"/>
                  </a:lnTo>
                  <a:lnTo>
                    <a:pt x="61" y="263"/>
                  </a:lnTo>
                  <a:lnTo>
                    <a:pt x="53" y="262"/>
                  </a:lnTo>
                  <a:lnTo>
                    <a:pt x="47" y="262"/>
                  </a:lnTo>
                  <a:lnTo>
                    <a:pt x="41" y="260"/>
                  </a:lnTo>
                  <a:lnTo>
                    <a:pt x="34" y="257"/>
                  </a:lnTo>
                  <a:lnTo>
                    <a:pt x="29" y="255"/>
                  </a:lnTo>
                  <a:lnTo>
                    <a:pt x="24" y="253"/>
                  </a:lnTo>
                  <a:lnTo>
                    <a:pt x="19" y="249"/>
                  </a:lnTo>
                  <a:lnTo>
                    <a:pt x="15" y="246"/>
                  </a:lnTo>
                  <a:lnTo>
                    <a:pt x="12" y="242"/>
                  </a:lnTo>
                  <a:lnTo>
                    <a:pt x="9" y="236"/>
                  </a:lnTo>
                  <a:lnTo>
                    <a:pt x="7" y="231"/>
                  </a:lnTo>
                  <a:lnTo>
                    <a:pt x="5" y="226"/>
                  </a:lnTo>
                  <a:lnTo>
                    <a:pt x="3" y="219"/>
                  </a:lnTo>
                  <a:lnTo>
                    <a:pt x="1" y="212"/>
                  </a:lnTo>
                  <a:lnTo>
                    <a:pt x="0" y="206"/>
                  </a:lnTo>
                  <a:lnTo>
                    <a:pt x="0" y="198"/>
                  </a:lnTo>
                  <a:lnTo>
                    <a:pt x="0" y="182"/>
                  </a:lnTo>
                  <a:lnTo>
                    <a:pt x="38" y="182"/>
                  </a:lnTo>
                  <a:lnTo>
                    <a:pt x="38" y="200"/>
                  </a:lnTo>
                  <a:lnTo>
                    <a:pt x="38" y="207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9"/>
                  </a:lnTo>
                  <a:lnTo>
                    <a:pt x="47" y="223"/>
                  </a:lnTo>
                  <a:lnTo>
                    <a:pt x="51" y="224"/>
                  </a:lnTo>
                  <a:lnTo>
                    <a:pt x="54" y="225"/>
                  </a:lnTo>
                  <a:lnTo>
                    <a:pt x="60" y="226"/>
                  </a:lnTo>
                  <a:lnTo>
                    <a:pt x="64" y="225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74" y="219"/>
                  </a:lnTo>
                  <a:lnTo>
                    <a:pt x="77" y="216"/>
                  </a:lnTo>
                  <a:lnTo>
                    <a:pt x="79" y="212"/>
                  </a:lnTo>
                  <a:lnTo>
                    <a:pt x="80" y="207"/>
                  </a:lnTo>
                  <a:lnTo>
                    <a:pt x="80" y="200"/>
                  </a:lnTo>
                  <a:lnTo>
                    <a:pt x="80" y="191"/>
                  </a:lnTo>
                  <a:lnTo>
                    <a:pt x="79" y="187"/>
                  </a:lnTo>
                  <a:lnTo>
                    <a:pt x="77" y="182"/>
                  </a:lnTo>
                  <a:lnTo>
                    <a:pt x="73" y="175"/>
                  </a:lnTo>
                  <a:lnTo>
                    <a:pt x="68" y="168"/>
                  </a:lnTo>
                  <a:lnTo>
                    <a:pt x="62" y="160"/>
                  </a:lnTo>
                  <a:lnTo>
                    <a:pt x="55" y="154"/>
                  </a:lnTo>
                  <a:lnTo>
                    <a:pt x="41" y="140"/>
                  </a:lnTo>
                  <a:lnTo>
                    <a:pt x="33" y="134"/>
                  </a:lnTo>
                  <a:lnTo>
                    <a:pt x="27" y="126"/>
                  </a:lnTo>
                  <a:lnTo>
                    <a:pt x="19" y="118"/>
                  </a:lnTo>
                  <a:lnTo>
                    <a:pt x="16" y="114"/>
                  </a:lnTo>
                  <a:lnTo>
                    <a:pt x="14" y="109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5" y="89"/>
                  </a:lnTo>
                  <a:lnTo>
                    <a:pt x="4" y="84"/>
                  </a:lnTo>
                  <a:lnTo>
                    <a:pt x="3" y="78"/>
                  </a:lnTo>
                  <a:lnTo>
                    <a:pt x="1" y="71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4" y="44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0" y="27"/>
                  </a:lnTo>
                  <a:lnTo>
                    <a:pt x="13" y="22"/>
                  </a:lnTo>
                  <a:lnTo>
                    <a:pt x="16" y="17"/>
                  </a:lnTo>
                  <a:lnTo>
                    <a:pt x="20" y="13"/>
                  </a:lnTo>
                  <a:lnTo>
                    <a:pt x="25" y="10"/>
                  </a:lnTo>
                  <a:lnTo>
                    <a:pt x="30" y="8"/>
                  </a:lnTo>
                  <a:lnTo>
                    <a:pt x="35" y="5"/>
                  </a:lnTo>
                  <a:lnTo>
                    <a:pt x="41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53799219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4A4E53-BB4A-4291-BE05-87ADF41A524D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6"/>
            <p:cNvSpPr>
              <a:spLocks noEditPoints="1"/>
            </p:cNvSpPr>
            <p:nvPr userDrawn="1"/>
          </p:nvSpPr>
          <p:spPr bwMode="auto">
            <a:xfrm>
              <a:off x="9315323" y="6471960"/>
              <a:ext cx="1045515" cy="247226"/>
            </a:xfrm>
            <a:custGeom>
              <a:avLst/>
              <a:gdLst>
                <a:gd name="T0" fmla="*/ 975 w 1109"/>
                <a:gd name="T1" fmla="*/ 4 h 263"/>
                <a:gd name="T2" fmla="*/ 897 w 1109"/>
                <a:gd name="T3" fmla="*/ 4 h 263"/>
                <a:gd name="T4" fmla="*/ 779 w 1109"/>
                <a:gd name="T5" fmla="*/ 260 h 263"/>
                <a:gd name="T6" fmla="*/ 696 w 1109"/>
                <a:gd name="T7" fmla="*/ 219 h 263"/>
                <a:gd name="T8" fmla="*/ 705 w 1109"/>
                <a:gd name="T9" fmla="*/ 175 h 263"/>
                <a:gd name="T10" fmla="*/ 691 w 1109"/>
                <a:gd name="T11" fmla="*/ 145 h 263"/>
                <a:gd name="T12" fmla="*/ 683 w 1109"/>
                <a:gd name="T13" fmla="*/ 107 h 263"/>
                <a:gd name="T14" fmla="*/ 700 w 1109"/>
                <a:gd name="T15" fmla="*/ 81 h 263"/>
                <a:gd name="T16" fmla="*/ 693 w 1109"/>
                <a:gd name="T17" fmla="*/ 44 h 263"/>
                <a:gd name="T18" fmla="*/ 741 w 1109"/>
                <a:gd name="T19" fmla="*/ 81 h 263"/>
                <a:gd name="T20" fmla="*/ 715 w 1109"/>
                <a:gd name="T21" fmla="*/ 123 h 263"/>
                <a:gd name="T22" fmla="*/ 744 w 1109"/>
                <a:gd name="T23" fmla="*/ 159 h 263"/>
                <a:gd name="T24" fmla="*/ 742 w 1109"/>
                <a:gd name="T25" fmla="*/ 225 h 263"/>
                <a:gd name="T26" fmla="*/ 716 w 1109"/>
                <a:gd name="T27" fmla="*/ 253 h 263"/>
                <a:gd name="T28" fmla="*/ 621 w 1109"/>
                <a:gd name="T29" fmla="*/ 4 h 263"/>
                <a:gd name="T30" fmla="*/ 718 w 1109"/>
                <a:gd name="T31" fmla="*/ 12 h 263"/>
                <a:gd name="T32" fmla="*/ 740 w 1109"/>
                <a:gd name="T33" fmla="*/ 43 h 263"/>
                <a:gd name="T34" fmla="*/ 506 w 1109"/>
                <a:gd name="T35" fmla="*/ 214 h 263"/>
                <a:gd name="T36" fmla="*/ 529 w 1109"/>
                <a:gd name="T37" fmla="*/ 226 h 263"/>
                <a:gd name="T38" fmla="*/ 546 w 1109"/>
                <a:gd name="T39" fmla="*/ 200 h 263"/>
                <a:gd name="T40" fmla="*/ 537 w 1109"/>
                <a:gd name="T41" fmla="*/ 41 h 263"/>
                <a:gd name="T42" fmla="*/ 510 w 1109"/>
                <a:gd name="T43" fmla="*/ 43 h 263"/>
                <a:gd name="T44" fmla="*/ 464 w 1109"/>
                <a:gd name="T45" fmla="*/ 58 h 263"/>
                <a:gd name="T46" fmla="*/ 479 w 1109"/>
                <a:gd name="T47" fmla="*/ 17 h 263"/>
                <a:gd name="T48" fmla="*/ 518 w 1109"/>
                <a:gd name="T49" fmla="*/ 0 h 263"/>
                <a:gd name="T50" fmla="*/ 562 w 1109"/>
                <a:gd name="T51" fmla="*/ 10 h 263"/>
                <a:gd name="T52" fmla="*/ 583 w 1109"/>
                <a:gd name="T53" fmla="*/ 44 h 263"/>
                <a:gd name="T54" fmla="*/ 583 w 1109"/>
                <a:gd name="T55" fmla="*/ 219 h 263"/>
                <a:gd name="T56" fmla="*/ 562 w 1109"/>
                <a:gd name="T57" fmla="*/ 253 h 263"/>
                <a:gd name="T58" fmla="*/ 518 w 1109"/>
                <a:gd name="T59" fmla="*/ 262 h 263"/>
                <a:gd name="T60" fmla="*/ 479 w 1109"/>
                <a:gd name="T61" fmla="*/ 246 h 263"/>
                <a:gd name="T62" fmla="*/ 464 w 1109"/>
                <a:gd name="T63" fmla="*/ 206 h 263"/>
                <a:gd name="T64" fmla="*/ 391 w 1109"/>
                <a:gd name="T65" fmla="*/ 260 h 263"/>
                <a:gd name="T66" fmla="*/ 259 w 1109"/>
                <a:gd name="T67" fmla="*/ 4 h 263"/>
                <a:gd name="T68" fmla="*/ 151 w 1109"/>
                <a:gd name="T69" fmla="*/ 114 h 263"/>
                <a:gd name="T70" fmla="*/ 97 w 1109"/>
                <a:gd name="T71" fmla="*/ 10 h 263"/>
                <a:gd name="T72" fmla="*/ 118 w 1109"/>
                <a:gd name="T73" fmla="*/ 44 h 263"/>
                <a:gd name="T74" fmla="*/ 82 w 1109"/>
                <a:gd name="T75" fmla="*/ 57 h 263"/>
                <a:gd name="T76" fmla="*/ 66 w 1109"/>
                <a:gd name="T77" fmla="*/ 37 h 263"/>
                <a:gd name="T78" fmla="*/ 44 w 1109"/>
                <a:gd name="T79" fmla="*/ 48 h 263"/>
                <a:gd name="T80" fmla="*/ 49 w 1109"/>
                <a:gd name="T81" fmla="*/ 88 h 263"/>
                <a:gd name="T82" fmla="*/ 102 w 1109"/>
                <a:gd name="T83" fmla="*/ 144 h 263"/>
                <a:gd name="T84" fmla="*/ 120 w 1109"/>
                <a:gd name="T85" fmla="*/ 184 h 263"/>
                <a:gd name="T86" fmla="*/ 115 w 1109"/>
                <a:gd name="T87" fmla="*/ 231 h 263"/>
                <a:gd name="T88" fmla="*/ 86 w 1109"/>
                <a:gd name="T89" fmla="*/ 257 h 263"/>
                <a:gd name="T90" fmla="*/ 41 w 1109"/>
                <a:gd name="T91" fmla="*/ 260 h 263"/>
                <a:gd name="T92" fmla="*/ 9 w 1109"/>
                <a:gd name="T93" fmla="*/ 236 h 263"/>
                <a:gd name="T94" fmla="*/ 0 w 1109"/>
                <a:gd name="T95" fmla="*/ 182 h 263"/>
                <a:gd name="T96" fmla="*/ 47 w 1109"/>
                <a:gd name="T97" fmla="*/ 223 h 263"/>
                <a:gd name="T98" fmla="*/ 74 w 1109"/>
                <a:gd name="T99" fmla="*/ 219 h 263"/>
                <a:gd name="T100" fmla="*/ 77 w 1109"/>
                <a:gd name="T101" fmla="*/ 182 h 263"/>
                <a:gd name="T102" fmla="*/ 27 w 1109"/>
                <a:gd name="T103" fmla="*/ 126 h 263"/>
                <a:gd name="T104" fmla="*/ 4 w 1109"/>
                <a:gd name="T105" fmla="*/ 84 h 263"/>
                <a:gd name="T106" fmla="*/ 6 w 1109"/>
                <a:gd name="T107" fmla="*/ 37 h 263"/>
                <a:gd name="T108" fmla="*/ 30 w 1109"/>
                <a:gd name="T109" fmla="*/ 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9" h="263">
                  <a:moveTo>
                    <a:pt x="1069" y="4"/>
                  </a:moveTo>
                  <a:lnTo>
                    <a:pt x="1109" y="4"/>
                  </a:lnTo>
                  <a:lnTo>
                    <a:pt x="1109" y="260"/>
                  </a:lnTo>
                  <a:lnTo>
                    <a:pt x="1069" y="260"/>
                  </a:lnTo>
                  <a:lnTo>
                    <a:pt x="1069" y="4"/>
                  </a:lnTo>
                  <a:close/>
                  <a:moveTo>
                    <a:pt x="935" y="4"/>
                  </a:moveTo>
                  <a:lnTo>
                    <a:pt x="975" y="4"/>
                  </a:lnTo>
                  <a:lnTo>
                    <a:pt x="975" y="223"/>
                  </a:lnTo>
                  <a:lnTo>
                    <a:pt x="1042" y="223"/>
                  </a:lnTo>
                  <a:lnTo>
                    <a:pt x="1042" y="260"/>
                  </a:lnTo>
                  <a:lnTo>
                    <a:pt x="935" y="260"/>
                  </a:lnTo>
                  <a:lnTo>
                    <a:pt x="935" y="4"/>
                  </a:lnTo>
                  <a:close/>
                  <a:moveTo>
                    <a:pt x="857" y="4"/>
                  </a:moveTo>
                  <a:lnTo>
                    <a:pt x="897" y="4"/>
                  </a:lnTo>
                  <a:lnTo>
                    <a:pt x="897" y="260"/>
                  </a:lnTo>
                  <a:lnTo>
                    <a:pt x="857" y="260"/>
                  </a:lnTo>
                  <a:lnTo>
                    <a:pt x="857" y="4"/>
                  </a:lnTo>
                  <a:close/>
                  <a:moveTo>
                    <a:pt x="779" y="4"/>
                  </a:moveTo>
                  <a:lnTo>
                    <a:pt x="819" y="4"/>
                  </a:lnTo>
                  <a:lnTo>
                    <a:pt x="819" y="260"/>
                  </a:lnTo>
                  <a:lnTo>
                    <a:pt x="779" y="260"/>
                  </a:lnTo>
                  <a:lnTo>
                    <a:pt x="779" y="4"/>
                  </a:lnTo>
                  <a:close/>
                  <a:moveTo>
                    <a:pt x="661" y="144"/>
                  </a:moveTo>
                  <a:lnTo>
                    <a:pt x="661" y="223"/>
                  </a:lnTo>
                  <a:lnTo>
                    <a:pt x="685" y="223"/>
                  </a:lnTo>
                  <a:lnTo>
                    <a:pt x="689" y="223"/>
                  </a:lnTo>
                  <a:lnTo>
                    <a:pt x="693" y="221"/>
                  </a:lnTo>
                  <a:lnTo>
                    <a:pt x="696" y="219"/>
                  </a:lnTo>
                  <a:lnTo>
                    <a:pt x="699" y="217"/>
                  </a:lnTo>
                  <a:lnTo>
                    <a:pt x="702" y="214"/>
                  </a:lnTo>
                  <a:lnTo>
                    <a:pt x="703" y="212"/>
                  </a:lnTo>
                  <a:lnTo>
                    <a:pt x="704" y="210"/>
                  </a:lnTo>
                  <a:lnTo>
                    <a:pt x="705" y="205"/>
                  </a:lnTo>
                  <a:lnTo>
                    <a:pt x="705" y="197"/>
                  </a:lnTo>
                  <a:lnTo>
                    <a:pt x="705" y="175"/>
                  </a:lnTo>
                  <a:lnTo>
                    <a:pt x="705" y="168"/>
                  </a:lnTo>
                  <a:lnTo>
                    <a:pt x="704" y="160"/>
                  </a:lnTo>
                  <a:lnTo>
                    <a:pt x="702" y="155"/>
                  </a:lnTo>
                  <a:lnTo>
                    <a:pt x="698" y="151"/>
                  </a:lnTo>
                  <a:lnTo>
                    <a:pt x="697" y="150"/>
                  </a:lnTo>
                  <a:lnTo>
                    <a:pt x="695" y="147"/>
                  </a:lnTo>
                  <a:lnTo>
                    <a:pt x="691" y="145"/>
                  </a:lnTo>
                  <a:lnTo>
                    <a:pt x="686" y="144"/>
                  </a:lnTo>
                  <a:lnTo>
                    <a:pt x="679" y="144"/>
                  </a:lnTo>
                  <a:lnTo>
                    <a:pt x="661" y="144"/>
                  </a:lnTo>
                  <a:close/>
                  <a:moveTo>
                    <a:pt x="661" y="41"/>
                  </a:moveTo>
                  <a:lnTo>
                    <a:pt x="661" y="107"/>
                  </a:lnTo>
                  <a:lnTo>
                    <a:pt x="677" y="107"/>
                  </a:lnTo>
                  <a:lnTo>
                    <a:pt x="683" y="107"/>
                  </a:lnTo>
                  <a:lnTo>
                    <a:pt x="687" y="106"/>
                  </a:lnTo>
                  <a:lnTo>
                    <a:pt x="691" y="104"/>
                  </a:lnTo>
                  <a:lnTo>
                    <a:pt x="694" y="102"/>
                  </a:lnTo>
                  <a:lnTo>
                    <a:pt x="697" y="98"/>
                  </a:lnTo>
                  <a:lnTo>
                    <a:pt x="699" y="94"/>
                  </a:lnTo>
                  <a:lnTo>
                    <a:pt x="700" y="88"/>
                  </a:lnTo>
                  <a:lnTo>
                    <a:pt x="700" y="81"/>
                  </a:lnTo>
                  <a:lnTo>
                    <a:pt x="700" y="66"/>
                  </a:lnTo>
                  <a:lnTo>
                    <a:pt x="700" y="60"/>
                  </a:lnTo>
                  <a:lnTo>
                    <a:pt x="699" y="54"/>
                  </a:lnTo>
                  <a:lnTo>
                    <a:pt x="699" y="52"/>
                  </a:lnTo>
                  <a:lnTo>
                    <a:pt x="698" y="50"/>
                  </a:lnTo>
                  <a:lnTo>
                    <a:pt x="696" y="46"/>
                  </a:lnTo>
                  <a:lnTo>
                    <a:pt x="693" y="44"/>
                  </a:lnTo>
                  <a:lnTo>
                    <a:pt x="690" y="42"/>
                  </a:lnTo>
                  <a:lnTo>
                    <a:pt x="686" y="41"/>
                  </a:lnTo>
                  <a:lnTo>
                    <a:pt x="680" y="41"/>
                  </a:lnTo>
                  <a:lnTo>
                    <a:pt x="661" y="41"/>
                  </a:lnTo>
                  <a:close/>
                  <a:moveTo>
                    <a:pt x="741" y="63"/>
                  </a:moveTo>
                  <a:lnTo>
                    <a:pt x="741" y="71"/>
                  </a:lnTo>
                  <a:lnTo>
                    <a:pt x="741" y="81"/>
                  </a:lnTo>
                  <a:lnTo>
                    <a:pt x="740" y="89"/>
                  </a:lnTo>
                  <a:lnTo>
                    <a:pt x="738" y="97"/>
                  </a:lnTo>
                  <a:lnTo>
                    <a:pt x="735" y="104"/>
                  </a:lnTo>
                  <a:lnTo>
                    <a:pt x="731" y="110"/>
                  </a:lnTo>
                  <a:lnTo>
                    <a:pt x="727" y="115"/>
                  </a:lnTo>
                  <a:lnTo>
                    <a:pt x="722" y="120"/>
                  </a:lnTo>
                  <a:lnTo>
                    <a:pt x="715" y="123"/>
                  </a:lnTo>
                  <a:lnTo>
                    <a:pt x="723" y="126"/>
                  </a:lnTo>
                  <a:lnTo>
                    <a:pt x="726" y="128"/>
                  </a:lnTo>
                  <a:lnTo>
                    <a:pt x="729" y="132"/>
                  </a:lnTo>
                  <a:lnTo>
                    <a:pt x="734" y="137"/>
                  </a:lnTo>
                  <a:lnTo>
                    <a:pt x="739" y="143"/>
                  </a:lnTo>
                  <a:lnTo>
                    <a:pt x="742" y="151"/>
                  </a:lnTo>
                  <a:lnTo>
                    <a:pt x="744" y="159"/>
                  </a:lnTo>
                  <a:lnTo>
                    <a:pt x="745" y="169"/>
                  </a:lnTo>
                  <a:lnTo>
                    <a:pt x="745" y="178"/>
                  </a:lnTo>
                  <a:lnTo>
                    <a:pt x="745" y="198"/>
                  </a:lnTo>
                  <a:lnTo>
                    <a:pt x="745" y="206"/>
                  </a:lnTo>
                  <a:lnTo>
                    <a:pt x="744" y="213"/>
                  </a:lnTo>
                  <a:lnTo>
                    <a:pt x="743" y="219"/>
                  </a:lnTo>
                  <a:lnTo>
                    <a:pt x="742" y="225"/>
                  </a:lnTo>
                  <a:lnTo>
                    <a:pt x="740" y="230"/>
                  </a:lnTo>
                  <a:lnTo>
                    <a:pt x="736" y="235"/>
                  </a:lnTo>
                  <a:lnTo>
                    <a:pt x="733" y="239"/>
                  </a:lnTo>
                  <a:lnTo>
                    <a:pt x="730" y="244"/>
                  </a:lnTo>
                  <a:lnTo>
                    <a:pt x="726" y="248"/>
                  </a:lnTo>
                  <a:lnTo>
                    <a:pt x="721" y="250"/>
                  </a:lnTo>
                  <a:lnTo>
                    <a:pt x="716" y="253"/>
                  </a:lnTo>
                  <a:lnTo>
                    <a:pt x="711" y="255"/>
                  </a:lnTo>
                  <a:lnTo>
                    <a:pt x="705" y="257"/>
                  </a:lnTo>
                  <a:lnTo>
                    <a:pt x="698" y="259"/>
                  </a:lnTo>
                  <a:lnTo>
                    <a:pt x="691" y="260"/>
                  </a:lnTo>
                  <a:lnTo>
                    <a:pt x="685" y="260"/>
                  </a:lnTo>
                  <a:lnTo>
                    <a:pt x="621" y="260"/>
                  </a:lnTo>
                  <a:lnTo>
                    <a:pt x="621" y="4"/>
                  </a:lnTo>
                  <a:lnTo>
                    <a:pt x="681" y="4"/>
                  </a:lnTo>
                  <a:lnTo>
                    <a:pt x="689" y="4"/>
                  </a:lnTo>
                  <a:lnTo>
                    <a:pt x="696" y="5"/>
                  </a:lnTo>
                  <a:lnTo>
                    <a:pt x="703" y="6"/>
                  </a:lnTo>
                  <a:lnTo>
                    <a:pt x="709" y="7"/>
                  </a:lnTo>
                  <a:lnTo>
                    <a:pt x="714" y="9"/>
                  </a:lnTo>
                  <a:lnTo>
                    <a:pt x="718" y="12"/>
                  </a:lnTo>
                  <a:lnTo>
                    <a:pt x="723" y="15"/>
                  </a:lnTo>
                  <a:lnTo>
                    <a:pt x="727" y="18"/>
                  </a:lnTo>
                  <a:lnTo>
                    <a:pt x="730" y="22"/>
                  </a:lnTo>
                  <a:lnTo>
                    <a:pt x="733" y="27"/>
                  </a:lnTo>
                  <a:lnTo>
                    <a:pt x="735" y="31"/>
                  </a:lnTo>
                  <a:lnTo>
                    <a:pt x="738" y="36"/>
                  </a:lnTo>
                  <a:lnTo>
                    <a:pt x="740" y="43"/>
                  </a:lnTo>
                  <a:lnTo>
                    <a:pt x="741" y="48"/>
                  </a:lnTo>
                  <a:lnTo>
                    <a:pt x="741" y="55"/>
                  </a:lnTo>
                  <a:lnTo>
                    <a:pt x="741" y="63"/>
                  </a:lnTo>
                  <a:close/>
                  <a:moveTo>
                    <a:pt x="504" y="200"/>
                  </a:moveTo>
                  <a:lnTo>
                    <a:pt x="505" y="207"/>
                  </a:lnTo>
                  <a:lnTo>
                    <a:pt x="506" y="212"/>
                  </a:lnTo>
                  <a:lnTo>
                    <a:pt x="506" y="214"/>
                  </a:lnTo>
                  <a:lnTo>
                    <a:pt x="507" y="216"/>
                  </a:lnTo>
                  <a:lnTo>
                    <a:pt x="510" y="220"/>
                  </a:lnTo>
                  <a:lnTo>
                    <a:pt x="512" y="223"/>
                  </a:lnTo>
                  <a:lnTo>
                    <a:pt x="516" y="225"/>
                  </a:lnTo>
                  <a:lnTo>
                    <a:pt x="521" y="226"/>
                  </a:lnTo>
                  <a:lnTo>
                    <a:pt x="525" y="226"/>
                  </a:lnTo>
                  <a:lnTo>
                    <a:pt x="529" y="226"/>
                  </a:lnTo>
                  <a:lnTo>
                    <a:pt x="533" y="225"/>
                  </a:lnTo>
                  <a:lnTo>
                    <a:pt x="537" y="223"/>
                  </a:lnTo>
                  <a:lnTo>
                    <a:pt x="540" y="220"/>
                  </a:lnTo>
                  <a:lnTo>
                    <a:pt x="543" y="216"/>
                  </a:lnTo>
                  <a:lnTo>
                    <a:pt x="544" y="212"/>
                  </a:lnTo>
                  <a:lnTo>
                    <a:pt x="545" y="207"/>
                  </a:lnTo>
                  <a:lnTo>
                    <a:pt x="546" y="200"/>
                  </a:lnTo>
                  <a:lnTo>
                    <a:pt x="546" y="63"/>
                  </a:lnTo>
                  <a:lnTo>
                    <a:pt x="545" y="57"/>
                  </a:lnTo>
                  <a:lnTo>
                    <a:pt x="544" y="51"/>
                  </a:lnTo>
                  <a:lnTo>
                    <a:pt x="543" y="48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37" y="41"/>
                  </a:lnTo>
                  <a:lnTo>
                    <a:pt x="533" y="39"/>
                  </a:lnTo>
                  <a:lnTo>
                    <a:pt x="529" y="37"/>
                  </a:lnTo>
                  <a:lnTo>
                    <a:pt x="525" y="37"/>
                  </a:lnTo>
                  <a:lnTo>
                    <a:pt x="521" y="37"/>
                  </a:lnTo>
                  <a:lnTo>
                    <a:pt x="516" y="39"/>
                  </a:lnTo>
                  <a:lnTo>
                    <a:pt x="512" y="41"/>
                  </a:lnTo>
                  <a:lnTo>
                    <a:pt x="510" y="43"/>
                  </a:lnTo>
                  <a:lnTo>
                    <a:pt x="507" y="46"/>
                  </a:lnTo>
                  <a:lnTo>
                    <a:pt x="506" y="51"/>
                  </a:lnTo>
                  <a:lnTo>
                    <a:pt x="505" y="57"/>
                  </a:lnTo>
                  <a:lnTo>
                    <a:pt x="504" y="63"/>
                  </a:lnTo>
                  <a:lnTo>
                    <a:pt x="504" y="200"/>
                  </a:lnTo>
                  <a:close/>
                  <a:moveTo>
                    <a:pt x="464" y="65"/>
                  </a:moveTo>
                  <a:lnTo>
                    <a:pt x="464" y="58"/>
                  </a:lnTo>
                  <a:lnTo>
                    <a:pt x="465" y="50"/>
                  </a:lnTo>
                  <a:lnTo>
                    <a:pt x="466" y="44"/>
                  </a:lnTo>
                  <a:lnTo>
                    <a:pt x="468" y="37"/>
                  </a:lnTo>
                  <a:lnTo>
                    <a:pt x="470" y="32"/>
                  </a:lnTo>
                  <a:lnTo>
                    <a:pt x="473" y="27"/>
                  </a:lnTo>
                  <a:lnTo>
                    <a:pt x="476" y="22"/>
                  </a:lnTo>
                  <a:lnTo>
                    <a:pt x="479" y="17"/>
                  </a:lnTo>
                  <a:lnTo>
                    <a:pt x="484" y="13"/>
                  </a:lnTo>
                  <a:lnTo>
                    <a:pt x="488" y="10"/>
                  </a:lnTo>
                  <a:lnTo>
                    <a:pt x="493" y="8"/>
                  </a:lnTo>
                  <a:lnTo>
                    <a:pt x="499" y="5"/>
                  </a:lnTo>
                  <a:lnTo>
                    <a:pt x="505" y="3"/>
                  </a:lnTo>
                  <a:lnTo>
                    <a:pt x="511" y="2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9" y="2"/>
                  </a:lnTo>
                  <a:lnTo>
                    <a:pt x="545" y="3"/>
                  </a:lnTo>
                  <a:lnTo>
                    <a:pt x="551" y="5"/>
                  </a:lnTo>
                  <a:lnTo>
                    <a:pt x="557" y="8"/>
                  </a:lnTo>
                  <a:lnTo>
                    <a:pt x="562" y="10"/>
                  </a:lnTo>
                  <a:lnTo>
                    <a:pt x="566" y="13"/>
                  </a:lnTo>
                  <a:lnTo>
                    <a:pt x="570" y="17"/>
                  </a:lnTo>
                  <a:lnTo>
                    <a:pt x="574" y="22"/>
                  </a:lnTo>
                  <a:lnTo>
                    <a:pt x="577" y="27"/>
                  </a:lnTo>
                  <a:lnTo>
                    <a:pt x="580" y="32"/>
                  </a:lnTo>
                  <a:lnTo>
                    <a:pt x="582" y="37"/>
                  </a:lnTo>
                  <a:lnTo>
                    <a:pt x="583" y="44"/>
                  </a:lnTo>
                  <a:lnTo>
                    <a:pt x="585" y="50"/>
                  </a:lnTo>
                  <a:lnTo>
                    <a:pt x="585" y="58"/>
                  </a:lnTo>
                  <a:lnTo>
                    <a:pt x="586" y="65"/>
                  </a:lnTo>
                  <a:lnTo>
                    <a:pt x="586" y="198"/>
                  </a:lnTo>
                  <a:lnTo>
                    <a:pt x="585" y="206"/>
                  </a:lnTo>
                  <a:lnTo>
                    <a:pt x="585" y="212"/>
                  </a:lnTo>
                  <a:lnTo>
                    <a:pt x="583" y="219"/>
                  </a:lnTo>
                  <a:lnTo>
                    <a:pt x="582" y="226"/>
                  </a:lnTo>
                  <a:lnTo>
                    <a:pt x="580" y="231"/>
                  </a:lnTo>
                  <a:lnTo>
                    <a:pt x="577" y="236"/>
                  </a:lnTo>
                  <a:lnTo>
                    <a:pt x="574" y="242"/>
                  </a:lnTo>
                  <a:lnTo>
                    <a:pt x="570" y="246"/>
                  </a:lnTo>
                  <a:lnTo>
                    <a:pt x="566" y="249"/>
                  </a:lnTo>
                  <a:lnTo>
                    <a:pt x="562" y="253"/>
                  </a:lnTo>
                  <a:lnTo>
                    <a:pt x="557" y="255"/>
                  </a:lnTo>
                  <a:lnTo>
                    <a:pt x="551" y="257"/>
                  </a:lnTo>
                  <a:lnTo>
                    <a:pt x="545" y="260"/>
                  </a:lnTo>
                  <a:lnTo>
                    <a:pt x="539" y="262"/>
                  </a:lnTo>
                  <a:lnTo>
                    <a:pt x="532" y="262"/>
                  </a:lnTo>
                  <a:lnTo>
                    <a:pt x="525" y="263"/>
                  </a:lnTo>
                  <a:lnTo>
                    <a:pt x="518" y="262"/>
                  </a:lnTo>
                  <a:lnTo>
                    <a:pt x="511" y="262"/>
                  </a:lnTo>
                  <a:lnTo>
                    <a:pt x="505" y="260"/>
                  </a:lnTo>
                  <a:lnTo>
                    <a:pt x="499" y="257"/>
                  </a:lnTo>
                  <a:lnTo>
                    <a:pt x="493" y="255"/>
                  </a:lnTo>
                  <a:lnTo>
                    <a:pt x="488" y="253"/>
                  </a:lnTo>
                  <a:lnTo>
                    <a:pt x="484" y="249"/>
                  </a:lnTo>
                  <a:lnTo>
                    <a:pt x="479" y="246"/>
                  </a:lnTo>
                  <a:lnTo>
                    <a:pt x="476" y="242"/>
                  </a:lnTo>
                  <a:lnTo>
                    <a:pt x="473" y="236"/>
                  </a:lnTo>
                  <a:lnTo>
                    <a:pt x="470" y="231"/>
                  </a:lnTo>
                  <a:lnTo>
                    <a:pt x="468" y="226"/>
                  </a:lnTo>
                  <a:lnTo>
                    <a:pt x="466" y="219"/>
                  </a:lnTo>
                  <a:lnTo>
                    <a:pt x="465" y="212"/>
                  </a:lnTo>
                  <a:lnTo>
                    <a:pt x="464" y="206"/>
                  </a:lnTo>
                  <a:lnTo>
                    <a:pt x="464" y="198"/>
                  </a:lnTo>
                  <a:lnTo>
                    <a:pt x="464" y="65"/>
                  </a:lnTo>
                  <a:close/>
                  <a:moveTo>
                    <a:pt x="345" y="186"/>
                  </a:moveTo>
                  <a:lnTo>
                    <a:pt x="373" y="4"/>
                  </a:lnTo>
                  <a:lnTo>
                    <a:pt x="429" y="4"/>
                  </a:lnTo>
                  <a:lnTo>
                    <a:pt x="429" y="260"/>
                  </a:lnTo>
                  <a:lnTo>
                    <a:pt x="391" y="260"/>
                  </a:lnTo>
                  <a:lnTo>
                    <a:pt x="391" y="76"/>
                  </a:lnTo>
                  <a:lnTo>
                    <a:pt x="363" y="260"/>
                  </a:lnTo>
                  <a:lnTo>
                    <a:pt x="325" y="260"/>
                  </a:lnTo>
                  <a:lnTo>
                    <a:pt x="295" y="79"/>
                  </a:lnTo>
                  <a:lnTo>
                    <a:pt x="295" y="260"/>
                  </a:lnTo>
                  <a:lnTo>
                    <a:pt x="259" y="260"/>
                  </a:lnTo>
                  <a:lnTo>
                    <a:pt x="259" y="4"/>
                  </a:lnTo>
                  <a:lnTo>
                    <a:pt x="316" y="4"/>
                  </a:lnTo>
                  <a:lnTo>
                    <a:pt x="345" y="186"/>
                  </a:lnTo>
                  <a:close/>
                  <a:moveTo>
                    <a:pt x="151" y="114"/>
                  </a:moveTo>
                  <a:lnTo>
                    <a:pt x="224" y="114"/>
                  </a:lnTo>
                  <a:lnTo>
                    <a:pt x="224" y="150"/>
                  </a:lnTo>
                  <a:lnTo>
                    <a:pt x="151" y="150"/>
                  </a:lnTo>
                  <a:lnTo>
                    <a:pt x="151" y="114"/>
                  </a:lnTo>
                  <a:close/>
                  <a:moveTo>
                    <a:pt x="61" y="0"/>
                  </a:moveTo>
                  <a:lnTo>
                    <a:pt x="68" y="0"/>
                  </a:lnTo>
                  <a:lnTo>
                    <a:pt x="74" y="2"/>
                  </a:lnTo>
                  <a:lnTo>
                    <a:pt x="81" y="3"/>
                  </a:lnTo>
                  <a:lnTo>
                    <a:pt x="86" y="5"/>
                  </a:lnTo>
                  <a:lnTo>
                    <a:pt x="91" y="8"/>
                  </a:lnTo>
                  <a:lnTo>
                    <a:pt x="97" y="10"/>
                  </a:lnTo>
                  <a:lnTo>
                    <a:pt x="101" y="13"/>
                  </a:lnTo>
                  <a:lnTo>
                    <a:pt x="105" y="17"/>
                  </a:lnTo>
                  <a:lnTo>
                    <a:pt x="108" y="22"/>
                  </a:lnTo>
                  <a:lnTo>
                    <a:pt x="111" y="27"/>
                  </a:lnTo>
                  <a:lnTo>
                    <a:pt x="115" y="32"/>
                  </a:lnTo>
                  <a:lnTo>
                    <a:pt x="117" y="37"/>
                  </a:lnTo>
                  <a:lnTo>
                    <a:pt x="118" y="44"/>
                  </a:lnTo>
                  <a:lnTo>
                    <a:pt x="119" y="50"/>
                  </a:lnTo>
                  <a:lnTo>
                    <a:pt x="120" y="58"/>
                  </a:lnTo>
                  <a:lnTo>
                    <a:pt x="120" y="65"/>
                  </a:lnTo>
                  <a:lnTo>
                    <a:pt x="120" y="73"/>
                  </a:lnTo>
                  <a:lnTo>
                    <a:pt x="82" y="73"/>
                  </a:lnTo>
                  <a:lnTo>
                    <a:pt x="82" y="63"/>
                  </a:lnTo>
                  <a:lnTo>
                    <a:pt x="82" y="57"/>
                  </a:lnTo>
                  <a:lnTo>
                    <a:pt x="81" y="51"/>
                  </a:lnTo>
                  <a:lnTo>
                    <a:pt x="79" y="46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70" y="39"/>
                  </a:lnTo>
                  <a:lnTo>
                    <a:pt x="66" y="37"/>
                  </a:lnTo>
                  <a:lnTo>
                    <a:pt x="62" y="37"/>
                  </a:lnTo>
                  <a:lnTo>
                    <a:pt x="58" y="37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5" y="46"/>
                  </a:lnTo>
                  <a:lnTo>
                    <a:pt x="44" y="48"/>
                  </a:lnTo>
                  <a:lnTo>
                    <a:pt x="43" y="51"/>
                  </a:lnTo>
                  <a:lnTo>
                    <a:pt x="42" y="57"/>
                  </a:lnTo>
                  <a:lnTo>
                    <a:pt x="42" y="63"/>
                  </a:lnTo>
                  <a:lnTo>
                    <a:pt x="43" y="71"/>
                  </a:lnTo>
                  <a:lnTo>
                    <a:pt x="44" y="77"/>
                  </a:lnTo>
                  <a:lnTo>
                    <a:pt x="45" y="81"/>
                  </a:lnTo>
                  <a:lnTo>
                    <a:pt x="49" y="88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67" y="109"/>
                  </a:lnTo>
                  <a:lnTo>
                    <a:pt x="81" y="122"/>
                  </a:lnTo>
                  <a:lnTo>
                    <a:pt x="88" y="129"/>
                  </a:lnTo>
                  <a:lnTo>
                    <a:pt x="96" y="137"/>
                  </a:lnTo>
                  <a:lnTo>
                    <a:pt x="102" y="144"/>
                  </a:lnTo>
                  <a:lnTo>
                    <a:pt x="105" y="149"/>
                  </a:lnTo>
                  <a:lnTo>
                    <a:pt x="108" y="154"/>
                  </a:lnTo>
                  <a:lnTo>
                    <a:pt x="114" y="163"/>
                  </a:lnTo>
                  <a:lnTo>
                    <a:pt x="116" y="168"/>
                  </a:lnTo>
                  <a:lnTo>
                    <a:pt x="117" y="173"/>
                  </a:lnTo>
                  <a:lnTo>
                    <a:pt x="119" y="179"/>
                  </a:lnTo>
                  <a:lnTo>
                    <a:pt x="120" y="184"/>
                  </a:lnTo>
                  <a:lnTo>
                    <a:pt x="120" y="191"/>
                  </a:lnTo>
                  <a:lnTo>
                    <a:pt x="120" y="198"/>
                  </a:lnTo>
                  <a:lnTo>
                    <a:pt x="120" y="206"/>
                  </a:lnTo>
                  <a:lnTo>
                    <a:pt x="120" y="212"/>
                  </a:lnTo>
                  <a:lnTo>
                    <a:pt x="118" y="219"/>
                  </a:lnTo>
                  <a:lnTo>
                    <a:pt x="117" y="226"/>
                  </a:lnTo>
                  <a:lnTo>
                    <a:pt x="115" y="231"/>
                  </a:lnTo>
                  <a:lnTo>
                    <a:pt x="111" y="236"/>
                  </a:lnTo>
                  <a:lnTo>
                    <a:pt x="108" y="242"/>
                  </a:lnTo>
                  <a:lnTo>
                    <a:pt x="105" y="246"/>
                  </a:lnTo>
                  <a:lnTo>
                    <a:pt x="101" y="249"/>
                  </a:lnTo>
                  <a:lnTo>
                    <a:pt x="97" y="253"/>
                  </a:lnTo>
                  <a:lnTo>
                    <a:pt x="91" y="255"/>
                  </a:lnTo>
                  <a:lnTo>
                    <a:pt x="86" y="257"/>
                  </a:lnTo>
                  <a:lnTo>
                    <a:pt x="81" y="260"/>
                  </a:lnTo>
                  <a:lnTo>
                    <a:pt x="74" y="262"/>
                  </a:lnTo>
                  <a:lnTo>
                    <a:pt x="68" y="262"/>
                  </a:lnTo>
                  <a:lnTo>
                    <a:pt x="61" y="263"/>
                  </a:lnTo>
                  <a:lnTo>
                    <a:pt x="53" y="262"/>
                  </a:lnTo>
                  <a:lnTo>
                    <a:pt x="47" y="262"/>
                  </a:lnTo>
                  <a:lnTo>
                    <a:pt x="41" y="260"/>
                  </a:lnTo>
                  <a:lnTo>
                    <a:pt x="34" y="257"/>
                  </a:lnTo>
                  <a:lnTo>
                    <a:pt x="29" y="255"/>
                  </a:lnTo>
                  <a:lnTo>
                    <a:pt x="24" y="253"/>
                  </a:lnTo>
                  <a:lnTo>
                    <a:pt x="19" y="249"/>
                  </a:lnTo>
                  <a:lnTo>
                    <a:pt x="15" y="246"/>
                  </a:lnTo>
                  <a:lnTo>
                    <a:pt x="12" y="242"/>
                  </a:lnTo>
                  <a:lnTo>
                    <a:pt x="9" y="236"/>
                  </a:lnTo>
                  <a:lnTo>
                    <a:pt x="7" y="231"/>
                  </a:lnTo>
                  <a:lnTo>
                    <a:pt x="5" y="226"/>
                  </a:lnTo>
                  <a:lnTo>
                    <a:pt x="3" y="219"/>
                  </a:lnTo>
                  <a:lnTo>
                    <a:pt x="1" y="212"/>
                  </a:lnTo>
                  <a:lnTo>
                    <a:pt x="0" y="206"/>
                  </a:lnTo>
                  <a:lnTo>
                    <a:pt x="0" y="198"/>
                  </a:lnTo>
                  <a:lnTo>
                    <a:pt x="0" y="182"/>
                  </a:lnTo>
                  <a:lnTo>
                    <a:pt x="38" y="182"/>
                  </a:lnTo>
                  <a:lnTo>
                    <a:pt x="38" y="200"/>
                  </a:lnTo>
                  <a:lnTo>
                    <a:pt x="38" y="207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9"/>
                  </a:lnTo>
                  <a:lnTo>
                    <a:pt x="47" y="223"/>
                  </a:lnTo>
                  <a:lnTo>
                    <a:pt x="51" y="224"/>
                  </a:lnTo>
                  <a:lnTo>
                    <a:pt x="54" y="225"/>
                  </a:lnTo>
                  <a:lnTo>
                    <a:pt x="60" y="226"/>
                  </a:lnTo>
                  <a:lnTo>
                    <a:pt x="64" y="225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74" y="219"/>
                  </a:lnTo>
                  <a:lnTo>
                    <a:pt x="77" y="216"/>
                  </a:lnTo>
                  <a:lnTo>
                    <a:pt x="79" y="212"/>
                  </a:lnTo>
                  <a:lnTo>
                    <a:pt x="80" y="207"/>
                  </a:lnTo>
                  <a:lnTo>
                    <a:pt x="80" y="200"/>
                  </a:lnTo>
                  <a:lnTo>
                    <a:pt x="80" y="191"/>
                  </a:lnTo>
                  <a:lnTo>
                    <a:pt x="79" y="187"/>
                  </a:lnTo>
                  <a:lnTo>
                    <a:pt x="77" y="182"/>
                  </a:lnTo>
                  <a:lnTo>
                    <a:pt x="73" y="175"/>
                  </a:lnTo>
                  <a:lnTo>
                    <a:pt x="68" y="168"/>
                  </a:lnTo>
                  <a:lnTo>
                    <a:pt x="62" y="160"/>
                  </a:lnTo>
                  <a:lnTo>
                    <a:pt x="55" y="154"/>
                  </a:lnTo>
                  <a:lnTo>
                    <a:pt x="41" y="140"/>
                  </a:lnTo>
                  <a:lnTo>
                    <a:pt x="33" y="134"/>
                  </a:lnTo>
                  <a:lnTo>
                    <a:pt x="27" y="126"/>
                  </a:lnTo>
                  <a:lnTo>
                    <a:pt x="19" y="118"/>
                  </a:lnTo>
                  <a:lnTo>
                    <a:pt x="16" y="114"/>
                  </a:lnTo>
                  <a:lnTo>
                    <a:pt x="14" y="109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5" y="89"/>
                  </a:lnTo>
                  <a:lnTo>
                    <a:pt x="4" y="84"/>
                  </a:lnTo>
                  <a:lnTo>
                    <a:pt x="3" y="78"/>
                  </a:lnTo>
                  <a:lnTo>
                    <a:pt x="1" y="71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4" y="44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0" y="27"/>
                  </a:lnTo>
                  <a:lnTo>
                    <a:pt x="13" y="22"/>
                  </a:lnTo>
                  <a:lnTo>
                    <a:pt x="16" y="17"/>
                  </a:lnTo>
                  <a:lnTo>
                    <a:pt x="20" y="13"/>
                  </a:lnTo>
                  <a:lnTo>
                    <a:pt x="25" y="10"/>
                  </a:lnTo>
                  <a:lnTo>
                    <a:pt x="30" y="8"/>
                  </a:lnTo>
                  <a:lnTo>
                    <a:pt x="35" y="5"/>
                  </a:lnTo>
                  <a:lnTo>
                    <a:pt x="41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9443223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A80351BA-935A-4037-B5A6-E7C0734A55DF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401023388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F9CDB-1CB9-4E78-B2CC-C5E85B467860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92060276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F4509-F286-4BB6-978B-1D758404DF8D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7813813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5E458-62C4-4131-A88F-85DE4B802250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8365269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2C141-387C-49FC-A456-A2DB3285C150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85632764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A917-5DB7-498A-88AA-E021BEC5FA16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618608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AFEF6-EACC-48C0-8CDA-FD19457584C6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r>
              <a:rPr lang="fi-FI" smtClean="0"/>
              <a:t>Lisää kaavio napsauttamalla kuvaketta</a:t>
            </a:r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r>
              <a:rPr lang="fi-FI" smtClean="0"/>
              <a:t>Lisää kaavio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90750807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35376ED3-AE97-4454-A982-E53F3FF1C4E2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5" name="Round Same Side Corner Rectangle 14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6" name="Freeform 26"/>
            <p:cNvSpPr>
              <a:spLocks noEditPoints="1"/>
            </p:cNvSpPr>
            <p:nvPr userDrawn="1"/>
          </p:nvSpPr>
          <p:spPr bwMode="auto">
            <a:xfrm>
              <a:off x="9315323" y="6471960"/>
              <a:ext cx="1045515" cy="247226"/>
            </a:xfrm>
            <a:custGeom>
              <a:avLst/>
              <a:gdLst>
                <a:gd name="T0" fmla="*/ 975 w 1109"/>
                <a:gd name="T1" fmla="*/ 4 h 263"/>
                <a:gd name="T2" fmla="*/ 897 w 1109"/>
                <a:gd name="T3" fmla="*/ 4 h 263"/>
                <a:gd name="T4" fmla="*/ 779 w 1109"/>
                <a:gd name="T5" fmla="*/ 260 h 263"/>
                <a:gd name="T6" fmla="*/ 696 w 1109"/>
                <a:gd name="T7" fmla="*/ 219 h 263"/>
                <a:gd name="T8" fmla="*/ 705 w 1109"/>
                <a:gd name="T9" fmla="*/ 175 h 263"/>
                <a:gd name="T10" fmla="*/ 691 w 1109"/>
                <a:gd name="T11" fmla="*/ 145 h 263"/>
                <a:gd name="T12" fmla="*/ 683 w 1109"/>
                <a:gd name="T13" fmla="*/ 107 h 263"/>
                <a:gd name="T14" fmla="*/ 700 w 1109"/>
                <a:gd name="T15" fmla="*/ 81 h 263"/>
                <a:gd name="T16" fmla="*/ 693 w 1109"/>
                <a:gd name="T17" fmla="*/ 44 h 263"/>
                <a:gd name="T18" fmla="*/ 741 w 1109"/>
                <a:gd name="T19" fmla="*/ 81 h 263"/>
                <a:gd name="T20" fmla="*/ 715 w 1109"/>
                <a:gd name="T21" fmla="*/ 123 h 263"/>
                <a:gd name="T22" fmla="*/ 744 w 1109"/>
                <a:gd name="T23" fmla="*/ 159 h 263"/>
                <a:gd name="T24" fmla="*/ 742 w 1109"/>
                <a:gd name="T25" fmla="*/ 225 h 263"/>
                <a:gd name="T26" fmla="*/ 716 w 1109"/>
                <a:gd name="T27" fmla="*/ 253 h 263"/>
                <a:gd name="T28" fmla="*/ 621 w 1109"/>
                <a:gd name="T29" fmla="*/ 4 h 263"/>
                <a:gd name="T30" fmla="*/ 718 w 1109"/>
                <a:gd name="T31" fmla="*/ 12 h 263"/>
                <a:gd name="T32" fmla="*/ 740 w 1109"/>
                <a:gd name="T33" fmla="*/ 43 h 263"/>
                <a:gd name="T34" fmla="*/ 506 w 1109"/>
                <a:gd name="T35" fmla="*/ 214 h 263"/>
                <a:gd name="T36" fmla="*/ 529 w 1109"/>
                <a:gd name="T37" fmla="*/ 226 h 263"/>
                <a:gd name="T38" fmla="*/ 546 w 1109"/>
                <a:gd name="T39" fmla="*/ 200 h 263"/>
                <a:gd name="T40" fmla="*/ 537 w 1109"/>
                <a:gd name="T41" fmla="*/ 41 h 263"/>
                <a:gd name="T42" fmla="*/ 510 w 1109"/>
                <a:gd name="T43" fmla="*/ 43 h 263"/>
                <a:gd name="T44" fmla="*/ 464 w 1109"/>
                <a:gd name="T45" fmla="*/ 58 h 263"/>
                <a:gd name="T46" fmla="*/ 479 w 1109"/>
                <a:gd name="T47" fmla="*/ 17 h 263"/>
                <a:gd name="T48" fmla="*/ 518 w 1109"/>
                <a:gd name="T49" fmla="*/ 0 h 263"/>
                <a:gd name="T50" fmla="*/ 562 w 1109"/>
                <a:gd name="T51" fmla="*/ 10 h 263"/>
                <a:gd name="T52" fmla="*/ 583 w 1109"/>
                <a:gd name="T53" fmla="*/ 44 h 263"/>
                <a:gd name="T54" fmla="*/ 583 w 1109"/>
                <a:gd name="T55" fmla="*/ 219 h 263"/>
                <a:gd name="T56" fmla="*/ 562 w 1109"/>
                <a:gd name="T57" fmla="*/ 253 h 263"/>
                <a:gd name="T58" fmla="*/ 518 w 1109"/>
                <a:gd name="T59" fmla="*/ 262 h 263"/>
                <a:gd name="T60" fmla="*/ 479 w 1109"/>
                <a:gd name="T61" fmla="*/ 246 h 263"/>
                <a:gd name="T62" fmla="*/ 464 w 1109"/>
                <a:gd name="T63" fmla="*/ 206 h 263"/>
                <a:gd name="T64" fmla="*/ 391 w 1109"/>
                <a:gd name="T65" fmla="*/ 260 h 263"/>
                <a:gd name="T66" fmla="*/ 259 w 1109"/>
                <a:gd name="T67" fmla="*/ 4 h 263"/>
                <a:gd name="T68" fmla="*/ 151 w 1109"/>
                <a:gd name="T69" fmla="*/ 114 h 263"/>
                <a:gd name="T70" fmla="*/ 97 w 1109"/>
                <a:gd name="T71" fmla="*/ 10 h 263"/>
                <a:gd name="T72" fmla="*/ 118 w 1109"/>
                <a:gd name="T73" fmla="*/ 44 h 263"/>
                <a:gd name="T74" fmla="*/ 82 w 1109"/>
                <a:gd name="T75" fmla="*/ 57 h 263"/>
                <a:gd name="T76" fmla="*/ 66 w 1109"/>
                <a:gd name="T77" fmla="*/ 37 h 263"/>
                <a:gd name="T78" fmla="*/ 44 w 1109"/>
                <a:gd name="T79" fmla="*/ 48 h 263"/>
                <a:gd name="T80" fmla="*/ 49 w 1109"/>
                <a:gd name="T81" fmla="*/ 88 h 263"/>
                <a:gd name="T82" fmla="*/ 102 w 1109"/>
                <a:gd name="T83" fmla="*/ 144 h 263"/>
                <a:gd name="T84" fmla="*/ 120 w 1109"/>
                <a:gd name="T85" fmla="*/ 184 h 263"/>
                <a:gd name="T86" fmla="*/ 115 w 1109"/>
                <a:gd name="T87" fmla="*/ 231 h 263"/>
                <a:gd name="T88" fmla="*/ 86 w 1109"/>
                <a:gd name="T89" fmla="*/ 257 h 263"/>
                <a:gd name="T90" fmla="*/ 41 w 1109"/>
                <a:gd name="T91" fmla="*/ 260 h 263"/>
                <a:gd name="T92" fmla="*/ 9 w 1109"/>
                <a:gd name="T93" fmla="*/ 236 h 263"/>
                <a:gd name="T94" fmla="*/ 0 w 1109"/>
                <a:gd name="T95" fmla="*/ 182 h 263"/>
                <a:gd name="T96" fmla="*/ 47 w 1109"/>
                <a:gd name="T97" fmla="*/ 223 h 263"/>
                <a:gd name="T98" fmla="*/ 74 w 1109"/>
                <a:gd name="T99" fmla="*/ 219 h 263"/>
                <a:gd name="T100" fmla="*/ 77 w 1109"/>
                <a:gd name="T101" fmla="*/ 182 h 263"/>
                <a:gd name="T102" fmla="*/ 27 w 1109"/>
                <a:gd name="T103" fmla="*/ 126 h 263"/>
                <a:gd name="T104" fmla="*/ 4 w 1109"/>
                <a:gd name="T105" fmla="*/ 84 h 263"/>
                <a:gd name="T106" fmla="*/ 6 w 1109"/>
                <a:gd name="T107" fmla="*/ 37 h 263"/>
                <a:gd name="T108" fmla="*/ 30 w 1109"/>
                <a:gd name="T109" fmla="*/ 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9" h="263">
                  <a:moveTo>
                    <a:pt x="1069" y="4"/>
                  </a:moveTo>
                  <a:lnTo>
                    <a:pt x="1109" y="4"/>
                  </a:lnTo>
                  <a:lnTo>
                    <a:pt x="1109" y="260"/>
                  </a:lnTo>
                  <a:lnTo>
                    <a:pt x="1069" y="260"/>
                  </a:lnTo>
                  <a:lnTo>
                    <a:pt x="1069" y="4"/>
                  </a:lnTo>
                  <a:close/>
                  <a:moveTo>
                    <a:pt x="935" y="4"/>
                  </a:moveTo>
                  <a:lnTo>
                    <a:pt x="975" y="4"/>
                  </a:lnTo>
                  <a:lnTo>
                    <a:pt x="975" y="223"/>
                  </a:lnTo>
                  <a:lnTo>
                    <a:pt x="1042" y="223"/>
                  </a:lnTo>
                  <a:lnTo>
                    <a:pt x="1042" y="260"/>
                  </a:lnTo>
                  <a:lnTo>
                    <a:pt x="935" y="260"/>
                  </a:lnTo>
                  <a:lnTo>
                    <a:pt x="935" y="4"/>
                  </a:lnTo>
                  <a:close/>
                  <a:moveTo>
                    <a:pt x="857" y="4"/>
                  </a:moveTo>
                  <a:lnTo>
                    <a:pt x="897" y="4"/>
                  </a:lnTo>
                  <a:lnTo>
                    <a:pt x="897" y="260"/>
                  </a:lnTo>
                  <a:lnTo>
                    <a:pt x="857" y="260"/>
                  </a:lnTo>
                  <a:lnTo>
                    <a:pt x="857" y="4"/>
                  </a:lnTo>
                  <a:close/>
                  <a:moveTo>
                    <a:pt x="779" y="4"/>
                  </a:moveTo>
                  <a:lnTo>
                    <a:pt x="819" y="4"/>
                  </a:lnTo>
                  <a:lnTo>
                    <a:pt x="819" y="260"/>
                  </a:lnTo>
                  <a:lnTo>
                    <a:pt x="779" y="260"/>
                  </a:lnTo>
                  <a:lnTo>
                    <a:pt x="779" y="4"/>
                  </a:lnTo>
                  <a:close/>
                  <a:moveTo>
                    <a:pt x="661" y="144"/>
                  </a:moveTo>
                  <a:lnTo>
                    <a:pt x="661" y="223"/>
                  </a:lnTo>
                  <a:lnTo>
                    <a:pt x="685" y="223"/>
                  </a:lnTo>
                  <a:lnTo>
                    <a:pt x="689" y="223"/>
                  </a:lnTo>
                  <a:lnTo>
                    <a:pt x="693" y="221"/>
                  </a:lnTo>
                  <a:lnTo>
                    <a:pt x="696" y="219"/>
                  </a:lnTo>
                  <a:lnTo>
                    <a:pt x="699" y="217"/>
                  </a:lnTo>
                  <a:lnTo>
                    <a:pt x="702" y="214"/>
                  </a:lnTo>
                  <a:lnTo>
                    <a:pt x="703" y="212"/>
                  </a:lnTo>
                  <a:lnTo>
                    <a:pt x="704" y="210"/>
                  </a:lnTo>
                  <a:lnTo>
                    <a:pt x="705" y="205"/>
                  </a:lnTo>
                  <a:lnTo>
                    <a:pt x="705" y="197"/>
                  </a:lnTo>
                  <a:lnTo>
                    <a:pt x="705" y="175"/>
                  </a:lnTo>
                  <a:lnTo>
                    <a:pt x="705" y="168"/>
                  </a:lnTo>
                  <a:lnTo>
                    <a:pt x="704" y="160"/>
                  </a:lnTo>
                  <a:lnTo>
                    <a:pt x="702" y="155"/>
                  </a:lnTo>
                  <a:lnTo>
                    <a:pt x="698" y="151"/>
                  </a:lnTo>
                  <a:lnTo>
                    <a:pt x="697" y="150"/>
                  </a:lnTo>
                  <a:lnTo>
                    <a:pt x="695" y="147"/>
                  </a:lnTo>
                  <a:lnTo>
                    <a:pt x="691" y="145"/>
                  </a:lnTo>
                  <a:lnTo>
                    <a:pt x="686" y="144"/>
                  </a:lnTo>
                  <a:lnTo>
                    <a:pt x="679" y="144"/>
                  </a:lnTo>
                  <a:lnTo>
                    <a:pt x="661" y="144"/>
                  </a:lnTo>
                  <a:close/>
                  <a:moveTo>
                    <a:pt x="661" y="41"/>
                  </a:moveTo>
                  <a:lnTo>
                    <a:pt x="661" y="107"/>
                  </a:lnTo>
                  <a:lnTo>
                    <a:pt x="677" y="107"/>
                  </a:lnTo>
                  <a:lnTo>
                    <a:pt x="683" y="107"/>
                  </a:lnTo>
                  <a:lnTo>
                    <a:pt x="687" y="106"/>
                  </a:lnTo>
                  <a:lnTo>
                    <a:pt x="691" y="104"/>
                  </a:lnTo>
                  <a:lnTo>
                    <a:pt x="694" y="102"/>
                  </a:lnTo>
                  <a:lnTo>
                    <a:pt x="697" y="98"/>
                  </a:lnTo>
                  <a:lnTo>
                    <a:pt x="699" y="94"/>
                  </a:lnTo>
                  <a:lnTo>
                    <a:pt x="700" y="88"/>
                  </a:lnTo>
                  <a:lnTo>
                    <a:pt x="700" y="81"/>
                  </a:lnTo>
                  <a:lnTo>
                    <a:pt x="700" y="66"/>
                  </a:lnTo>
                  <a:lnTo>
                    <a:pt x="700" y="60"/>
                  </a:lnTo>
                  <a:lnTo>
                    <a:pt x="699" y="54"/>
                  </a:lnTo>
                  <a:lnTo>
                    <a:pt x="699" y="52"/>
                  </a:lnTo>
                  <a:lnTo>
                    <a:pt x="698" y="50"/>
                  </a:lnTo>
                  <a:lnTo>
                    <a:pt x="696" y="46"/>
                  </a:lnTo>
                  <a:lnTo>
                    <a:pt x="693" y="44"/>
                  </a:lnTo>
                  <a:lnTo>
                    <a:pt x="690" y="42"/>
                  </a:lnTo>
                  <a:lnTo>
                    <a:pt x="686" y="41"/>
                  </a:lnTo>
                  <a:lnTo>
                    <a:pt x="680" y="41"/>
                  </a:lnTo>
                  <a:lnTo>
                    <a:pt x="661" y="41"/>
                  </a:lnTo>
                  <a:close/>
                  <a:moveTo>
                    <a:pt x="741" y="63"/>
                  </a:moveTo>
                  <a:lnTo>
                    <a:pt x="741" y="71"/>
                  </a:lnTo>
                  <a:lnTo>
                    <a:pt x="741" y="81"/>
                  </a:lnTo>
                  <a:lnTo>
                    <a:pt x="740" y="89"/>
                  </a:lnTo>
                  <a:lnTo>
                    <a:pt x="738" y="97"/>
                  </a:lnTo>
                  <a:lnTo>
                    <a:pt x="735" y="104"/>
                  </a:lnTo>
                  <a:lnTo>
                    <a:pt x="731" y="110"/>
                  </a:lnTo>
                  <a:lnTo>
                    <a:pt x="727" y="115"/>
                  </a:lnTo>
                  <a:lnTo>
                    <a:pt x="722" y="120"/>
                  </a:lnTo>
                  <a:lnTo>
                    <a:pt x="715" y="123"/>
                  </a:lnTo>
                  <a:lnTo>
                    <a:pt x="723" y="126"/>
                  </a:lnTo>
                  <a:lnTo>
                    <a:pt x="726" y="128"/>
                  </a:lnTo>
                  <a:lnTo>
                    <a:pt x="729" y="132"/>
                  </a:lnTo>
                  <a:lnTo>
                    <a:pt x="734" y="137"/>
                  </a:lnTo>
                  <a:lnTo>
                    <a:pt x="739" y="143"/>
                  </a:lnTo>
                  <a:lnTo>
                    <a:pt x="742" y="151"/>
                  </a:lnTo>
                  <a:lnTo>
                    <a:pt x="744" y="159"/>
                  </a:lnTo>
                  <a:lnTo>
                    <a:pt x="745" y="169"/>
                  </a:lnTo>
                  <a:lnTo>
                    <a:pt x="745" y="178"/>
                  </a:lnTo>
                  <a:lnTo>
                    <a:pt x="745" y="198"/>
                  </a:lnTo>
                  <a:lnTo>
                    <a:pt x="745" y="206"/>
                  </a:lnTo>
                  <a:lnTo>
                    <a:pt x="744" y="213"/>
                  </a:lnTo>
                  <a:lnTo>
                    <a:pt x="743" y="219"/>
                  </a:lnTo>
                  <a:lnTo>
                    <a:pt x="742" y="225"/>
                  </a:lnTo>
                  <a:lnTo>
                    <a:pt x="740" y="230"/>
                  </a:lnTo>
                  <a:lnTo>
                    <a:pt x="736" y="235"/>
                  </a:lnTo>
                  <a:lnTo>
                    <a:pt x="733" y="239"/>
                  </a:lnTo>
                  <a:lnTo>
                    <a:pt x="730" y="244"/>
                  </a:lnTo>
                  <a:lnTo>
                    <a:pt x="726" y="248"/>
                  </a:lnTo>
                  <a:lnTo>
                    <a:pt x="721" y="250"/>
                  </a:lnTo>
                  <a:lnTo>
                    <a:pt x="716" y="253"/>
                  </a:lnTo>
                  <a:lnTo>
                    <a:pt x="711" y="255"/>
                  </a:lnTo>
                  <a:lnTo>
                    <a:pt x="705" y="257"/>
                  </a:lnTo>
                  <a:lnTo>
                    <a:pt x="698" y="259"/>
                  </a:lnTo>
                  <a:lnTo>
                    <a:pt x="691" y="260"/>
                  </a:lnTo>
                  <a:lnTo>
                    <a:pt x="685" y="260"/>
                  </a:lnTo>
                  <a:lnTo>
                    <a:pt x="621" y="260"/>
                  </a:lnTo>
                  <a:lnTo>
                    <a:pt x="621" y="4"/>
                  </a:lnTo>
                  <a:lnTo>
                    <a:pt x="681" y="4"/>
                  </a:lnTo>
                  <a:lnTo>
                    <a:pt x="689" y="4"/>
                  </a:lnTo>
                  <a:lnTo>
                    <a:pt x="696" y="5"/>
                  </a:lnTo>
                  <a:lnTo>
                    <a:pt x="703" y="6"/>
                  </a:lnTo>
                  <a:lnTo>
                    <a:pt x="709" y="7"/>
                  </a:lnTo>
                  <a:lnTo>
                    <a:pt x="714" y="9"/>
                  </a:lnTo>
                  <a:lnTo>
                    <a:pt x="718" y="12"/>
                  </a:lnTo>
                  <a:lnTo>
                    <a:pt x="723" y="15"/>
                  </a:lnTo>
                  <a:lnTo>
                    <a:pt x="727" y="18"/>
                  </a:lnTo>
                  <a:lnTo>
                    <a:pt x="730" y="22"/>
                  </a:lnTo>
                  <a:lnTo>
                    <a:pt x="733" y="27"/>
                  </a:lnTo>
                  <a:lnTo>
                    <a:pt x="735" y="31"/>
                  </a:lnTo>
                  <a:lnTo>
                    <a:pt x="738" y="36"/>
                  </a:lnTo>
                  <a:lnTo>
                    <a:pt x="740" y="43"/>
                  </a:lnTo>
                  <a:lnTo>
                    <a:pt x="741" y="48"/>
                  </a:lnTo>
                  <a:lnTo>
                    <a:pt x="741" y="55"/>
                  </a:lnTo>
                  <a:lnTo>
                    <a:pt x="741" y="63"/>
                  </a:lnTo>
                  <a:close/>
                  <a:moveTo>
                    <a:pt x="504" y="200"/>
                  </a:moveTo>
                  <a:lnTo>
                    <a:pt x="505" y="207"/>
                  </a:lnTo>
                  <a:lnTo>
                    <a:pt x="506" y="212"/>
                  </a:lnTo>
                  <a:lnTo>
                    <a:pt x="506" y="214"/>
                  </a:lnTo>
                  <a:lnTo>
                    <a:pt x="507" y="216"/>
                  </a:lnTo>
                  <a:lnTo>
                    <a:pt x="510" y="220"/>
                  </a:lnTo>
                  <a:lnTo>
                    <a:pt x="512" y="223"/>
                  </a:lnTo>
                  <a:lnTo>
                    <a:pt x="516" y="225"/>
                  </a:lnTo>
                  <a:lnTo>
                    <a:pt x="521" y="226"/>
                  </a:lnTo>
                  <a:lnTo>
                    <a:pt x="525" y="226"/>
                  </a:lnTo>
                  <a:lnTo>
                    <a:pt x="529" y="226"/>
                  </a:lnTo>
                  <a:lnTo>
                    <a:pt x="533" y="225"/>
                  </a:lnTo>
                  <a:lnTo>
                    <a:pt x="537" y="223"/>
                  </a:lnTo>
                  <a:lnTo>
                    <a:pt x="540" y="220"/>
                  </a:lnTo>
                  <a:lnTo>
                    <a:pt x="543" y="216"/>
                  </a:lnTo>
                  <a:lnTo>
                    <a:pt x="544" y="212"/>
                  </a:lnTo>
                  <a:lnTo>
                    <a:pt x="545" y="207"/>
                  </a:lnTo>
                  <a:lnTo>
                    <a:pt x="546" y="200"/>
                  </a:lnTo>
                  <a:lnTo>
                    <a:pt x="546" y="63"/>
                  </a:lnTo>
                  <a:lnTo>
                    <a:pt x="545" y="57"/>
                  </a:lnTo>
                  <a:lnTo>
                    <a:pt x="544" y="51"/>
                  </a:lnTo>
                  <a:lnTo>
                    <a:pt x="543" y="48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37" y="41"/>
                  </a:lnTo>
                  <a:lnTo>
                    <a:pt x="533" y="39"/>
                  </a:lnTo>
                  <a:lnTo>
                    <a:pt x="529" y="37"/>
                  </a:lnTo>
                  <a:lnTo>
                    <a:pt x="525" y="37"/>
                  </a:lnTo>
                  <a:lnTo>
                    <a:pt x="521" y="37"/>
                  </a:lnTo>
                  <a:lnTo>
                    <a:pt x="516" y="39"/>
                  </a:lnTo>
                  <a:lnTo>
                    <a:pt x="512" y="41"/>
                  </a:lnTo>
                  <a:lnTo>
                    <a:pt x="510" y="43"/>
                  </a:lnTo>
                  <a:lnTo>
                    <a:pt x="507" y="46"/>
                  </a:lnTo>
                  <a:lnTo>
                    <a:pt x="506" y="51"/>
                  </a:lnTo>
                  <a:lnTo>
                    <a:pt x="505" y="57"/>
                  </a:lnTo>
                  <a:lnTo>
                    <a:pt x="504" y="63"/>
                  </a:lnTo>
                  <a:lnTo>
                    <a:pt x="504" y="200"/>
                  </a:lnTo>
                  <a:close/>
                  <a:moveTo>
                    <a:pt x="464" y="65"/>
                  </a:moveTo>
                  <a:lnTo>
                    <a:pt x="464" y="58"/>
                  </a:lnTo>
                  <a:lnTo>
                    <a:pt x="465" y="50"/>
                  </a:lnTo>
                  <a:lnTo>
                    <a:pt x="466" y="44"/>
                  </a:lnTo>
                  <a:lnTo>
                    <a:pt x="468" y="37"/>
                  </a:lnTo>
                  <a:lnTo>
                    <a:pt x="470" y="32"/>
                  </a:lnTo>
                  <a:lnTo>
                    <a:pt x="473" y="27"/>
                  </a:lnTo>
                  <a:lnTo>
                    <a:pt x="476" y="22"/>
                  </a:lnTo>
                  <a:lnTo>
                    <a:pt x="479" y="17"/>
                  </a:lnTo>
                  <a:lnTo>
                    <a:pt x="484" y="13"/>
                  </a:lnTo>
                  <a:lnTo>
                    <a:pt x="488" y="10"/>
                  </a:lnTo>
                  <a:lnTo>
                    <a:pt x="493" y="8"/>
                  </a:lnTo>
                  <a:lnTo>
                    <a:pt x="499" y="5"/>
                  </a:lnTo>
                  <a:lnTo>
                    <a:pt x="505" y="3"/>
                  </a:lnTo>
                  <a:lnTo>
                    <a:pt x="511" y="2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9" y="2"/>
                  </a:lnTo>
                  <a:lnTo>
                    <a:pt x="545" y="3"/>
                  </a:lnTo>
                  <a:lnTo>
                    <a:pt x="551" y="5"/>
                  </a:lnTo>
                  <a:lnTo>
                    <a:pt x="557" y="8"/>
                  </a:lnTo>
                  <a:lnTo>
                    <a:pt x="562" y="10"/>
                  </a:lnTo>
                  <a:lnTo>
                    <a:pt x="566" y="13"/>
                  </a:lnTo>
                  <a:lnTo>
                    <a:pt x="570" y="17"/>
                  </a:lnTo>
                  <a:lnTo>
                    <a:pt x="574" y="22"/>
                  </a:lnTo>
                  <a:lnTo>
                    <a:pt x="577" y="27"/>
                  </a:lnTo>
                  <a:lnTo>
                    <a:pt x="580" y="32"/>
                  </a:lnTo>
                  <a:lnTo>
                    <a:pt x="582" y="37"/>
                  </a:lnTo>
                  <a:lnTo>
                    <a:pt x="583" y="44"/>
                  </a:lnTo>
                  <a:lnTo>
                    <a:pt x="585" y="50"/>
                  </a:lnTo>
                  <a:lnTo>
                    <a:pt x="585" y="58"/>
                  </a:lnTo>
                  <a:lnTo>
                    <a:pt x="586" y="65"/>
                  </a:lnTo>
                  <a:lnTo>
                    <a:pt x="586" y="198"/>
                  </a:lnTo>
                  <a:lnTo>
                    <a:pt x="585" y="206"/>
                  </a:lnTo>
                  <a:lnTo>
                    <a:pt x="585" y="212"/>
                  </a:lnTo>
                  <a:lnTo>
                    <a:pt x="583" y="219"/>
                  </a:lnTo>
                  <a:lnTo>
                    <a:pt x="582" y="226"/>
                  </a:lnTo>
                  <a:lnTo>
                    <a:pt x="580" y="231"/>
                  </a:lnTo>
                  <a:lnTo>
                    <a:pt x="577" y="236"/>
                  </a:lnTo>
                  <a:lnTo>
                    <a:pt x="574" y="242"/>
                  </a:lnTo>
                  <a:lnTo>
                    <a:pt x="570" y="246"/>
                  </a:lnTo>
                  <a:lnTo>
                    <a:pt x="566" y="249"/>
                  </a:lnTo>
                  <a:lnTo>
                    <a:pt x="562" y="253"/>
                  </a:lnTo>
                  <a:lnTo>
                    <a:pt x="557" y="255"/>
                  </a:lnTo>
                  <a:lnTo>
                    <a:pt x="551" y="257"/>
                  </a:lnTo>
                  <a:lnTo>
                    <a:pt x="545" y="260"/>
                  </a:lnTo>
                  <a:lnTo>
                    <a:pt x="539" y="262"/>
                  </a:lnTo>
                  <a:lnTo>
                    <a:pt x="532" y="262"/>
                  </a:lnTo>
                  <a:lnTo>
                    <a:pt x="525" y="263"/>
                  </a:lnTo>
                  <a:lnTo>
                    <a:pt x="518" y="262"/>
                  </a:lnTo>
                  <a:lnTo>
                    <a:pt x="511" y="262"/>
                  </a:lnTo>
                  <a:lnTo>
                    <a:pt x="505" y="260"/>
                  </a:lnTo>
                  <a:lnTo>
                    <a:pt x="499" y="257"/>
                  </a:lnTo>
                  <a:lnTo>
                    <a:pt x="493" y="255"/>
                  </a:lnTo>
                  <a:lnTo>
                    <a:pt x="488" y="253"/>
                  </a:lnTo>
                  <a:lnTo>
                    <a:pt x="484" y="249"/>
                  </a:lnTo>
                  <a:lnTo>
                    <a:pt x="479" y="246"/>
                  </a:lnTo>
                  <a:lnTo>
                    <a:pt x="476" y="242"/>
                  </a:lnTo>
                  <a:lnTo>
                    <a:pt x="473" y="236"/>
                  </a:lnTo>
                  <a:lnTo>
                    <a:pt x="470" y="231"/>
                  </a:lnTo>
                  <a:lnTo>
                    <a:pt x="468" y="226"/>
                  </a:lnTo>
                  <a:lnTo>
                    <a:pt x="466" y="219"/>
                  </a:lnTo>
                  <a:lnTo>
                    <a:pt x="465" y="212"/>
                  </a:lnTo>
                  <a:lnTo>
                    <a:pt x="464" y="206"/>
                  </a:lnTo>
                  <a:lnTo>
                    <a:pt x="464" y="198"/>
                  </a:lnTo>
                  <a:lnTo>
                    <a:pt x="464" y="65"/>
                  </a:lnTo>
                  <a:close/>
                  <a:moveTo>
                    <a:pt x="345" y="186"/>
                  </a:moveTo>
                  <a:lnTo>
                    <a:pt x="373" y="4"/>
                  </a:lnTo>
                  <a:lnTo>
                    <a:pt x="429" y="4"/>
                  </a:lnTo>
                  <a:lnTo>
                    <a:pt x="429" y="260"/>
                  </a:lnTo>
                  <a:lnTo>
                    <a:pt x="391" y="260"/>
                  </a:lnTo>
                  <a:lnTo>
                    <a:pt x="391" y="76"/>
                  </a:lnTo>
                  <a:lnTo>
                    <a:pt x="363" y="260"/>
                  </a:lnTo>
                  <a:lnTo>
                    <a:pt x="325" y="260"/>
                  </a:lnTo>
                  <a:lnTo>
                    <a:pt x="295" y="79"/>
                  </a:lnTo>
                  <a:lnTo>
                    <a:pt x="295" y="260"/>
                  </a:lnTo>
                  <a:lnTo>
                    <a:pt x="259" y="260"/>
                  </a:lnTo>
                  <a:lnTo>
                    <a:pt x="259" y="4"/>
                  </a:lnTo>
                  <a:lnTo>
                    <a:pt x="316" y="4"/>
                  </a:lnTo>
                  <a:lnTo>
                    <a:pt x="345" y="186"/>
                  </a:lnTo>
                  <a:close/>
                  <a:moveTo>
                    <a:pt x="151" y="114"/>
                  </a:moveTo>
                  <a:lnTo>
                    <a:pt x="224" y="114"/>
                  </a:lnTo>
                  <a:lnTo>
                    <a:pt x="224" y="150"/>
                  </a:lnTo>
                  <a:lnTo>
                    <a:pt x="151" y="150"/>
                  </a:lnTo>
                  <a:lnTo>
                    <a:pt x="151" y="114"/>
                  </a:lnTo>
                  <a:close/>
                  <a:moveTo>
                    <a:pt x="61" y="0"/>
                  </a:moveTo>
                  <a:lnTo>
                    <a:pt x="68" y="0"/>
                  </a:lnTo>
                  <a:lnTo>
                    <a:pt x="74" y="2"/>
                  </a:lnTo>
                  <a:lnTo>
                    <a:pt x="81" y="3"/>
                  </a:lnTo>
                  <a:lnTo>
                    <a:pt x="86" y="5"/>
                  </a:lnTo>
                  <a:lnTo>
                    <a:pt x="91" y="8"/>
                  </a:lnTo>
                  <a:lnTo>
                    <a:pt x="97" y="10"/>
                  </a:lnTo>
                  <a:lnTo>
                    <a:pt x="101" y="13"/>
                  </a:lnTo>
                  <a:lnTo>
                    <a:pt x="105" y="17"/>
                  </a:lnTo>
                  <a:lnTo>
                    <a:pt x="108" y="22"/>
                  </a:lnTo>
                  <a:lnTo>
                    <a:pt x="111" y="27"/>
                  </a:lnTo>
                  <a:lnTo>
                    <a:pt x="115" y="32"/>
                  </a:lnTo>
                  <a:lnTo>
                    <a:pt x="117" y="37"/>
                  </a:lnTo>
                  <a:lnTo>
                    <a:pt x="118" y="44"/>
                  </a:lnTo>
                  <a:lnTo>
                    <a:pt x="119" y="50"/>
                  </a:lnTo>
                  <a:lnTo>
                    <a:pt x="120" y="58"/>
                  </a:lnTo>
                  <a:lnTo>
                    <a:pt x="120" y="65"/>
                  </a:lnTo>
                  <a:lnTo>
                    <a:pt x="120" y="73"/>
                  </a:lnTo>
                  <a:lnTo>
                    <a:pt x="82" y="73"/>
                  </a:lnTo>
                  <a:lnTo>
                    <a:pt x="82" y="63"/>
                  </a:lnTo>
                  <a:lnTo>
                    <a:pt x="82" y="57"/>
                  </a:lnTo>
                  <a:lnTo>
                    <a:pt x="81" y="51"/>
                  </a:lnTo>
                  <a:lnTo>
                    <a:pt x="79" y="46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70" y="39"/>
                  </a:lnTo>
                  <a:lnTo>
                    <a:pt x="66" y="37"/>
                  </a:lnTo>
                  <a:lnTo>
                    <a:pt x="62" y="37"/>
                  </a:lnTo>
                  <a:lnTo>
                    <a:pt x="58" y="37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5" y="46"/>
                  </a:lnTo>
                  <a:lnTo>
                    <a:pt x="44" y="48"/>
                  </a:lnTo>
                  <a:lnTo>
                    <a:pt x="43" y="51"/>
                  </a:lnTo>
                  <a:lnTo>
                    <a:pt x="42" y="57"/>
                  </a:lnTo>
                  <a:lnTo>
                    <a:pt x="42" y="63"/>
                  </a:lnTo>
                  <a:lnTo>
                    <a:pt x="43" y="71"/>
                  </a:lnTo>
                  <a:lnTo>
                    <a:pt x="44" y="77"/>
                  </a:lnTo>
                  <a:lnTo>
                    <a:pt x="45" y="81"/>
                  </a:lnTo>
                  <a:lnTo>
                    <a:pt x="49" y="88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67" y="109"/>
                  </a:lnTo>
                  <a:lnTo>
                    <a:pt x="81" y="122"/>
                  </a:lnTo>
                  <a:lnTo>
                    <a:pt x="88" y="129"/>
                  </a:lnTo>
                  <a:lnTo>
                    <a:pt x="96" y="137"/>
                  </a:lnTo>
                  <a:lnTo>
                    <a:pt x="102" y="144"/>
                  </a:lnTo>
                  <a:lnTo>
                    <a:pt x="105" y="149"/>
                  </a:lnTo>
                  <a:lnTo>
                    <a:pt x="108" y="154"/>
                  </a:lnTo>
                  <a:lnTo>
                    <a:pt x="114" y="163"/>
                  </a:lnTo>
                  <a:lnTo>
                    <a:pt x="116" y="168"/>
                  </a:lnTo>
                  <a:lnTo>
                    <a:pt x="117" y="173"/>
                  </a:lnTo>
                  <a:lnTo>
                    <a:pt x="119" y="179"/>
                  </a:lnTo>
                  <a:lnTo>
                    <a:pt x="120" y="184"/>
                  </a:lnTo>
                  <a:lnTo>
                    <a:pt x="120" y="191"/>
                  </a:lnTo>
                  <a:lnTo>
                    <a:pt x="120" y="198"/>
                  </a:lnTo>
                  <a:lnTo>
                    <a:pt x="120" y="206"/>
                  </a:lnTo>
                  <a:lnTo>
                    <a:pt x="120" y="212"/>
                  </a:lnTo>
                  <a:lnTo>
                    <a:pt x="118" y="219"/>
                  </a:lnTo>
                  <a:lnTo>
                    <a:pt x="117" y="226"/>
                  </a:lnTo>
                  <a:lnTo>
                    <a:pt x="115" y="231"/>
                  </a:lnTo>
                  <a:lnTo>
                    <a:pt x="111" y="236"/>
                  </a:lnTo>
                  <a:lnTo>
                    <a:pt x="108" y="242"/>
                  </a:lnTo>
                  <a:lnTo>
                    <a:pt x="105" y="246"/>
                  </a:lnTo>
                  <a:lnTo>
                    <a:pt x="101" y="249"/>
                  </a:lnTo>
                  <a:lnTo>
                    <a:pt x="97" y="253"/>
                  </a:lnTo>
                  <a:lnTo>
                    <a:pt x="91" y="255"/>
                  </a:lnTo>
                  <a:lnTo>
                    <a:pt x="86" y="257"/>
                  </a:lnTo>
                  <a:lnTo>
                    <a:pt x="81" y="260"/>
                  </a:lnTo>
                  <a:lnTo>
                    <a:pt x="74" y="262"/>
                  </a:lnTo>
                  <a:lnTo>
                    <a:pt x="68" y="262"/>
                  </a:lnTo>
                  <a:lnTo>
                    <a:pt x="61" y="263"/>
                  </a:lnTo>
                  <a:lnTo>
                    <a:pt x="53" y="262"/>
                  </a:lnTo>
                  <a:lnTo>
                    <a:pt x="47" y="262"/>
                  </a:lnTo>
                  <a:lnTo>
                    <a:pt x="41" y="260"/>
                  </a:lnTo>
                  <a:lnTo>
                    <a:pt x="34" y="257"/>
                  </a:lnTo>
                  <a:lnTo>
                    <a:pt x="29" y="255"/>
                  </a:lnTo>
                  <a:lnTo>
                    <a:pt x="24" y="253"/>
                  </a:lnTo>
                  <a:lnTo>
                    <a:pt x="19" y="249"/>
                  </a:lnTo>
                  <a:lnTo>
                    <a:pt x="15" y="246"/>
                  </a:lnTo>
                  <a:lnTo>
                    <a:pt x="12" y="242"/>
                  </a:lnTo>
                  <a:lnTo>
                    <a:pt x="9" y="236"/>
                  </a:lnTo>
                  <a:lnTo>
                    <a:pt x="7" y="231"/>
                  </a:lnTo>
                  <a:lnTo>
                    <a:pt x="5" y="226"/>
                  </a:lnTo>
                  <a:lnTo>
                    <a:pt x="3" y="219"/>
                  </a:lnTo>
                  <a:lnTo>
                    <a:pt x="1" y="212"/>
                  </a:lnTo>
                  <a:lnTo>
                    <a:pt x="0" y="206"/>
                  </a:lnTo>
                  <a:lnTo>
                    <a:pt x="0" y="198"/>
                  </a:lnTo>
                  <a:lnTo>
                    <a:pt x="0" y="182"/>
                  </a:lnTo>
                  <a:lnTo>
                    <a:pt x="38" y="182"/>
                  </a:lnTo>
                  <a:lnTo>
                    <a:pt x="38" y="200"/>
                  </a:lnTo>
                  <a:lnTo>
                    <a:pt x="38" y="207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9"/>
                  </a:lnTo>
                  <a:lnTo>
                    <a:pt x="47" y="223"/>
                  </a:lnTo>
                  <a:lnTo>
                    <a:pt x="51" y="224"/>
                  </a:lnTo>
                  <a:lnTo>
                    <a:pt x="54" y="225"/>
                  </a:lnTo>
                  <a:lnTo>
                    <a:pt x="60" y="226"/>
                  </a:lnTo>
                  <a:lnTo>
                    <a:pt x="64" y="225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74" y="219"/>
                  </a:lnTo>
                  <a:lnTo>
                    <a:pt x="77" y="216"/>
                  </a:lnTo>
                  <a:lnTo>
                    <a:pt x="79" y="212"/>
                  </a:lnTo>
                  <a:lnTo>
                    <a:pt x="80" y="207"/>
                  </a:lnTo>
                  <a:lnTo>
                    <a:pt x="80" y="200"/>
                  </a:lnTo>
                  <a:lnTo>
                    <a:pt x="80" y="191"/>
                  </a:lnTo>
                  <a:lnTo>
                    <a:pt x="79" y="187"/>
                  </a:lnTo>
                  <a:lnTo>
                    <a:pt x="77" y="182"/>
                  </a:lnTo>
                  <a:lnTo>
                    <a:pt x="73" y="175"/>
                  </a:lnTo>
                  <a:lnTo>
                    <a:pt x="68" y="168"/>
                  </a:lnTo>
                  <a:lnTo>
                    <a:pt x="62" y="160"/>
                  </a:lnTo>
                  <a:lnTo>
                    <a:pt x="55" y="154"/>
                  </a:lnTo>
                  <a:lnTo>
                    <a:pt x="41" y="140"/>
                  </a:lnTo>
                  <a:lnTo>
                    <a:pt x="33" y="134"/>
                  </a:lnTo>
                  <a:lnTo>
                    <a:pt x="27" y="126"/>
                  </a:lnTo>
                  <a:lnTo>
                    <a:pt x="19" y="118"/>
                  </a:lnTo>
                  <a:lnTo>
                    <a:pt x="16" y="114"/>
                  </a:lnTo>
                  <a:lnTo>
                    <a:pt x="14" y="109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5" y="89"/>
                  </a:lnTo>
                  <a:lnTo>
                    <a:pt x="4" y="84"/>
                  </a:lnTo>
                  <a:lnTo>
                    <a:pt x="3" y="78"/>
                  </a:lnTo>
                  <a:lnTo>
                    <a:pt x="1" y="71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4" y="44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0" y="27"/>
                  </a:lnTo>
                  <a:lnTo>
                    <a:pt x="13" y="22"/>
                  </a:lnTo>
                  <a:lnTo>
                    <a:pt x="16" y="17"/>
                  </a:lnTo>
                  <a:lnTo>
                    <a:pt x="20" y="13"/>
                  </a:lnTo>
                  <a:lnTo>
                    <a:pt x="25" y="10"/>
                  </a:lnTo>
                  <a:lnTo>
                    <a:pt x="30" y="8"/>
                  </a:lnTo>
                  <a:lnTo>
                    <a:pt x="35" y="5"/>
                  </a:lnTo>
                  <a:lnTo>
                    <a:pt x="41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015280366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09960B-66C4-473D-AA0A-DEFECE7F828A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5" name="Round Same Side Corner Rectangle 14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6" name="Freeform 26"/>
            <p:cNvSpPr>
              <a:spLocks noEditPoints="1"/>
            </p:cNvSpPr>
            <p:nvPr userDrawn="1"/>
          </p:nvSpPr>
          <p:spPr bwMode="auto">
            <a:xfrm>
              <a:off x="9315323" y="6471960"/>
              <a:ext cx="1045515" cy="247226"/>
            </a:xfrm>
            <a:custGeom>
              <a:avLst/>
              <a:gdLst>
                <a:gd name="T0" fmla="*/ 975 w 1109"/>
                <a:gd name="T1" fmla="*/ 4 h 263"/>
                <a:gd name="T2" fmla="*/ 897 w 1109"/>
                <a:gd name="T3" fmla="*/ 4 h 263"/>
                <a:gd name="T4" fmla="*/ 779 w 1109"/>
                <a:gd name="T5" fmla="*/ 260 h 263"/>
                <a:gd name="T6" fmla="*/ 696 w 1109"/>
                <a:gd name="T7" fmla="*/ 219 h 263"/>
                <a:gd name="T8" fmla="*/ 705 w 1109"/>
                <a:gd name="T9" fmla="*/ 175 h 263"/>
                <a:gd name="T10" fmla="*/ 691 w 1109"/>
                <a:gd name="T11" fmla="*/ 145 h 263"/>
                <a:gd name="T12" fmla="*/ 683 w 1109"/>
                <a:gd name="T13" fmla="*/ 107 h 263"/>
                <a:gd name="T14" fmla="*/ 700 w 1109"/>
                <a:gd name="T15" fmla="*/ 81 h 263"/>
                <a:gd name="T16" fmla="*/ 693 w 1109"/>
                <a:gd name="T17" fmla="*/ 44 h 263"/>
                <a:gd name="T18" fmla="*/ 741 w 1109"/>
                <a:gd name="T19" fmla="*/ 81 h 263"/>
                <a:gd name="T20" fmla="*/ 715 w 1109"/>
                <a:gd name="T21" fmla="*/ 123 h 263"/>
                <a:gd name="T22" fmla="*/ 744 w 1109"/>
                <a:gd name="T23" fmla="*/ 159 h 263"/>
                <a:gd name="T24" fmla="*/ 742 w 1109"/>
                <a:gd name="T25" fmla="*/ 225 h 263"/>
                <a:gd name="T26" fmla="*/ 716 w 1109"/>
                <a:gd name="T27" fmla="*/ 253 h 263"/>
                <a:gd name="T28" fmla="*/ 621 w 1109"/>
                <a:gd name="T29" fmla="*/ 4 h 263"/>
                <a:gd name="T30" fmla="*/ 718 w 1109"/>
                <a:gd name="T31" fmla="*/ 12 h 263"/>
                <a:gd name="T32" fmla="*/ 740 w 1109"/>
                <a:gd name="T33" fmla="*/ 43 h 263"/>
                <a:gd name="T34" fmla="*/ 506 w 1109"/>
                <a:gd name="T35" fmla="*/ 214 h 263"/>
                <a:gd name="T36" fmla="*/ 529 w 1109"/>
                <a:gd name="T37" fmla="*/ 226 h 263"/>
                <a:gd name="T38" fmla="*/ 546 w 1109"/>
                <a:gd name="T39" fmla="*/ 200 h 263"/>
                <a:gd name="T40" fmla="*/ 537 w 1109"/>
                <a:gd name="T41" fmla="*/ 41 h 263"/>
                <a:gd name="T42" fmla="*/ 510 w 1109"/>
                <a:gd name="T43" fmla="*/ 43 h 263"/>
                <a:gd name="T44" fmla="*/ 464 w 1109"/>
                <a:gd name="T45" fmla="*/ 58 h 263"/>
                <a:gd name="T46" fmla="*/ 479 w 1109"/>
                <a:gd name="T47" fmla="*/ 17 h 263"/>
                <a:gd name="T48" fmla="*/ 518 w 1109"/>
                <a:gd name="T49" fmla="*/ 0 h 263"/>
                <a:gd name="T50" fmla="*/ 562 w 1109"/>
                <a:gd name="T51" fmla="*/ 10 h 263"/>
                <a:gd name="T52" fmla="*/ 583 w 1109"/>
                <a:gd name="T53" fmla="*/ 44 h 263"/>
                <a:gd name="T54" fmla="*/ 583 w 1109"/>
                <a:gd name="T55" fmla="*/ 219 h 263"/>
                <a:gd name="T56" fmla="*/ 562 w 1109"/>
                <a:gd name="T57" fmla="*/ 253 h 263"/>
                <a:gd name="T58" fmla="*/ 518 w 1109"/>
                <a:gd name="T59" fmla="*/ 262 h 263"/>
                <a:gd name="T60" fmla="*/ 479 w 1109"/>
                <a:gd name="T61" fmla="*/ 246 h 263"/>
                <a:gd name="T62" fmla="*/ 464 w 1109"/>
                <a:gd name="T63" fmla="*/ 206 h 263"/>
                <a:gd name="T64" fmla="*/ 391 w 1109"/>
                <a:gd name="T65" fmla="*/ 260 h 263"/>
                <a:gd name="T66" fmla="*/ 259 w 1109"/>
                <a:gd name="T67" fmla="*/ 4 h 263"/>
                <a:gd name="T68" fmla="*/ 151 w 1109"/>
                <a:gd name="T69" fmla="*/ 114 h 263"/>
                <a:gd name="T70" fmla="*/ 97 w 1109"/>
                <a:gd name="T71" fmla="*/ 10 h 263"/>
                <a:gd name="T72" fmla="*/ 118 w 1109"/>
                <a:gd name="T73" fmla="*/ 44 h 263"/>
                <a:gd name="T74" fmla="*/ 82 w 1109"/>
                <a:gd name="T75" fmla="*/ 57 h 263"/>
                <a:gd name="T76" fmla="*/ 66 w 1109"/>
                <a:gd name="T77" fmla="*/ 37 h 263"/>
                <a:gd name="T78" fmla="*/ 44 w 1109"/>
                <a:gd name="T79" fmla="*/ 48 h 263"/>
                <a:gd name="T80" fmla="*/ 49 w 1109"/>
                <a:gd name="T81" fmla="*/ 88 h 263"/>
                <a:gd name="T82" fmla="*/ 102 w 1109"/>
                <a:gd name="T83" fmla="*/ 144 h 263"/>
                <a:gd name="T84" fmla="*/ 120 w 1109"/>
                <a:gd name="T85" fmla="*/ 184 h 263"/>
                <a:gd name="T86" fmla="*/ 115 w 1109"/>
                <a:gd name="T87" fmla="*/ 231 h 263"/>
                <a:gd name="T88" fmla="*/ 86 w 1109"/>
                <a:gd name="T89" fmla="*/ 257 h 263"/>
                <a:gd name="T90" fmla="*/ 41 w 1109"/>
                <a:gd name="T91" fmla="*/ 260 h 263"/>
                <a:gd name="T92" fmla="*/ 9 w 1109"/>
                <a:gd name="T93" fmla="*/ 236 h 263"/>
                <a:gd name="T94" fmla="*/ 0 w 1109"/>
                <a:gd name="T95" fmla="*/ 182 h 263"/>
                <a:gd name="T96" fmla="*/ 47 w 1109"/>
                <a:gd name="T97" fmla="*/ 223 h 263"/>
                <a:gd name="T98" fmla="*/ 74 w 1109"/>
                <a:gd name="T99" fmla="*/ 219 h 263"/>
                <a:gd name="T100" fmla="*/ 77 w 1109"/>
                <a:gd name="T101" fmla="*/ 182 h 263"/>
                <a:gd name="T102" fmla="*/ 27 w 1109"/>
                <a:gd name="T103" fmla="*/ 126 h 263"/>
                <a:gd name="T104" fmla="*/ 4 w 1109"/>
                <a:gd name="T105" fmla="*/ 84 h 263"/>
                <a:gd name="T106" fmla="*/ 6 w 1109"/>
                <a:gd name="T107" fmla="*/ 37 h 263"/>
                <a:gd name="T108" fmla="*/ 30 w 1109"/>
                <a:gd name="T109" fmla="*/ 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9" h="263">
                  <a:moveTo>
                    <a:pt x="1069" y="4"/>
                  </a:moveTo>
                  <a:lnTo>
                    <a:pt x="1109" y="4"/>
                  </a:lnTo>
                  <a:lnTo>
                    <a:pt x="1109" y="260"/>
                  </a:lnTo>
                  <a:lnTo>
                    <a:pt x="1069" y="260"/>
                  </a:lnTo>
                  <a:lnTo>
                    <a:pt x="1069" y="4"/>
                  </a:lnTo>
                  <a:close/>
                  <a:moveTo>
                    <a:pt x="935" y="4"/>
                  </a:moveTo>
                  <a:lnTo>
                    <a:pt x="975" y="4"/>
                  </a:lnTo>
                  <a:lnTo>
                    <a:pt x="975" y="223"/>
                  </a:lnTo>
                  <a:lnTo>
                    <a:pt x="1042" y="223"/>
                  </a:lnTo>
                  <a:lnTo>
                    <a:pt x="1042" y="260"/>
                  </a:lnTo>
                  <a:lnTo>
                    <a:pt x="935" y="260"/>
                  </a:lnTo>
                  <a:lnTo>
                    <a:pt x="935" y="4"/>
                  </a:lnTo>
                  <a:close/>
                  <a:moveTo>
                    <a:pt x="857" y="4"/>
                  </a:moveTo>
                  <a:lnTo>
                    <a:pt x="897" y="4"/>
                  </a:lnTo>
                  <a:lnTo>
                    <a:pt x="897" y="260"/>
                  </a:lnTo>
                  <a:lnTo>
                    <a:pt x="857" y="260"/>
                  </a:lnTo>
                  <a:lnTo>
                    <a:pt x="857" y="4"/>
                  </a:lnTo>
                  <a:close/>
                  <a:moveTo>
                    <a:pt x="779" y="4"/>
                  </a:moveTo>
                  <a:lnTo>
                    <a:pt x="819" y="4"/>
                  </a:lnTo>
                  <a:lnTo>
                    <a:pt x="819" y="260"/>
                  </a:lnTo>
                  <a:lnTo>
                    <a:pt x="779" y="260"/>
                  </a:lnTo>
                  <a:lnTo>
                    <a:pt x="779" y="4"/>
                  </a:lnTo>
                  <a:close/>
                  <a:moveTo>
                    <a:pt x="661" y="144"/>
                  </a:moveTo>
                  <a:lnTo>
                    <a:pt x="661" y="223"/>
                  </a:lnTo>
                  <a:lnTo>
                    <a:pt x="685" y="223"/>
                  </a:lnTo>
                  <a:lnTo>
                    <a:pt x="689" y="223"/>
                  </a:lnTo>
                  <a:lnTo>
                    <a:pt x="693" y="221"/>
                  </a:lnTo>
                  <a:lnTo>
                    <a:pt x="696" y="219"/>
                  </a:lnTo>
                  <a:lnTo>
                    <a:pt x="699" y="217"/>
                  </a:lnTo>
                  <a:lnTo>
                    <a:pt x="702" y="214"/>
                  </a:lnTo>
                  <a:lnTo>
                    <a:pt x="703" y="212"/>
                  </a:lnTo>
                  <a:lnTo>
                    <a:pt x="704" y="210"/>
                  </a:lnTo>
                  <a:lnTo>
                    <a:pt x="705" y="205"/>
                  </a:lnTo>
                  <a:lnTo>
                    <a:pt x="705" y="197"/>
                  </a:lnTo>
                  <a:lnTo>
                    <a:pt x="705" y="175"/>
                  </a:lnTo>
                  <a:lnTo>
                    <a:pt x="705" y="168"/>
                  </a:lnTo>
                  <a:lnTo>
                    <a:pt x="704" y="160"/>
                  </a:lnTo>
                  <a:lnTo>
                    <a:pt x="702" y="155"/>
                  </a:lnTo>
                  <a:lnTo>
                    <a:pt x="698" y="151"/>
                  </a:lnTo>
                  <a:lnTo>
                    <a:pt x="697" y="150"/>
                  </a:lnTo>
                  <a:lnTo>
                    <a:pt x="695" y="147"/>
                  </a:lnTo>
                  <a:lnTo>
                    <a:pt x="691" y="145"/>
                  </a:lnTo>
                  <a:lnTo>
                    <a:pt x="686" y="144"/>
                  </a:lnTo>
                  <a:lnTo>
                    <a:pt x="679" y="144"/>
                  </a:lnTo>
                  <a:lnTo>
                    <a:pt x="661" y="144"/>
                  </a:lnTo>
                  <a:close/>
                  <a:moveTo>
                    <a:pt x="661" y="41"/>
                  </a:moveTo>
                  <a:lnTo>
                    <a:pt x="661" y="107"/>
                  </a:lnTo>
                  <a:lnTo>
                    <a:pt x="677" y="107"/>
                  </a:lnTo>
                  <a:lnTo>
                    <a:pt x="683" y="107"/>
                  </a:lnTo>
                  <a:lnTo>
                    <a:pt x="687" y="106"/>
                  </a:lnTo>
                  <a:lnTo>
                    <a:pt x="691" y="104"/>
                  </a:lnTo>
                  <a:lnTo>
                    <a:pt x="694" y="102"/>
                  </a:lnTo>
                  <a:lnTo>
                    <a:pt x="697" y="98"/>
                  </a:lnTo>
                  <a:lnTo>
                    <a:pt x="699" y="94"/>
                  </a:lnTo>
                  <a:lnTo>
                    <a:pt x="700" y="88"/>
                  </a:lnTo>
                  <a:lnTo>
                    <a:pt x="700" y="81"/>
                  </a:lnTo>
                  <a:lnTo>
                    <a:pt x="700" y="66"/>
                  </a:lnTo>
                  <a:lnTo>
                    <a:pt x="700" y="60"/>
                  </a:lnTo>
                  <a:lnTo>
                    <a:pt x="699" y="54"/>
                  </a:lnTo>
                  <a:lnTo>
                    <a:pt x="699" y="52"/>
                  </a:lnTo>
                  <a:lnTo>
                    <a:pt x="698" y="50"/>
                  </a:lnTo>
                  <a:lnTo>
                    <a:pt x="696" y="46"/>
                  </a:lnTo>
                  <a:lnTo>
                    <a:pt x="693" y="44"/>
                  </a:lnTo>
                  <a:lnTo>
                    <a:pt x="690" y="42"/>
                  </a:lnTo>
                  <a:lnTo>
                    <a:pt x="686" y="41"/>
                  </a:lnTo>
                  <a:lnTo>
                    <a:pt x="680" y="41"/>
                  </a:lnTo>
                  <a:lnTo>
                    <a:pt x="661" y="41"/>
                  </a:lnTo>
                  <a:close/>
                  <a:moveTo>
                    <a:pt x="741" y="63"/>
                  </a:moveTo>
                  <a:lnTo>
                    <a:pt x="741" y="71"/>
                  </a:lnTo>
                  <a:lnTo>
                    <a:pt x="741" y="81"/>
                  </a:lnTo>
                  <a:lnTo>
                    <a:pt x="740" y="89"/>
                  </a:lnTo>
                  <a:lnTo>
                    <a:pt x="738" y="97"/>
                  </a:lnTo>
                  <a:lnTo>
                    <a:pt x="735" y="104"/>
                  </a:lnTo>
                  <a:lnTo>
                    <a:pt x="731" y="110"/>
                  </a:lnTo>
                  <a:lnTo>
                    <a:pt x="727" y="115"/>
                  </a:lnTo>
                  <a:lnTo>
                    <a:pt x="722" y="120"/>
                  </a:lnTo>
                  <a:lnTo>
                    <a:pt x="715" y="123"/>
                  </a:lnTo>
                  <a:lnTo>
                    <a:pt x="723" y="126"/>
                  </a:lnTo>
                  <a:lnTo>
                    <a:pt x="726" y="128"/>
                  </a:lnTo>
                  <a:lnTo>
                    <a:pt x="729" y="132"/>
                  </a:lnTo>
                  <a:lnTo>
                    <a:pt x="734" y="137"/>
                  </a:lnTo>
                  <a:lnTo>
                    <a:pt x="739" y="143"/>
                  </a:lnTo>
                  <a:lnTo>
                    <a:pt x="742" y="151"/>
                  </a:lnTo>
                  <a:lnTo>
                    <a:pt x="744" y="159"/>
                  </a:lnTo>
                  <a:lnTo>
                    <a:pt x="745" y="169"/>
                  </a:lnTo>
                  <a:lnTo>
                    <a:pt x="745" y="178"/>
                  </a:lnTo>
                  <a:lnTo>
                    <a:pt x="745" y="198"/>
                  </a:lnTo>
                  <a:lnTo>
                    <a:pt x="745" y="206"/>
                  </a:lnTo>
                  <a:lnTo>
                    <a:pt x="744" y="213"/>
                  </a:lnTo>
                  <a:lnTo>
                    <a:pt x="743" y="219"/>
                  </a:lnTo>
                  <a:lnTo>
                    <a:pt x="742" y="225"/>
                  </a:lnTo>
                  <a:lnTo>
                    <a:pt x="740" y="230"/>
                  </a:lnTo>
                  <a:lnTo>
                    <a:pt x="736" y="235"/>
                  </a:lnTo>
                  <a:lnTo>
                    <a:pt x="733" y="239"/>
                  </a:lnTo>
                  <a:lnTo>
                    <a:pt x="730" y="244"/>
                  </a:lnTo>
                  <a:lnTo>
                    <a:pt x="726" y="248"/>
                  </a:lnTo>
                  <a:lnTo>
                    <a:pt x="721" y="250"/>
                  </a:lnTo>
                  <a:lnTo>
                    <a:pt x="716" y="253"/>
                  </a:lnTo>
                  <a:lnTo>
                    <a:pt x="711" y="255"/>
                  </a:lnTo>
                  <a:lnTo>
                    <a:pt x="705" y="257"/>
                  </a:lnTo>
                  <a:lnTo>
                    <a:pt x="698" y="259"/>
                  </a:lnTo>
                  <a:lnTo>
                    <a:pt x="691" y="260"/>
                  </a:lnTo>
                  <a:lnTo>
                    <a:pt x="685" y="260"/>
                  </a:lnTo>
                  <a:lnTo>
                    <a:pt x="621" y="260"/>
                  </a:lnTo>
                  <a:lnTo>
                    <a:pt x="621" y="4"/>
                  </a:lnTo>
                  <a:lnTo>
                    <a:pt x="681" y="4"/>
                  </a:lnTo>
                  <a:lnTo>
                    <a:pt x="689" y="4"/>
                  </a:lnTo>
                  <a:lnTo>
                    <a:pt x="696" y="5"/>
                  </a:lnTo>
                  <a:lnTo>
                    <a:pt x="703" y="6"/>
                  </a:lnTo>
                  <a:lnTo>
                    <a:pt x="709" y="7"/>
                  </a:lnTo>
                  <a:lnTo>
                    <a:pt x="714" y="9"/>
                  </a:lnTo>
                  <a:lnTo>
                    <a:pt x="718" y="12"/>
                  </a:lnTo>
                  <a:lnTo>
                    <a:pt x="723" y="15"/>
                  </a:lnTo>
                  <a:lnTo>
                    <a:pt x="727" y="18"/>
                  </a:lnTo>
                  <a:lnTo>
                    <a:pt x="730" y="22"/>
                  </a:lnTo>
                  <a:lnTo>
                    <a:pt x="733" y="27"/>
                  </a:lnTo>
                  <a:lnTo>
                    <a:pt x="735" y="31"/>
                  </a:lnTo>
                  <a:lnTo>
                    <a:pt x="738" y="36"/>
                  </a:lnTo>
                  <a:lnTo>
                    <a:pt x="740" y="43"/>
                  </a:lnTo>
                  <a:lnTo>
                    <a:pt x="741" y="48"/>
                  </a:lnTo>
                  <a:lnTo>
                    <a:pt x="741" y="55"/>
                  </a:lnTo>
                  <a:lnTo>
                    <a:pt x="741" y="63"/>
                  </a:lnTo>
                  <a:close/>
                  <a:moveTo>
                    <a:pt x="504" y="200"/>
                  </a:moveTo>
                  <a:lnTo>
                    <a:pt x="505" y="207"/>
                  </a:lnTo>
                  <a:lnTo>
                    <a:pt x="506" y="212"/>
                  </a:lnTo>
                  <a:lnTo>
                    <a:pt x="506" y="214"/>
                  </a:lnTo>
                  <a:lnTo>
                    <a:pt x="507" y="216"/>
                  </a:lnTo>
                  <a:lnTo>
                    <a:pt x="510" y="220"/>
                  </a:lnTo>
                  <a:lnTo>
                    <a:pt x="512" y="223"/>
                  </a:lnTo>
                  <a:lnTo>
                    <a:pt x="516" y="225"/>
                  </a:lnTo>
                  <a:lnTo>
                    <a:pt x="521" y="226"/>
                  </a:lnTo>
                  <a:lnTo>
                    <a:pt x="525" y="226"/>
                  </a:lnTo>
                  <a:lnTo>
                    <a:pt x="529" y="226"/>
                  </a:lnTo>
                  <a:lnTo>
                    <a:pt x="533" y="225"/>
                  </a:lnTo>
                  <a:lnTo>
                    <a:pt x="537" y="223"/>
                  </a:lnTo>
                  <a:lnTo>
                    <a:pt x="540" y="220"/>
                  </a:lnTo>
                  <a:lnTo>
                    <a:pt x="543" y="216"/>
                  </a:lnTo>
                  <a:lnTo>
                    <a:pt x="544" y="212"/>
                  </a:lnTo>
                  <a:lnTo>
                    <a:pt x="545" y="207"/>
                  </a:lnTo>
                  <a:lnTo>
                    <a:pt x="546" y="200"/>
                  </a:lnTo>
                  <a:lnTo>
                    <a:pt x="546" y="63"/>
                  </a:lnTo>
                  <a:lnTo>
                    <a:pt x="545" y="57"/>
                  </a:lnTo>
                  <a:lnTo>
                    <a:pt x="544" y="51"/>
                  </a:lnTo>
                  <a:lnTo>
                    <a:pt x="543" y="48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37" y="41"/>
                  </a:lnTo>
                  <a:lnTo>
                    <a:pt x="533" y="39"/>
                  </a:lnTo>
                  <a:lnTo>
                    <a:pt x="529" y="37"/>
                  </a:lnTo>
                  <a:lnTo>
                    <a:pt x="525" y="37"/>
                  </a:lnTo>
                  <a:lnTo>
                    <a:pt x="521" y="37"/>
                  </a:lnTo>
                  <a:lnTo>
                    <a:pt x="516" y="39"/>
                  </a:lnTo>
                  <a:lnTo>
                    <a:pt x="512" y="41"/>
                  </a:lnTo>
                  <a:lnTo>
                    <a:pt x="510" y="43"/>
                  </a:lnTo>
                  <a:lnTo>
                    <a:pt x="507" y="46"/>
                  </a:lnTo>
                  <a:lnTo>
                    <a:pt x="506" y="51"/>
                  </a:lnTo>
                  <a:lnTo>
                    <a:pt x="505" y="57"/>
                  </a:lnTo>
                  <a:lnTo>
                    <a:pt x="504" y="63"/>
                  </a:lnTo>
                  <a:lnTo>
                    <a:pt x="504" y="200"/>
                  </a:lnTo>
                  <a:close/>
                  <a:moveTo>
                    <a:pt x="464" y="65"/>
                  </a:moveTo>
                  <a:lnTo>
                    <a:pt x="464" y="58"/>
                  </a:lnTo>
                  <a:lnTo>
                    <a:pt x="465" y="50"/>
                  </a:lnTo>
                  <a:lnTo>
                    <a:pt x="466" y="44"/>
                  </a:lnTo>
                  <a:lnTo>
                    <a:pt x="468" y="37"/>
                  </a:lnTo>
                  <a:lnTo>
                    <a:pt x="470" y="32"/>
                  </a:lnTo>
                  <a:lnTo>
                    <a:pt x="473" y="27"/>
                  </a:lnTo>
                  <a:lnTo>
                    <a:pt x="476" y="22"/>
                  </a:lnTo>
                  <a:lnTo>
                    <a:pt x="479" y="17"/>
                  </a:lnTo>
                  <a:lnTo>
                    <a:pt x="484" y="13"/>
                  </a:lnTo>
                  <a:lnTo>
                    <a:pt x="488" y="10"/>
                  </a:lnTo>
                  <a:lnTo>
                    <a:pt x="493" y="8"/>
                  </a:lnTo>
                  <a:lnTo>
                    <a:pt x="499" y="5"/>
                  </a:lnTo>
                  <a:lnTo>
                    <a:pt x="505" y="3"/>
                  </a:lnTo>
                  <a:lnTo>
                    <a:pt x="511" y="2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9" y="2"/>
                  </a:lnTo>
                  <a:lnTo>
                    <a:pt x="545" y="3"/>
                  </a:lnTo>
                  <a:lnTo>
                    <a:pt x="551" y="5"/>
                  </a:lnTo>
                  <a:lnTo>
                    <a:pt x="557" y="8"/>
                  </a:lnTo>
                  <a:lnTo>
                    <a:pt x="562" y="10"/>
                  </a:lnTo>
                  <a:lnTo>
                    <a:pt x="566" y="13"/>
                  </a:lnTo>
                  <a:lnTo>
                    <a:pt x="570" y="17"/>
                  </a:lnTo>
                  <a:lnTo>
                    <a:pt x="574" y="22"/>
                  </a:lnTo>
                  <a:lnTo>
                    <a:pt x="577" y="27"/>
                  </a:lnTo>
                  <a:lnTo>
                    <a:pt x="580" y="32"/>
                  </a:lnTo>
                  <a:lnTo>
                    <a:pt x="582" y="37"/>
                  </a:lnTo>
                  <a:lnTo>
                    <a:pt x="583" y="44"/>
                  </a:lnTo>
                  <a:lnTo>
                    <a:pt x="585" y="50"/>
                  </a:lnTo>
                  <a:lnTo>
                    <a:pt x="585" y="58"/>
                  </a:lnTo>
                  <a:lnTo>
                    <a:pt x="586" y="65"/>
                  </a:lnTo>
                  <a:lnTo>
                    <a:pt x="586" y="198"/>
                  </a:lnTo>
                  <a:lnTo>
                    <a:pt x="585" y="206"/>
                  </a:lnTo>
                  <a:lnTo>
                    <a:pt x="585" y="212"/>
                  </a:lnTo>
                  <a:lnTo>
                    <a:pt x="583" y="219"/>
                  </a:lnTo>
                  <a:lnTo>
                    <a:pt x="582" y="226"/>
                  </a:lnTo>
                  <a:lnTo>
                    <a:pt x="580" y="231"/>
                  </a:lnTo>
                  <a:lnTo>
                    <a:pt x="577" y="236"/>
                  </a:lnTo>
                  <a:lnTo>
                    <a:pt x="574" y="242"/>
                  </a:lnTo>
                  <a:lnTo>
                    <a:pt x="570" y="246"/>
                  </a:lnTo>
                  <a:lnTo>
                    <a:pt x="566" y="249"/>
                  </a:lnTo>
                  <a:lnTo>
                    <a:pt x="562" y="253"/>
                  </a:lnTo>
                  <a:lnTo>
                    <a:pt x="557" y="255"/>
                  </a:lnTo>
                  <a:lnTo>
                    <a:pt x="551" y="257"/>
                  </a:lnTo>
                  <a:lnTo>
                    <a:pt x="545" y="260"/>
                  </a:lnTo>
                  <a:lnTo>
                    <a:pt x="539" y="262"/>
                  </a:lnTo>
                  <a:lnTo>
                    <a:pt x="532" y="262"/>
                  </a:lnTo>
                  <a:lnTo>
                    <a:pt x="525" y="263"/>
                  </a:lnTo>
                  <a:lnTo>
                    <a:pt x="518" y="262"/>
                  </a:lnTo>
                  <a:lnTo>
                    <a:pt x="511" y="262"/>
                  </a:lnTo>
                  <a:lnTo>
                    <a:pt x="505" y="260"/>
                  </a:lnTo>
                  <a:lnTo>
                    <a:pt x="499" y="257"/>
                  </a:lnTo>
                  <a:lnTo>
                    <a:pt x="493" y="255"/>
                  </a:lnTo>
                  <a:lnTo>
                    <a:pt x="488" y="253"/>
                  </a:lnTo>
                  <a:lnTo>
                    <a:pt x="484" y="249"/>
                  </a:lnTo>
                  <a:lnTo>
                    <a:pt x="479" y="246"/>
                  </a:lnTo>
                  <a:lnTo>
                    <a:pt x="476" y="242"/>
                  </a:lnTo>
                  <a:lnTo>
                    <a:pt x="473" y="236"/>
                  </a:lnTo>
                  <a:lnTo>
                    <a:pt x="470" y="231"/>
                  </a:lnTo>
                  <a:lnTo>
                    <a:pt x="468" y="226"/>
                  </a:lnTo>
                  <a:lnTo>
                    <a:pt x="466" y="219"/>
                  </a:lnTo>
                  <a:lnTo>
                    <a:pt x="465" y="212"/>
                  </a:lnTo>
                  <a:lnTo>
                    <a:pt x="464" y="206"/>
                  </a:lnTo>
                  <a:lnTo>
                    <a:pt x="464" y="198"/>
                  </a:lnTo>
                  <a:lnTo>
                    <a:pt x="464" y="65"/>
                  </a:lnTo>
                  <a:close/>
                  <a:moveTo>
                    <a:pt x="345" y="186"/>
                  </a:moveTo>
                  <a:lnTo>
                    <a:pt x="373" y="4"/>
                  </a:lnTo>
                  <a:lnTo>
                    <a:pt x="429" y="4"/>
                  </a:lnTo>
                  <a:lnTo>
                    <a:pt x="429" y="260"/>
                  </a:lnTo>
                  <a:lnTo>
                    <a:pt x="391" y="260"/>
                  </a:lnTo>
                  <a:lnTo>
                    <a:pt x="391" y="76"/>
                  </a:lnTo>
                  <a:lnTo>
                    <a:pt x="363" y="260"/>
                  </a:lnTo>
                  <a:lnTo>
                    <a:pt x="325" y="260"/>
                  </a:lnTo>
                  <a:lnTo>
                    <a:pt x="295" y="79"/>
                  </a:lnTo>
                  <a:lnTo>
                    <a:pt x="295" y="260"/>
                  </a:lnTo>
                  <a:lnTo>
                    <a:pt x="259" y="260"/>
                  </a:lnTo>
                  <a:lnTo>
                    <a:pt x="259" y="4"/>
                  </a:lnTo>
                  <a:lnTo>
                    <a:pt x="316" y="4"/>
                  </a:lnTo>
                  <a:lnTo>
                    <a:pt x="345" y="186"/>
                  </a:lnTo>
                  <a:close/>
                  <a:moveTo>
                    <a:pt x="151" y="114"/>
                  </a:moveTo>
                  <a:lnTo>
                    <a:pt x="224" y="114"/>
                  </a:lnTo>
                  <a:lnTo>
                    <a:pt x="224" y="150"/>
                  </a:lnTo>
                  <a:lnTo>
                    <a:pt x="151" y="150"/>
                  </a:lnTo>
                  <a:lnTo>
                    <a:pt x="151" y="114"/>
                  </a:lnTo>
                  <a:close/>
                  <a:moveTo>
                    <a:pt x="61" y="0"/>
                  </a:moveTo>
                  <a:lnTo>
                    <a:pt x="68" y="0"/>
                  </a:lnTo>
                  <a:lnTo>
                    <a:pt x="74" y="2"/>
                  </a:lnTo>
                  <a:lnTo>
                    <a:pt x="81" y="3"/>
                  </a:lnTo>
                  <a:lnTo>
                    <a:pt x="86" y="5"/>
                  </a:lnTo>
                  <a:lnTo>
                    <a:pt x="91" y="8"/>
                  </a:lnTo>
                  <a:lnTo>
                    <a:pt x="97" y="10"/>
                  </a:lnTo>
                  <a:lnTo>
                    <a:pt x="101" y="13"/>
                  </a:lnTo>
                  <a:lnTo>
                    <a:pt x="105" y="17"/>
                  </a:lnTo>
                  <a:lnTo>
                    <a:pt x="108" y="22"/>
                  </a:lnTo>
                  <a:lnTo>
                    <a:pt x="111" y="27"/>
                  </a:lnTo>
                  <a:lnTo>
                    <a:pt x="115" y="32"/>
                  </a:lnTo>
                  <a:lnTo>
                    <a:pt x="117" y="37"/>
                  </a:lnTo>
                  <a:lnTo>
                    <a:pt x="118" y="44"/>
                  </a:lnTo>
                  <a:lnTo>
                    <a:pt x="119" y="50"/>
                  </a:lnTo>
                  <a:lnTo>
                    <a:pt x="120" y="58"/>
                  </a:lnTo>
                  <a:lnTo>
                    <a:pt x="120" y="65"/>
                  </a:lnTo>
                  <a:lnTo>
                    <a:pt x="120" y="73"/>
                  </a:lnTo>
                  <a:lnTo>
                    <a:pt x="82" y="73"/>
                  </a:lnTo>
                  <a:lnTo>
                    <a:pt x="82" y="63"/>
                  </a:lnTo>
                  <a:lnTo>
                    <a:pt x="82" y="57"/>
                  </a:lnTo>
                  <a:lnTo>
                    <a:pt x="81" y="51"/>
                  </a:lnTo>
                  <a:lnTo>
                    <a:pt x="79" y="46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70" y="39"/>
                  </a:lnTo>
                  <a:lnTo>
                    <a:pt x="66" y="37"/>
                  </a:lnTo>
                  <a:lnTo>
                    <a:pt x="62" y="37"/>
                  </a:lnTo>
                  <a:lnTo>
                    <a:pt x="58" y="37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5" y="46"/>
                  </a:lnTo>
                  <a:lnTo>
                    <a:pt x="44" y="48"/>
                  </a:lnTo>
                  <a:lnTo>
                    <a:pt x="43" y="51"/>
                  </a:lnTo>
                  <a:lnTo>
                    <a:pt x="42" y="57"/>
                  </a:lnTo>
                  <a:lnTo>
                    <a:pt x="42" y="63"/>
                  </a:lnTo>
                  <a:lnTo>
                    <a:pt x="43" y="71"/>
                  </a:lnTo>
                  <a:lnTo>
                    <a:pt x="44" y="77"/>
                  </a:lnTo>
                  <a:lnTo>
                    <a:pt x="45" y="81"/>
                  </a:lnTo>
                  <a:lnTo>
                    <a:pt x="49" y="88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67" y="109"/>
                  </a:lnTo>
                  <a:lnTo>
                    <a:pt x="81" y="122"/>
                  </a:lnTo>
                  <a:lnTo>
                    <a:pt x="88" y="129"/>
                  </a:lnTo>
                  <a:lnTo>
                    <a:pt x="96" y="137"/>
                  </a:lnTo>
                  <a:lnTo>
                    <a:pt x="102" y="144"/>
                  </a:lnTo>
                  <a:lnTo>
                    <a:pt x="105" y="149"/>
                  </a:lnTo>
                  <a:lnTo>
                    <a:pt x="108" y="154"/>
                  </a:lnTo>
                  <a:lnTo>
                    <a:pt x="114" y="163"/>
                  </a:lnTo>
                  <a:lnTo>
                    <a:pt x="116" y="168"/>
                  </a:lnTo>
                  <a:lnTo>
                    <a:pt x="117" y="173"/>
                  </a:lnTo>
                  <a:lnTo>
                    <a:pt x="119" y="179"/>
                  </a:lnTo>
                  <a:lnTo>
                    <a:pt x="120" y="184"/>
                  </a:lnTo>
                  <a:lnTo>
                    <a:pt x="120" y="191"/>
                  </a:lnTo>
                  <a:lnTo>
                    <a:pt x="120" y="198"/>
                  </a:lnTo>
                  <a:lnTo>
                    <a:pt x="120" y="206"/>
                  </a:lnTo>
                  <a:lnTo>
                    <a:pt x="120" y="212"/>
                  </a:lnTo>
                  <a:lnTo>
                    <a:pt x="118" y="219"/>
                  </a:lnTo>
                  <a:lnTo>
                    <a:pt x="117" y="226"/>
                  </a:lnTo>
                  <a:lnTo>
                    <a:pt x="115" y="231"/>
                  </a:lnTo>
                  <a:lnTo>
                    <a:pt x="111" y="236"/>
                  </a:lnTo>
                  <a:lnTo>
                    <a:pt x="108" y="242"/>
                  </a:lnTo>
                  <a:lnTo>
                    <a:pt x="105" y="246"/>
                  </a:lnTo>
                  <a:lnTo>
                    <a:pt x="101" y="249"/>
                  </a:lnTo>
                  <a:lnTo>
                    <a:pt x="97" y="253"/>
                  </a:lnTo>
                  <a:lnTo>
                    <a:pt x="91" y="255"/>
                  </a:lnTo>
                  <a:lnTo>
                    <a:pt x="86" y="257"/>
                  </a:lnTo>
                  <a:lnTo>
                    <a:pt x="81" y="260"/>
                  </a:lnTo>
                  <a:lnTo>
                    <a:pt x="74" y="262"/>
                  </a:lnTo>
                  <a:lnTo>
                    <a:pt x="68" y="262"/>
                  </a:lnTo>
                  <a:lnTo>
                    <a:pt x="61" y="263"/>
                  </a:lnTo>
                  <a:lnTo>
                    <a:pt x="53" y="262"/>
                  </a:lnTo>
                  <a:lnTo>
                    <a:pt x="47" y="262"/>
                  </a:lnTo>
                  <a:lnTo>
                    <a:pt x="41" y="260"/>
                  </a:lnTo>
                  <a:lnTo>
                    <a:pt x="34" y="257"/>
                  </a:lnTo>
                  <a:lnTo>
                    <a:pt x="29" y="255"/>
                  </a:lnTo>
                  <a:lnTo>
                    <a:pt x="24" y="253"/>
                  </a:lnTo>
                  <a:lnTo>
                    <a:pt x="19" y="249"/>
                  </a:lnTo>
                  <a:lnTo>
                    <a:pt x="15" y="246"/>
                  </a:lnTo>
                  <a:lnTo>
                    <a:pt x="12" y="242"/>
                  </a:lnTo>
                  <a:lnTo>
                    <a:pt x="9" y="236"/>
                  </a:lnTo>
                  <a:lnTo>
                    <a:pt x="7" y="231"/>
                  </a:lnTo>
                  <a:lnTo>
                    <a:pt x="5" y="226"/>
                  </a:lnTo>
                  <a:lnTo>
                    <a:pt x="3" y="219"/>
                  </a:lnTo>
                  <a:lnTo>
                    <a:pt x="1" y="212"/>
                  </a:lnTo>
                  <a:lnTo>
                    <a:pt x="0" y="206"/>
                  </a:lnTo>
                  <a:lnTo>
                    <a:pt x="0" y="198"/>
                  </a:lnTo>
                  <a:lnTo>
                    <a:pt x="0" y="182"/>
                  </a:lnTo>
                  <a:lnTo>
                    <a:pt x="38" y="182"/>
                  </a:lnTo>
                  <a:lnTo>
                    <a:pt x="38" y="200"/>
                  </a:lnTo>
                  <a:lnTo>
                    <a:pt x="38" y="207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9"/>
                  </a:lnTo>
                  <a:lnTo>
                    <a:pt x="47" y="223"/>
                  </a:lnTo>
                  <a:lnTo>
                    <a:pt x="51" y="224"/>
                  </a:lnTo>
                  <a:lnTo>
                    <a:pt x="54" y="225"/>
                  </a:lnTo>
                  <a:lnTo>
                    <a:pt x="60" y="226"/>
                  </a:lnTo>
                  <a:lnTo>
                    <a:pt x="64" y="225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74" y="219"/>
                  </a:lnTo>
                  <a:lnTo>
                    <a:pt x="77" y="216"/>
                  </a:lnTo>
                  <a:lnTo>
                    <a:pt x="79" y="212"/>
                  </a:lnTo>
                  <a:lnTo>
                    <a:pt x="80" y="207"/>
                  </a:lnTo>
                  <a:lnTo>
                    <a:pt x="80" y="200"/>
                  </a:lnTo>
                  <a:lnTo>
                    <a:pt x="80" y="191"/>
                  </a:lnTo>
                  <a:lnTo>
                    <a:pt x="79" y="187"/>
                  </a:lnTo>
                  <a:lnTo>
                    <a:pt x="77" y="182"/>
                  </a:lnTo>
                  <a:lnTo>
                    <a:pt x="73" y="175"/>
                  </a:lnTo>
                  <a:lnTo>
                    <a:pt x="68" y="168"/>
                  </a:lnTo>
                  <a:lnTo>
                    <a:pt x="62" y="160"/>
                  </a:lnTo>
                  <a:lnTo>
                    <a:pt x="55" y="154"/>
                  </a:lnTo>
                  <a:lnTo>
                    <a:pt x="41" y="140"/>
                  </a:lnTo>
                  <a:lnTo>
                    <a:pt x="33" y="134"/>
                  </a:lnTo>
                  <a:lnTo>
                    <a:pt x="27" y="126"/>
                  </a:lnTo>
                  <a:lnTo>
                    <a:pt x="19" y="118"/>
                  </a:lnTo>
                  <a:lnTo>
                    <a:pt x="16" y="114"/>
                  </a:lnTo>
                  <a:lnTo>
                    <a:pt x="14" y="109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5" y="89"/>
                  </a:lnTo>
                  <a:lnTo>
                    <a:pt x="4" y="84"/>
                  </a:lnTo>
                  <a:lnTo>
                    <a:pt x="3" y="78"/>
                  </a:lnTo>
                  <a:lnTo>
                    <a:pt x="1" y="71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4" y="44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0" y="27"/>
                  </a:lnTo>
                  <a:lnTo>
                    <a:pt x="13" y="22"/>
                  </a:lnTo>
                  <a:lnTo>
                    <a:pt x="16" y="17"/>
                  </a:lnTo>
                  <a:lnTo>
                    <a:pt x="20" y="13"/>
                  </a:lnTo>
                  <a:lnTo>
                    <a:pt x="25" y="10"/>
                  </a:lnTo>
                  <a:lnTo>
                    <a:pt x="30" y="8"/>
                  </a:lnTo>
                  <a:lnTo>
                    <a:pt x="35" y="5"/>
                  </a:lnTo>
                  <a:lnTo>
                    <a:pt x="41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797443560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399D8CB-505D-4793-9937-FF9B88B0C6F3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5" name="Round Same Side Corner Rectangle 14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6" name="Freeform 26"/>
            <p:cNvSpPr>
              <a:spLocks noEditPoints="1"/>
            </p:cNvSpPr>
            <p:nvPr userDrawn="1"/>
          </p:nvSpPr>
          <p:spPr bwMode="auto">
            <a:xfrm>
              <a:off x="9315323" y="6471960"/>
              <a:ext cx="1045515" cy="247226"/>
            </a:xfrm>
            <a:custGeom>
              <a:avLst/>
              <a:gdLst>
                <a:gd name="T0" fmla="*/ 975 w 1109"/>
                <a:gd name="T1" fmla="*/ 4 h 263"/>
                <a:gd name="T2" fmla="*/ 897 w 1109"/>
                <a:gd name="T3" fmla="*/ 4 h 263"/>
                <a:gd name="T4" fmla="*/ 779 w 1109"/>
                <a:gd name="T5" fmla="*/ 260 h 263"/>
                <a:gd name="T6" fmla="*/ 696 w 1109"/>
                <a:gd name="T7" fmla="*/ 219 h 263"/>
                <a:gd name="T8" fmla="*/ 705 w 1109"/>
                <a:gd name="T9" fmla="*/ 175 h 263"/>
                <a:gd name="T10" fmla="*/ 691 w 1109"/>
                <a:gd name="T11" fmla="*/ 145 h 263"/>
                <a:gd name="T12" fmla="*/ 683 w 1109"/>
                <a:gd name="T13" fmla="*/ 107 h 263"/>
                <a:gd name="T14" fmla="*/ 700 w 1109"/>
                <a:gd name="T15" fmla="*/ 81 h 263"/>
                <a:gd name="T16" fmla="*/ 693 w 1109"/>
                <a:gd name="T17" fmla="*/ 44 h 263"/>
                <a:gd name="T18" fmla="*/ 741 w 1109"/>
                <a:gd name="T19" fmla="*/ 81 h 263"/>
                <a:gd name="T20" fmla="*/ 715 w 1109"/>
                <a:gd name="T21" fmla="*/ 123 h 263"/>
                <a:gd name="T22" fmla="*/ 744 w 1109"/>
                <a:gd name="T23" fmla="*/ 159 h 263"/>
                <a:gd name="T24" fmla="*/ 742 w 1109"/>
                <a:gd name="T25" fmla="*/ 225 h 263"/>
                <a:gd name="T26" fmla="*/ 716 w 1109"/>
                <a:gd name="T27" fmla="*/ 253 h 263"/>
                <a:gd name="T28" fmla="*/ 621 w 1109"/>
                <a:gd name="T29" fmla="*/ 4 h 263"/>
                <a:gd name="T30" fmla="*/ 718 w 1109"/>
                <a:gd name="T31" fmla="*/ 12 h 263"/>
                <a:gd name="T32" fmla="*/ 740 w 1109"/>
                <a:gd name="T33" fmla="*/ 43 h 263"/>
                <a:gd name="T34" fmla="*/ 506 w 1109"/>
                <a:gd name="T35" fmla="*/ 214 h 263"/>
                <a:gd name="T36" fmla="*/ 529 w 1109"/>
                <a:gd name="T37" fmla="*/ 226 h 263"/>
                <a:gd name="T38" fmla="*/ 546 w 1109"/>
                <a:gd name="T39" fmla="*/ 200 h 263"/>
                <a:gd name="T40" fmla="*/ 537 w 1109"/>
                <a:gd name="T41" fmla="*/ 41 h 263"/>
                <a:gd name="T42" fmla="*/ 510 w 1109"/>
                <a:gd name="T43" fmla="*/ 43 h 263"/>
                <a:gd name="T44" fmla="*/ 464 w 1109"/>
                <a:gd name="T45" fmla="*/ 58 h 263"/>
                <a:gd name="T46" fmla="*/ 479 w 1109"/>
                <a:gd name="T47" fmla="*/ 17 h 263"/>
                <a:gd name="T48" fmla="*/ 518 w 1109"/>
                <a:gd name="T49" fmla="*/ 0 h 263"/>
                <a:gd name="T50" fmla="*/ 562 w 1109"/>
                <a:gd name="T51" fmla="*/ 10 h 263"/>
                <a:gd name="T52" fmla="*/ 583 w 1109"/>
                <a:gd name="T53" fmla="*/ 44 h 263"/>
                <a:gd name="T54" fmla="*/ 583 w 1109"/>
                <a:gd name="T55" fmla="*/ 219 h 263"/>
                <a:gd name="T56" fmla="*/ 562 w 1109"/>
                <a:gd name="T57" fmla="*/ 253 h 263"/>
                <a:gd name="T58" fmla="*/ 518 w 1109"/>
                <a:gd name="T59" fmla="*/ 262 h 263"/>
                <a:gd name="T60" fmla="*/ 479 w 1109"/>
                <a:gd name="T61" fmla="*/ 246 h 263"/>
                <a:gd name="T62" fmla="*/ 464 w 1109"/>
                <a:gd name="T63" fmla="*/ 206 h 263"/>
                <a:gd name="T64" fmla="*/ 391 w 1109"/>
                <a:gd name="T65" fmla="*/ 260 h 263"/>
                <a:gd name="T66" fmla="*/ 259 w 1109"/>
                <a:gd name="T67" fmla="*/ 4 h 263"/>
                <a:gd name="T68" fmla="*/ 151 w 1109"/>
                <a:gd name="T69" fmla="*/ 114 h 263"/>
                <a:gd name="T70" fmla="*/ 97 w 1109"/>
                <a:gd name="T71" fmla="*/ 10 h 263"/>
                <a:gd name="T72" fmla="*/ 118 w 1109"/>
                <a:gd name="T73" fmla="*/ 44 h 263"/>
                <a:gd name="T74" fmla="*/ 82 w 1109"/>
                <a:gd name="T75" fmla="*/ 57 h 263"/>
                <a:gd name="T76" fmla="*/ 66 w 1109"/>
                <a:gd name="T77" fmla="*/ 37 h 263"/>
                <a:gd name="T78" fmla="*/ 44 w 1109"/>
                <a:gd name="T79" fmla="*/ 48 h 263"/>
                <a:gd name="T80" fmla="*/ 49 w 1109"/>
                <a:gd name="T81" fmla="*/ 88 h 263"/>
                <a:gd name="T82" fmla="*/ 102 w 1109"/>
                <a:gd name="T83" fmla="*/ 144 h 263"/>
                <a:gd name="T84" fmla="*/ 120 w 1109"/>
                <a:gd name="T85" fmla="*/ 184 h 263"/>
                <a:gd name="T86" fmla="*/ 115 w 1109"/>
                <a:gd name="T87" fmla="*/ 231 h 263"/>
                <a:gd name="T88" fmla="*/ 86 w 1109"/>
                <a:gd name="T89" fmla="*/ 257 h 263"/>
                <a:gd name="T90" fmla="*/ 41 w 1109"/>
                <a:gd name="T91" fmla="*/ 260 h 263"/>
                <a:gd name="T92" fmla="*/ 9 w 1109"/>
                <a:gd name="T93" fmla="*/ 236 h 263"/>
                <a:gd name="T94" fmla="*/ 0 w 1109"/>
                <a:gd name="T95" fmla="*/ 182 h 263"/>
                <a:gd name="T96" fmla="*/ 47 w 1109"/>
                <a:gd name="T97" fmla="*/ 223 h 263"/>
                <a:gd name="T98" fmla="*/ 74 w 1109"/>
                <a:gd name="T99" fmla="*/ 219 h 263"/>
                <a:gd name="T100" fmla="*/ 77 w 1109"/>
                <a:gd name="T101" fmla="*/ 182 h 263"/>
                <a:gd name="T102" fmla="*/ 27 w 1109"/>
                <a:gd name="T103" fmla="*/ 126 h 263"/>
                <a:gd name="T104" fmla="*/ 4 w 1109"/>
                <a:gd name="T105" fmla="*/ 84 h 263"/>
                <a:gd name="T106" fmla="*/ 6 w 1109"/>
                <a:gd name="T107" fmla="*/ 37 h 263"/>
                <a:gd name="T108" fmla="*/ 30 w 1109"/>
                <a:gd name="T109" fmla="*/ 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9" h="263">
                  <a:moveTo>
                    <a:pt x="1069" y="4"/>
                  </a:moveTo>
                  <a:lnTo>
                    <a:pt x="1109" y="4"/>
                  </a:lnTo>
                  <a:lnTo>
                    <a:pt x="1109" y="260"/>
                  </a:lnTo>
                  <a:lnTo>
                    <a:pt x="1069" y="260"/>
                  </a:lnTo>
                  <a:lnTo>
                    <a:pt x="1069" y="4"/>
                  </a:lnTo>
                  <a:close/>
                  <a:moveTo>
                    <a:pt x="935" y="4"/>
                  </a:moveTo>
                  <a:lnTo>
                    <a:pt x="975" y="4"/>
                  </a:lnTo>
                  <a:lnTo>
                    <a:pt x="975" y="223"/>
                  </a:lnTo>
                  <a:lnTo>
                    <a:pt x="1042" y="223"/>
                  </a:lnTo>
                  <a:lnTo>
                    <a:pt x="1042" y="260"/>
                  </a:lnTo>
                  <a:lnTo>
                    <a:pt x="935" y="260"/>
                  </a:lnTo>
                  <a:lnTo>
                    <a:pt x="935" y="4"/>
                  </a:lnTo>
                  <a:close/>
                  <a:moveTo>
                    <a:pt x="857" y="4"/>
                  </a:moveTo>
                  <a:lnTo>
                    <a:pt x="897" y="4"/>
                  </a:lnTo>
                  <a:lnTo>
                    <a:pt x="897" y="260"/>
                  </a:lnTo>
                  <a:lnTo>
                    <a:pt x="857" y="260"/>
                  </a:lnTo>
                  <a:lnTo>
                    <a:pt x="857" y="4"/>
                  </a:lnTo>
                  <a:close/>
                  <a:moveTo>
                    <a:pt x="779" y="4"/>
                  </a:moveTo>
                  <a:lnTo>
                    <a:pt x="819" y="4"/>
                  </a:lnTo>
                  <a:lnTo>
                    <a:pt x="819" y="260"/>
                  </a:lnTo>
                  <a:lnTo>
                    <a:pt x="779" y="260"/>
                  </a:lnTo>
                  <a:lnTo>
                    <a:pt x="779" y="4"/>
                  </a:lnTo>
                  <a:close/>
                  <a:moveTo>
                    <a:pt x="661" y="144"/>
                  </a:moveTo>
                  <a:lnTo>
                    <a:pt x="661" y="223"/>
                  </a:lnTo>
                  <a:lnTo>
                    <a:pt x="685" y="223"/>
                  </a:lnTo>
                  <a:lnTo>
                    <a:pt x="689" y="223"/>
                  </a:lnTo>
                  <a:lnTo>
                    <a:pt x="693" y="221"/>
                  </a:lnTo>
                  <a:lnTo>
                    <a:pt x="696" y="219"/>
                  </a:lnTo>
                  <a:lnTo>
                    <a:pt x="699" y="217"/>
                  </a:lnTo>
                  <a:lnTo>
                    <a:pt x="702" y="214"/>
                  </a:lnTo>
                  <a:lnTo>
                    <a:pt x="703" y="212"/>
                  </a:lnTo>
                  <a:lnTo>
                    <a:pt x="704" y="210"/>
                  </a:lnTo>
                  <a:lnTo>
                    <a:pt x="705" y="205"/>
                  </a:lnTo>
                  <a:lnTo>
                    <a:pt x="705" y="197"/>
                  </a:lnTo>
                  <a:lnTo>
                    <a:pt x="705" y="175"/>
                  </a:lnTo>
                  <a:lnTo>
                    <a:pt x="705" y="168"/>
                  </a:lnTo>
                  <a:lnTo>
                    <a:pt x="704" y="160"/>
                  </a:lnTo>
                  <a:lnTo>
                    <a:pt x="702" y="155"/>
                  </a:lnTo>
                  <a:lnTo>
                    <a:pt x="698" y="151"/>
                  </a:lnTo>
                  <a:lnTo>
                    <a:pt x="697" y="150"/>
                  </a:lnTo>
                  <a:lnTo>
                    <a:pt x="695" y="147"/>
                  </a:lnTo>
                  <a:lnTo>
                    <a:pt x="691" y="145"/>
                  </a:lnTo>
                  <a:lnTo>
                    <a:pt x="686" y="144"/>
                  </a:lnTo>
                  <a:lnTo>
                    <a:pt x="679" y="144"/>
                  </a:lnTo>
                  <a:lnTo>
                    <a:pt x="661" y="144"/>
                  </a:lnTo>
                  <a:close/>
                  <a:moveTo>
                    <a:pt x="661" y="41"/>
                  </a:moveTo>
                  <a:lnTo>
                    <a:pt x="661" y="107"/>
                  </a:lnTo>
                  <a:lnTo>
                    <a:pt x="677" y="107"/>
                  </a:lnTo>
                  <a:lnTo>
                    <a:pt x="683" y="107"/>
                  </a:lnTo>
                  <a:lnTo>
                    <a:pt x="687" y="106"/>
                  </a:lnTo>
                  <a:lnTo>
                    <a:pt x="691" y="104"/>
                  </a:lnTo>
                  <a:lnTo>
                    <a:pt x="694" y="102"/>
                  </a:lnTo>
                  <a:lnTo>
                    <a:pt x="697" y="98"/>
                  </a:lnTo>
                  <a:lnTo>
                    <a:pt x="699" y="94"/>
                  </a:lnTo>
                  <a:lnTo>
                    <a:pt x="700" y="88"/>
                  </a:lnTo>
                  <a:lnTo>
                    <a:pt x="700" y="81"/>
                  </a:lnTo>
                  <a:lnTo>
                    <a:pt x="700" y="66"/>
                  </a:lnTo>
                  <a:lnTo>
                    <a:pt x="700" y="60"/>
                  </a:lnTo>
                  <a:lnTo>
                    <a:pt x="699" y="54"/>
                  </a:lnTo>
                  <a:lnTo>
                    <a:pt x="699" y="52"/>
                  </a:lnTo>
                  <a:lnTo>
                    <a:pt x="698" y="50"/>
                  </a:lnTo>
                  <a:lnTo>
                    <a:pt x="696" y="46"/>
                  </a:lnTo>
                  <a:lnTo>
                    <a:pt x="693" y="44"/>
                  </a:lnTo>
                  <a:lnTo>
                    <a:pt x="690" y="42"/>
                  </a:lnTo>
                  <a:lnTo>
                    <a:pt x="686" y="41"/>
                  </a:lnTo>
                  <a:lnTo>
                    <a:pt x="680" y="41"/>
                  </a:lnTo>
                  <a:lnTo>
                    <a:pt x="661" y="41"/>
                  </a:lnTo>
                  <a:close/>
                  <a:moveTo>
                    <a:pt x="741" y="63"/>
                  </a:moveTo>
                  <a:lnTo>
                    <a:pt x="741" y="71"/>
                  </a:lnTo>
                  <a:lnTo>
                    <a:pt x="741" y="81"/>
                  </a:lnTo>
                  <a:lnTo>
                    <a:pt x="740" y="89"/>
                  </a:lnTo>
                  <a:lnTo>
                    <a:pt x="738" y="97"/>
                  </a:lnTo>
                  <a:lnTo>
                    <a:pt x="735" y="104"/>
                  </a:lnTo>
                  <a:lnTo>
                    <a:pt x="731" y="110"/>
                  </a:lnTo>
                  <a:lnTo>
                    <a:pt x="727" y="115"/>
                  </a:lnTo>
                  <a:lnTo>
                    <a:pt x="722" y="120"/>
                  </a:lnTo>
                  <a:lnTo>
                    <a:pt x="715" y="123"/>
                  </a:lnTo>
                  <a:lnTo>
                    <a:pt x="723" y="126"/>
                  </a:lnTo>
                  <a:lnTo>
                    <a:pt x="726" y="128"/>
                  </a:lnTo>
                  <a:lnTo>
                    <a:pt x="729" y="132"/>
                  </a:lnTo>
                  <a:lnTo>
                    <a:pt x="734" y="137"/>
                  </a:lnTo>
                  <a:lnTo>
                    <a:pt x="739" y="143"/>
                  </a:lnTo>
                  <a:lnTo>
                    <a:pt x="742" y="151"/>
                  </a:lnTo>
                  <a:lnTo>
                    <a:pt x="744" y="159"/>
                  </a:lnTo>
                  <a:lnTo>
                    <a:pt x="745" y="169"/>
                  </a:lnTo>
                  <a:lnTo>
                    <a:pt x="745" y="178"/>
                  </a:lnTo>
                  <a:lnTo>
                    <a:pt x="745" y="198"/>
                  </a:lnTo>
                  <a:lnTo>
                    <a:pt x="745" y="206"/>
                  </a:lnTo>
                  <a:lnTo>
                    <a:pt x="744" y="213"/>
                  </a:lnTo>
                  <a:lnTo>
                    <a:pt x="743" y="219"/>
                  </a:lnTo>
                  <a:lnTo>
                    <a:pt x="742" y="225"/>
                  </a:lnTo>
                  <a:lnTo>
                    <a:pt x="740" y="230"/>
                  </a:lnTo>
                  <a:lnTo>
                    <a:pt x="736" y="235"/>
                  </a:lnTo>
                  <a:lnTo>
                    <a:pt x="733" y="239"/>
                  </a:lnTo>
                  <a:lnTo>
                    <a:pt x="730" y="244"/>
                  </a:lnTo>
                  <a:lnTo>
                    <a:pt x="726" y="248"/>
                  </a:lnTo>
                  <a:lnTo>
                    <a:pt x="721" y="250"/>
                  </a:lnTo>
                  <a:lnTo>
                    <a:pt x="716" y="253"/>
                  </a:lnTo>
                  <a:lnTo>
                    <a:pt x="711" y="255"/>
                  </a:lnTo>
                  <a:lnTo>
                    <a:pt x="705" y="257"/>
                  </a:lnTo>
                  <a:lnTo>
                    <a:pt x="698" y="259"/>
                  </a:lnTo>
                  <a:lnTo>
                    <a:pt x="691" y="260"/>
                  </a:lnTo>
                  <a:lnTo>
                    <a:pt x="685" y="260"/>
                  </a:lnTo>
                  <a:lnTo>
                    <a:pt x="621" y="260"/>
                  </a:lnTo>
                  <a:lnTo>
                    <a:pt x="621" y="4"/>
                  </a:lnTo>
                  <a:lnTo>
                    <a:pt x="681" y="4"/>
                  </a:lnTo>
                  <a:lnTo>
                    <a:pt x="689" y="4"/>
                  </a:lnTo>
                  <a:lnTo>
                    <a:pt x="696" y="5"/>
                  </a:lnTo>
                  <a:lnTo>
                    <a:pt x="703" y="6"/>
                  </a:lnTo>
                  <a:lnTo>
                    <a:pt x="709" y="7"/>
                  </a:lnTo>
                  <a:lnTo>
                    <a:pt x="714" y="9"/>
                  </a:lnTo>
                  <a:lnTo>
                    <a:pt x="718" y="12"/>
                  </a:lnTo>
                  <a:lnTo>
                    <a:pt x="723" y="15"/>
                  </a:lnTo>
                  <a:lnTo>
                    <a:pt x="727" y="18"/>
                  </a:lnTo>
                  <a:lnTo>
                    <a:pt x="730" y="22"/>
                  </a:lnTo>
                  <a:lnTo>
                    <a:pt x="733" y="27"/>
                  </a:lnTo>
                  <a:lnTo>
                    <a:pt x="735" y="31"/>
                  </a:lnTo>
                  <a:lnTo>
                    <a:pt x="738" y="36"/>
                  </a:lnTo>
                  <a:lnTo>
                    <a:pt x="740" y="43"/>
                  </a:lnTo>
                  <a:lnTo>
                    <a:pt x="741" y="48"/>
                  </a:lnTo>
                  <a:lnTo>
                    <a:pt x="741" y="55"/>
                  </a:lnTo>
                  <a:lnTo>
                    <a:pt x="741" y="63"/>
                  </a:lnTo>
                  <a:close/>
                  <a:moveTo>
                    <a:pt x="504" y="200"/>
                  </a:moveTo>
                  <a:lnTo>
                    <a:pt x="505" y="207"/>
                  </a:lnTo>
                  <a:lnTo>
                    <a:pt x="506" y="212"/>
                  </a:lnTo>
                  <a:lnTo>
                    <a:pt x="506" y="214"/>
                  </a:lnTo>
                  <a:lnTo>
                    <a:pt x="507" y="216"/>
                  </a:lnTo>
                  <a:lnTo>
                    <a:pt x="510" y="220"/>
                  </a:lnTo>
                  <a:lnTo>
                    <a:pt x="512" y="223"/>
                  </a:lnTo>
                  <a:lnTo>
                    <a:pt x="516" y="225"/>
                  </a:lnTo>
                  <a:lnTo>
                    <a:pt x="521" y="226"/>
                  </a:lnTo>
                  <a:lnTo>
                    <a:pt x="525" y="226"/>
                  </a:lnTo>
                  <a:lnTo>
                    <a:pt x="529" y="226"/>
                  </a:lnTo>
                  <a:lnTo>
                    <a:pt x="533" y="225"/>
                  </a:lnTo>
                  <a:lnTo>
                    <a:pt x="537" y="223"/>
                  </a:lnTo>
                  <a:lnTo>
                    <a:pt x="540" y="220"/>
                  </a:lnTo>
                  <a:lnTo>
                    <a:pt x="543" y="216"/>
                  </a:lnTo>
                  <a:lnTo>
                    <a:pt x="544" y="212"/>
                  </a:lnTo>
                  <a:lnTo>
                    <a:pt x="545" y="207"/>
                  </a:lnTo>
                  <a:lnTo>
                    <a:pt x="546" y="200"/>
                  </a:lnTo>
                  <a:lnTo>
                    <a:pt x="546" y="63"/>
                  </a:lnTo>
                  <a:lnTo>
                    <a:pt x="545" y="57"/>
                  </a:lnTo>
                  <a:lnTo>
                    <a:pt x="544" y="51"/>
                  </a:lnTo>
                  <a:lnTo>
                    <a:pt x="543" y="48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37" y="41"/>
                  </a:lnTo>
                  <a:lnTo>
                    <a:pt x="533" y="39"/>
                  </a:lnTo>
                  <a:lnTo>
                    <a:pt x="529" y="37"/>
                  </a:lnTo>
                  <a:lnTo>
                    <a:pt x="525" y="37"/>
                  </a:lnTo>
                  <a:lnTo>
                    <a:pt x="521" y="37"/>
                  </a:lnTo>
                  <a:lnTo>
                    <a:pt x="516" y="39"/>
                  </a:lnTo>
                  <a:lnTo>
                    <a:pt x="512" y="41"/>
                  </a:lnTo>
                  <a:lnTo>
                    <a:pt x="510" y="43"/>
                  </a:lnTo>
                  <a:lnTo>
                    <a:pt x="507" y="46"/>
                  </a:lnTo>
                  <a:lnTo>
                    <a:pt x="506" y="51"/>
                  </a:lnTo>
                  <a:lnTo>
                    <a:pt x="505" y="57"/>
                  </a:lnTo>
                  <a:lnTo>
                    <a:pt x="504" y="63"/>
                  </a:lnTo>
                  <a:lnTo>
                    <a:pt x="504" y="200"/>
                  </a:lnTo>
                  <a:close/>
                  <a:moveTo>
                    <a:pt x="464" y="65"/>
                  </a:moveTo>
                  <a:lnTo>
                    <a:pt x="464" y="58"/>
                  </a:lnTo>
                  <a:lnTo>
                    <a:pt x="465" y="50"/>
                  </a:lnTo>
                  <a:lnTo>
                    <a:pt x="466" y="44"/>
                  </a:lnTo>
                  <a:lnTo>
                    <a:pt x="468" y="37"/>
                  </a:lnTo>
                  <a:lnTo>
                    <a:pt x="470" y="32"/>
                  </a:lnTo>
                  <a:lnTo>
                    <a:pt x="473" y="27"/>
                  </a:lnTo>
                  <a:lnTo>
                    <a:pt x="476" y="22"/>
                  </a:lnTo>
                  <a:lnTo>
                    <a:pt x="479" y="17"/>
                  </a:lnTo>
                  <a:lnTo>
                    <a:pt x="484" y="13"/>
                  </a:lnTo>
                  <a:lnTo>
                    <a:pt x="488" y="10"/>
                  </a:lnTo>
                  <a:lnTo>
                    <a:pt x="493" y="8"/>
                  </a:lnTo>
                  <a:lnTo>
                    <a:pt x="499" y="5"/>
                  </a:lnTo>
                  <a:lnTo>
                    <a:pt x="505" y="3"/>
                  </a:lnTo>
                  <a:lnTo>
                    <a:pt x="511" y="2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9" y="2"/>
                  </a:lnTo>
                  <a:lnTo>
                    <a:pt x="545" y="3"/>
                  </a:lnTo>
                  <a:lnTo>
                    <a:pt x="551" y="5"/>
                  </a:lnTo>
                  <a:lnTo>
                    <a:pt x="557" y="8"/>
                  </a:lnTo>
                  <a:lnTo>
                    <a:pt x="562" y="10"/>
                  </a:lnTo>
                  <a:lnTo>
                    <a:pt x="566" y="13"/>
                  </a:lnTo>
                  <a:lnTo>
                    <a:pt x="570" y="17"/>
                  </a:lnTo>
                  <a:lnTo>
                    <a:pt x="574" y="22"/>
                  </a:lnTo>
                  <a:lnTo>
                    <a:pt x="577" y="27"/>
                  </a:lnTo>
                  <a:lnTo>
                    <a:pt x="580" y="32"/>
                  </a:lnTo>
                  <a:lnTo>
                    <a:pt x="582" y="37"/>
                  </a:lnTo>
                  <a:lnTo>
                    <a:pt x="583" y="44"/>
                  </a:lnTo>
                  <a:lnTo>
                    <a:pt x="585" y="50"/>
                  </a:lnTo>
                  <a:lnTo>
                    <a:pt x="585" y="58"/>
                  </a:lnTo>
                  <a:lnTo>
                    <a:pt x="586" y="65"/>
                  </a:lnTo>
                  <a:lnTo>
                    <a:pt x="586" y="198"/>
                  </a:lnTo>
                  <a:lnTo>
                    <a:pt x="585" y="206"/>
                  </a:lnTo>
                  <a:lnTo>
                    <a:pt x="585" y="212"/>
                  </a:lnTo>
                  <a:lnTo>
                    <a:pt x="583" y="219"/>
                  </a:lnTo>
                  <a:lnTo>
                    <a:pt x="582" y="226"/>
                  </a:lnTo>
                  <a:lnTo>
                    <a:pt x="580" y="231"/>
                  </a:lnTo>
                  <a:lnTo>
                    <a:pt x="577" y="236"/>
                  </a:lnTo>
                  <a:lnTo>
                    <a:pt x="574" y="242"/>
                  </a:lnTo>
                  <a:lnTo>
                    <a:pt x="570" y="246"/>
                  </a:lnTo>
                  <a:lnTo>
                    <a:pt x="566" y="249"/>
                  </a:lnTo>
                  <a:lnTo>
                    <a:pt x="562" y="253"/>
                  </a:lnTo>
                  <a:lnTo>
                    <a:pt x="557" y="255"/>
                  </a:lnTo>
                  <a:lnTo>
                    <a:pt x="551" y="257"/>
                  </a:lnTo>
                  <a:lnTo>
                    <a:pt x="545" y="260"/>
                  </a:lnTo>
                  <a:lnTo>
                    <a:pt x="539" y="262"/>
                  </a:lnTo>
                  <a:lnTo>
                    <a:pt x="532" y="262"/>
                  </a:lnTo>
                  <a:lnTo>
                    <a:pt x="525" y="263"/>
                  </a:lnTo>
                  <a:lnTo>
                    <a:pt x="518" y="262"/>
                  </a:lnTo>
                  <a:lnTo>
                    <a:pt x="511" y="262"/>
                  </a:lnTo>
                  <a:lnTo>
                    <a:pt x="505" y="260"/>
                  </a:lnTo>
                  <a:lnTo>
                    <a:pt x="499" y="257"/>
                  </a:lnTo>
                  <a:lnTo>
                    <a:pt x="493" y="255"/>
                  </a:lnTo>
                  <a:lnTo>
                    <a:pt x="488" y="253"/>
                  </a:lnTo>
                  <a:lnTo>
                    <a:pt x="484" y="249"/>
                  </a:lnTo>
                  <a:lnTo>
                    <a:pt x="479" y="246"/>
                  </a:lnTo>
                  <a:lnTo>
                    <a:pt x="476" y="242"/>
                  </a:lnTo>
                  <a:lnTo>
                    <a:pt x="473" y="236"/>
                  </a:lnTo>
                  <a:lnTo>
                    <a:pt x="470" y="231"/>
                  </a:lnTo>
                  <a:lnTo>
                    <a:pt x="468" y="226"/>
                  </a:lnTo>
                  <a:lnTo>
                    <a:pt x="466" y="219"/>
                  </a:lnTo>
                  <a:lnTo>
                    <a:pt x="465" y="212"/>
                  </a:lnTo>
                  <a:lnTo>
                    <a:pt x="464" y="206"/>
                  </a:lnTo>
                  <a:lnTo>
                    <a:pt x="464" y="198"/>
                  </a:lnTo>
                  <a:lnTo>
                    <a:pt x="464" y="65"/>
                  </a:lnTo>
                  <a:close/>
                  <a:moveTo>
                    <a:pt x="345" y="186"/>
                  </a:moveTo>
                  <a:lnTo>
                    <a:pt x="373" y="4"/>
                  </a:lnTo>
                  <a:lnTo>
                    <a:pt x="429" y="4"/>
                  </a:lnTo>
                  <a:lnTo>
                    <a:pt x="429" y="260"/>
                  </a:lnTo>
                  <a:lnTo>
                    <a:pt x="391" y="260"/>
                  </a:lnTo>
                  <a:lnTo>
                    <a:pt x="391" y="76"/>
                  </a:lnTo>
                  <a:lnTo>
                    <a:pt x="363" y="260"/>
                  </a:lnTo>
                  <a:lnTo>
                    <a:pt x="325" y="260"/>
                  </a:lnTo>
                  <a:lnTo>
                    <a:pt x="295" y="79"/>
                  </a:lnTo>
                  <a:lnTo>
                    <a:pt x="295" y="260"/>
                  </a:lnTo>
                  <a:lnTo>
                    <a:pt x="259" y="260"/>
                  </a:lnTo>
                  <a:lnTo>
                    <a:pt x="259" y="4"/>
                  </a:lnTo>
                  <a:lnTo>
                    <a:pt x="316" y="4"/>
                  </a:lnTo>
                  <a:lnTo>
                    <a:pt x="345" y="186"/>
                  </a:lnTo>
                  <a:close/>
                  <a:moveTo>
                    <a:pt x="151" y="114"/>
                  </a:moveTo>
                  <a:lnTo>
                    <a:pt x="224" y="114"/>
                  </a:lnTo>
                  <a:lnTo>
                    <a:pt x="224" y="150"/>
                  </a:lnTo>
                  <a:lnTo>
                    <a:pt x="151" y="150"/>
                  </a:lnTo>
                  <a:lnTo>
                    <a:pt x="151" y="114"/>
                  </a:lnTo>
                  <a:close/>
                  <a:moveTo>
                    <a:pt x="61" y="0"/>
                  </a:moveTo>
                  <a:lnTo>
                    <a:pt x="68" y="0"/>
                  </a:lnTo>
                  <a:lnTo>
                    <a:pt x="74" y="2"/>
                  </a:lnTo>
                  <a:lnTo>
                    <a:pt x="81" y="3"/>
                  </a:lnTo>
                  <a:lnTo>
                    <a:pt x="86" y="5"/>
                  </a:lnTo>
                  <a:lnTo>
                    <a:pt x="91" y="8"/>
                  </a:lnTo>
                  <a:lnTo>
                    <a:pt x="97" y="10"/>
                  </a:lnTo>
                  <a:lnTo>
                    <a:pt x="101" y="13"/>
                  </a:lnTo>
                  <a:lnTo>
                    <a:pt x="105" y="17"/>
                  </a:lnTo>
                  <a:lnTo>
                    <a:pt x="108" y="22"/>
                  </a:lnTo>
                  <a:lnTo>
                    <a:pt x="111" y="27"/>
                  </a:lnTo>
                  <a:lnTo>
                    <a:pt x="115" y="32"/>
                  </a:lnTo>
                  <a:lnTo>
                    <a:pt x="117" y="37"/>
                  </a:lnTo>
                  <a:lnTo>
                    <a:pt x="118" y="44"/>
                  </a:lnTo>
                  <a:lnTo>
                    <a:pt x="119" y="50"/>
                  </a:lnTo>
                  <a:lnTo>
                    <a:pt x="120" y="58"/>
                  </a:lnTo>
                  <a:lnTo>
                    <a:pt x="120" y="65"/>
                  </a:lnTo>
                  <a:lnTo>
                    <a:pt x="120" y="73"/>
                  </a:lnTo>
                  <a:lnTo>
                    <a:pt x="82" y="73"/>
                  </a:lnTo>
                  <a:lnTo>
                    <a:pt x="82" y="63"/>
                  </a:lnTo>
                  <a:lnTo>
                    <a:pt x="82" y="57"/>
                  </a:lnTo>
                  <a:lnTo>
                    <a:pt x="81" y="51"/>
                  </a:lnTo>
                  <a:lnTo>
                    <a:pt x="79" y="46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70" y="39"/>
                  </a:lnTo>
                  <a:lnTo>
                    <a:pt x="66" y="37"/>
                  </a:lnTo>
                  <a:lnTo>
                    <a:pt x="62" y="37"/>
                  </a:lnTo>
                  <a:lnTo>
                    <a:pt x="58" y="37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5" y="46"/>
                  </a:lnTo>
                  <a:lnTo>
                    <a:pt x="44" y="48"/>
                  </a:lnTo>
                  <a:lnTo>
                    <a:pt x="43" y="51"/>
                  </a:lnTo>
                  <a:lnTo>
                    <a:pt x="42" y="57"/>
                  </a:lnTo>
                  <a:lnTo>
                    <a:pt x="42" y="63"/>
                  </a:lnTo>
                  <a:lnTo>
                    <a:pt x="43" y="71"/>
                  </a:lnTo>
                  <a:lnTo>
                    <a:pt x="44" y="77"/>
                  </a:lnTo>
                  <a:lnTo>
                    <a:pt x="45" y="81"/>
                  </a:lnTo>
                  <a:lnTo>
                    <a:pt x="49" y="88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67" y="109"/>
                  </a:lnTo>
                  <a:lnTo>
                    <a:pt x="81" y="122"/>
                  </a:lnTo>
                  <a:lnTo>
                    <a:pt x="88" y="129"/>
                  </a:lnTo>
                  <a:lnTo>
                    <a:pt x="96" y="137"/>
                  </a:lnTo>
                  <a:lnTo>
                    <a:pt x="102" y="144"/>
                  </a:lnTo>
                  <a:lnTo>
                    <a:pt x="105" y="149"/>
                  </a:lnTo>
                  <a:lnTo>
                    <a:pt x="108" y="154"/>
                  </a:lnTo>
                  <a:lnTo>
                    <a:pt x="114" y="163"/>
                  </a:lnTo>
                  <a:lnTo>
                    <a:pt x="116" y="168"/>
                  </a:lnTo>
                  <a:lnTo>
                    <a:pt x="117" y="173"/>
                  </a:lnTo>
                  <a:lnTo>
                    <a:pt x="119" y="179"/>
                  </a:lnTo>
                  <a:lnTo>
                    <a:pt x="120" y="184"/>
                  </a:lnTo>
                  <a:lnTo>
                    <a:pt x="120" y="191"/>
                  </a:lnTo>
                  <a:lnTo>
                    <a:pt x="120" y="198"/>
                  </a:lnTo>
                  <a:lnTo>
                    <a:pt x="120" y="206"/>
                  </a:lnTo>
                  <a:lnTo>
                    <a:pt x="120" y="212"/>
                  </a:lnTo>
                  <a:lnTo>
                    <a:pt x="118" y="219"/>
                  </a:lnTo>
                  <a:lnTo>
                    <a:pt x="117" y="226"/>
                  </a:lnTo>
                  <a:lnTo>
                    <a:pt x="115" y="231"/>
                  </a:lnTo>
                  <a:lnTo>
                    <a:pt x="111" y="236"/>
                  </a:lnTo>
                  <a:lnTo>
                    <a:pt x="108" y="242"/>
                  </a:lnTo>
                  <a:lnTo>
                    <a:pt x="105" y="246"/>
                  </a:lnTo>
                  <a:lnTo>
                    <a:pt x="101" y="249"/>
                  </a:lnTo>
                  <a:lnTo>
                    <a:pt x="97" y="253"/>
                  </a:lnTo>
                  <a:lnTo>
                    <a:pt x="91" y="255"/>
                  </a:lnTo>
                  <a:lnTo>
                    <a:pt x="86" y="257"/>
                  </a:lnTo>
                  <a:lnTo>
                    <a:pt x="81" y="260"/>
                  </a:lnTo>
                  <a:lnTo>
                    <a:pt x="74" y="262"/>
                  </a:lnTo>
                  <a:lnTo>
                    <a:pt x="68" y="262"/>
                  </a:lnTo>
                  <a:lnTo>
                    <a:pt x="61" y="263"/>
                  </a:lnTo>
                  <a:lnTo>
                    <a:pt x="53" y="262"/>
                  </a:lnTo>
                  <a:lnTo>
                    <a:pt x="47" y="262"/>
                  </a:lnTo>
                  <a:lnTo>
                    <a:pt x="41" y="260"/>
                  </a:lnTo>
                  <a:lnTo>
                    <a:pt x="34" y="257"/>
                  </a:lnTo>
                  <a:lnTo>
                    <a:pt x="29" y="255"/>
                  </a:lnTo>
                  <a:lnTo>
                    <a:pt x="24" y="253"/>
                  </a:lnTo>
                  <a:lnTo>
                    <a:pt x="19" y="249"/>
                  </a:lnTo>
                  <a:lnTo>
                    <a:pt x="15" y="246"/>
                  </a:lnTo>
                  <a:lnTo>
                    <a:pt x="12" y="242"/>
                  </a:lnTo>
                  <a:lnTo>
                    <a:pt x="9" y="236"/>
                  </a:lnTo>
                  <a:lnTo>
                    <a:pt x="7" y="231"/>
                  </a:lnTo>
                  <a:lnTo>
                    <a:pt x="5" y="226"/>
                  </a:lnTo>
                  <a:lnTo>
                    <a:pt x="3" y="219"/>
                  </a:lnTo>
                  <a:lnTo>
                    <a:pt x="1" y="212"/>
                  </a:lnTo>
                  <a:lnTo>
                    <a:pt x="0" y="206"/>
                  </a:lnTo>
                  <a:lnTo>
                    <a:pt x="0" y="198"/>
                  </a:lnTo>
                  <a:lnTo>
                    <a:pt x="0" y="182"/>
                  </a:lnTo>
                  <a:lnTo>
                    <a:pt x="38" y="182"/>
                  </a:lnTo>
                  <a:lnTo>
                    <a:pt x="38" y="200"/>
                  </a:lnTo>
                  <a:lnTo>
                    <a:pt x="38" y="207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9"/>
                  </a:lnTo>
                  <a:lnTo>
                    <a:pt x="47" y="223"/>
                  </a:lnTo>
                  <a:lnTo>
                    <a:pt x="51" y="224"/>
                  </a:lnTo>
                  <a:lnTo>
                    <a:pt x="54" y="225"/>
                  </a:lnTo>
                  <a:lnTo>
                    <a:pt x="60" y="226"/>
                  </a:lnTo>
                  <a:lnTo>
                    <a:pt x="64" y="225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74" y="219"/>
                  </a:lnTo>
                  <a:lnTo>
                    <a:pt x="77" y="216"/>
                  </a:lnTo>
                  <a:lnTo>
                    <a:pt x="79" y="212"/>
                  </a:lnTo>
                  <a:lnTo>
                    <a:pt x="80" y="207"/>
                  </a:lnTo>
                  <a:lnTo>
                    <a:pt x="80" y="200"/>
                  </a:lnTo>
                  <a:lnTo>
                    <a:pt x="80" y="191"/>
                  </a:lnTo>
                  <a:lnTo>
                    <a:pt x="79" y="187"/>
                  </a:lnTo>
                  <a:lnTo>
                    <a:pt x="77" y="182"/>
                  </a:lnTo>
                  <a:lnTo>
                    <a:pt x="73" y="175"/>
                  </a:lnTo>
                  <a:lnTo>
                    <a:pt x="68" y="168"/>
                  </a:lnTo>
                  <a:lnTo>
                    <a:pt x="62" y="160"/>
                  </a:lnTo>
                  <a:lnTo>
                    <a:pt x="55" y="154"/>
                  </a:lnTo>
                  <a:lnTo>
                    <a:pt x="41" y="140"/>
                  </a:lnTo>
                  <a:lnTo>
                    <a:pt x="33" y="134"/>
                  </a:lnTo>
                  <a:lnTo>
                    <a:pt x="27" y="126"/>
                  </a:lnTo>
                  <a:lnTo>
                    <a:pt x="19" y="118"/>
                  </a:lnTo>
                  <a:lnTo>
                    <a:pt x="16" y="114"/>
                  </a:lnTo>
                  <a:lnTo>
                    <a:pt x="14" y="109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5" y="89"/>
                  </a:lnTo>
                  <a:lnTo>
                    <a:pt x="4" y="84"/>
                  </a:lnTo>
                  <a:lnTo>
                    <a:pt x="3" y="78"/>
                  </a:lnTo>
                  <a:lnTo>
                    <a:pt x="1" y="71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4" y="44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0" y="27"/>
                  </a:lnTo>
                  <a:lnTo>
                    <a:pt x="13" y="22"/>
                  </a:lnTo>
                  <a:lnTo>
                    <a:pt x="16" y="17"/>
                  </a:lnTo>
                  <a:lnTo>
                    <a:pt x="20" y="13"/>
                  </a:lnTo>
                  <a:lnTo>
                    <a:pt x="25" y="10"/>
                  </a:lnTo>
                  <a:lnTo>
                    <a:pt x="30" y="8"/>
                  </a:lnTo>
                  <a:lnTo>
                    <a:pt x="35" y="5"/>
                  </a:lnTo>
                  <a:lnTo>
                    <a:pt x="41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76991437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8F01EED-19AC-4735-BC64-465EFD00B755}" type="datetime1">
              <a:rPr lang="fi-FI" smtClean="0"/>
              <a:t>28.2.2018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26"/>
            <p:cNvSpPr>
              <a:spLocks noEditPoints="1"/>
            </p:cNvSpPr>
            <p:nvPr userDrawn="1"/>
          </p:nvSpPr>
          <p:spPr bwMode="auto">
            <a:xfrm>
              <a:off x="9315323" y="6471960"/>
              <a:ext cx="1045515" cy="247226"/>
            </a:xfrm>
            <a:custGeom>
              <a:avLst/>
              <a:gdLst>
                <a:gd name="T0" fmla="*/ 975 w 1109"/>
                <a:gd name="T1" fmla="*/ 4 h 263"/>
                <a:gd name="T2" fmla="*/ 897 w 1109"/>
                <a:gd name="T3" fmla="*/ 4 h 263"/>
                <a:gd name="T4" fmla="*/ 779 w 1109"/>
                <a:gd name="T5" fmla="*/ 260 h 263"/>
                <a:gd name="T6" fmla="*/ 696 w 1109"/>
                <a:gd name="T7" fmla="*/ 219 h 263"/>
                <a:gd name="T8" fmla="*/ 705 w 1109"/>
                <a:gd name="T9" fmla="*/ 175 h 263"/>
                <a:gd name="T10" fmla="*/ 691 w 1109"/>
                <a:gd name="T11" fmla="*/ 145 h 263"/>
                <a:gd name="T12" fmla="*/ 683 w 1109"/>
                <a:gd name="T13" fmla="*/ 107 h 263"/>
                <a:gd name="T14" fmla="*/ 700 w 1109"/>
                <a:gd name="T15" fmla="*/ 81 h 263"/>
                <a:gd name="T16" fmla="*/ 693 w 1109"/>
                <a:gd name="T17" fmla="*/ 44 h 263"/>
                <a:gd name="T18" fmla="*/ 741 w 1109"/>
                <a:gd name="T19" fmla="*/ 81 h 263"/>
                <a:gd name="T20" fmla="*/ 715 w 1109"/>
                <a:gd name="T21" fmla="*/ 123 h 263"/>
                <a:gd name="T22" fmla="*/ 744 w 1109"/>
                <a:gd name="T23" fmla="*/ 159 h 263"/>
                <a:gd name="T24" fmla="*/ 742 w 1109"/>
                <a:gd name="T25" fmla="*/ 225 h 263"/>
                <a:gd name="T26" fmla="*/ 716 w 1109"/>
                <a:gd name="T27" fmla="*/ 253 h 263"/>
                <a:gd name="T28" fmla="*/ 621 w 1109"/>
                <a:gd name="T29" fmla="*/ 4 h 263"/>
                <a:gd name="T30" fmla="*/ 718 w 1109"/>
                <a:gd name="T31" fmla="*/ 12 h 263"/>
                <a:gd name="T32" fmla="*/ 740 w 1109"/>
                <a:gd name="T33" fmla="*/ 43 h 263"/>
                <a:gd name="T34" fmla="*/ 506 w 1109"/>
                <a:gd name="T35" fmla="*/ 214 h 263"/>
                <a:gd name="T36" fmla="*/ 529 w 1109"/>
                <a:gd name="T37" fmla="*/ 226 h 263"/>
                <a:gd name="T38" fmla="*/ 546 w 1109"/>
                <a:gd name="T39" fmla="*/ 200 h 263"/>
                <a:gd name="T40" fmla="*/ 537 w 1109"/>
                <a:gd name="T41" fmla="*/ 41 h 263"/>
                <a:gd name="T42" fmla="*/ 510 w 1109"/>
                <a:gd name="T43" fmla="*/ 43 h 263"/>
                <a:gd name="T44" fmla="*/ 464 w 1109"/>
                <a:gd name="T45" fmla="*/ 58 h 263"/>
                <a:gd name="T46" fmla="*/ 479 w 1109"/>
                <a:gd name="T47" fmla="*/ 17 h 263"/>
                <a:gd name="T48" fmla="*/ 518 w 1109"/>
                <a:gd name="T49" fmla="*/ 0 h 263"/>
                <a:gd name="T50" fmla="*/ 562 w 1109"/>
                <a:gd name="T51" fmla="*/ 10 h 263"/>
                <a:gd name="T52" fmla="*/ 583 w 1109"/>
                <a:gd name="T53" fmla="*/ 44 h 263"/>
                <a:gd name="T54" fmla="*/ 583 w 1109"/>
                <a:gd name="T55" fmla="*/ 219 h 263"/>
                <a:gd name="T56" fmla="*/ 562 w 1109"/>
                <a:gd name="T57" fmla="*/ 253 h 263"/>
                <a:gd name="T58" fmla="*/ 518 w 1109"/>
                <a:gd name="T59" fmla="*/ 262 h 263"/>
                <a:gd name="T60" fmla="*/ 479 w 1109"/>
                <a:gd name="T61" fmla="*/ 246 h 263"/>
                <a:gd name="T62" fmla="*/ 464 w 1109"/>
                <a:gd name="T63" fmla="*/ 206 h 263"/>
                <a:gd name="T64" fmla="*/ 391 w 1109"/>
                <a:gd name="T65" fmla="*/ 260 h 263"/>
                <a:gd name="T66" fmla="*/ 259 w 1109"/>
                <a:gd name="T67" fmla="*/ 4 h 263"/>
                <a:gd name="T68" fmla="*/ 151 w 1109"/>
                <a:gd name="T69" fmla="*/ 114 h 263"/>
                <a:gd name="T70" fmla="*/ 97 w 1109"/>
                <a:gd name="T71" fmla="*/ 10 h 263"/>
                <a:gd name="T72" fmla="*/ 118 w 1109"/>
                <a:gd name="T73" fmla="*/ 44 h 263"/>
                <a:gd name="T74" fmla="*/ 82 w 1109"/>
                <a:gd name="T75" fmla="*/ 57 h 263"/>
                <a:gd name="T76" fmla="*/ 66 w 1109"/>
                <a:gd name="T77" fmla="*/ 37 h 263"/>
                <a:gd name="T78" fmla="*/ 44 w 1109"/>
                <a:gd name="T79" fmla="*/ 48 h 263"/>
                <a:gd name="T80" fmla="*/ 49 w 1109"/>
                <a:gd name="T81" fmla="*/ 88 h 263"/>
                <a:gd name="T82" fmla="*/ 102 w 1109"/>
                <a:gd name="T83" fmla="*/ 144 h 263"/>
                <a:gd name="T84" fmla="*/ 120 w 1109"/>
                <a:gd name="T85" fmla="*/ 184 h 263"/>
                <a:gd name="T86" fmla="*/ 115 w 1109"/>
                <a:gd name="T87" fmla="*/ 231 h 263"/>
                <a:gd name="T88" fmla="*/ 86 w 1109"/>
                <a:gd name="T89" fmla="*/ 257 h 263"/>
                <a:gd name="T90" fmla="*/ 41 w 1109"/>
                <a:gd name="T91" fmla="*/ 260 h 263"/>
                <a:gd name="T92" fmla="*/ 9 w 1109"/>
                <a:gd name="T93" fmla="*/ 236 h 263"/>
                <a:gd name="T94" fmla="*/ 0 w 1109"/>
                <a:gd name="T95" fmla="*/ 182 h 263"/>
                <a:gd name="T96" fmla="*/ 47 w 1109"/>
                <a:gd name="T97" fmla="*/ 223 h 263"/>
                <a:gd name="T98" fmla="*/ 74 w 1109"/>
                <a:gd name="T99" fmla="*/ 219 h 263"/>
                <a:gd name="T100" fmla="*/ 77 w 1109"/>
                <a:gd name="T101" fmla="*/ 182 h 263"/>
                <a:gd name="T102" fmla="*/ 27 w 1109"/>
                <a:gd name="T103" fmla="*/ 126 h 263"/>
                <a:gd name="T104" fmla="*/ 4 w 1109"/>
                <a:gd name="T105" fmla="*/ 84 h 263"/>
                <a:gd name="T106" fmla="*/ 6 w 1109"/>
                <a:gd name="T107" fmla="*/ 37 h 263"/>
                <a:gd name="T108" fmla="*/ 30 w 1109"/>
                <a:gd name="T109" fmla="*/ 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9" h="263">
                  <a:moveTo>
                    <a:pt x="1069" y="4"/>
                  </a:moveTo>
                  <a:lnTo>
                    <a:pt x="1109" y="4"/>
                  </a:lnTo>
                  <a:lnTo>
                    <a:pt x="1109" y="260"/>
                  </a:lnTo>
                  <a:lnTo>
                    <a:pt x="1069" y="260"/>
                  </a:lnTo>
                  <a:lnTo>
                    <a:pt x="1069" y="4"/>
                  </a:lnTo>
                  <a:close/>
                  <a:moveTo>
                    <a:pt x="935" y="4"/>
                  </a:moveTo>
                  <a:lnTo>
                    <a:pt x="975" y="4"/>
                  </a:lnTo>
                  <a:lnTo>
                    <a:pt x="975" y="223"/>
                  </a:lnTo>
                  <a:lnTo>
                    <a:pt x="1042" y="223"/>
                  </a:lnTo>
                  <a:lnTo>
                    <a:pt x="1042" y="260"/>
                  </a:lnTo>
                  <a:lnTo>
                    <a:pt x="935" y="260"/>
                  </a:lnTo>
                  <a:lnTo>
                    <a:pt x="935" y="4"/>
                  </a:lnTo>
                  <a:close/>
                  <a:moveTo>
                    <a:pt x="857" y="4"/>
                  </a:moveTo>
                  <a:lnTo>
                    <a:pt x="897" y="4"/>
                  </a:lnTo>
                  <a:lnTo>
                    <a:pt x="897" y="260"/>
                  </a:lnTo>
                  <a:lnTo>
                    <a:pt x="857" y="260"/>
                  </a:lnTo>
                  <a:lnTo>
                    <a:pt x="857" y="4"/>
                  </a:lnTo>
                  <a:close/>
                  <a:moveTo>
                    <a:pt x="779" y="4"/>
                  </a:moveTo>
                  <a:lnTo>
                    <a:pt x="819" y="4"/>
                  </a:lnTo>
                  <a:lnTo>
                    <a:pt x="819" y="260"/>
                  </a:lnTo>
                  <a:lnTo>
                    <a:pt x="779" y="260"/>
                  </a:lnTo>
                  <a:lnTo>
                    <a:pt x="779" y="4"/>
                  </a:lnTo>
                  <a:close/>
                  <a:moveTo>
                    <a:pt x="661" y="144"/>
                  </a:moveTo>
                  <a:lnTo>
                    <a:pt x="661" y="223"/>
                  </a:lnTo>
                  <a:lnTo>
                    <a:pt x="685" y="223"/>
                  </a:lnTo>
                  <a:lnTo>
                    <a:pt x="689" y="223"/>
                  </a:lnTo>
                  <a:lnTo>
                    <a:pt x="693" y="221"/>
                  </a:lnTo>
                  <a:lnTo>
                    <a:pt x="696" y="219"/>
                  </a:lnTo>
                  <a:lnTo>
                    <a:pt x="699" y="217"/>
                  </a:lnTo>
                  <a:lnTo>
                    <a:pt x="702" y="214"/>
                  </a:lnTo>
                  <a:lnTo>
                    <a:pt x="703" y="212"/>
                  </a:lnTo>
                  <a:lnTo>
                    <a:pt x="704" y="210"/>
                  </a:lnTo>
                  <a:lnTo>
                    <a:pt x="705" y="205"/>
                  </a:lnTo>
                  <a:lnTo>
                    <a:pt x="705" y="197"/>
                  </a:lnTo>
                  <a:lnTo>
                    <a:pt x="705" y="175"/>
                  </a:lnTo>
                  <a:lnTo>
                    <a:pt x="705" y="168"/>
                  </a:lnTo>
                  <a:lnTo>
                    <a:pt x="704" y="160"/>
                  </a:lnTo>
                  <a:lnTo>
                    <a:pt x="702" y="155"/>
                  </a:lnTo>
                  <a:lnTo>
                    <a:pt x="698" y="151"/>
                  </a:lnTo>
                  <a:lnTo>
                    <a:pt x="697" y="150"/>
                  </a:lnTo>
                  <a:lnTo>
                    <a:pt x="695" y="147"/>
                  </a:lnTo>
                  <a:lnTo>
                    <a:pt x="691" y="145"/>
                  </a:lnTo>
                  <a:lnTo>
                    <a:pt x="686" y="144"/>
                  </a:lnTo>
                  <a:lnTo>
                    <a:pt x="679" y="144"/>
                  </a:lnTo>
                  <a:lnTo>
                    <a:pt x="661" y="144"/>
                  </a:lnTo>
                  <a:close/>
                  <a:moveTo>
                    <a:pt x="661" y="41"/>
                  </a:moveTo>
                  <a:lnTo>
                    <a:pt x="661" y="107"/>
                  </a:lnTo>
                  <a:lnTo>
                    <a:pt x="677" y="107"/>
                  </a:lnTo>
                  <a:lnTo>
                    <a:pt x="683" y="107"/>
                  </a:lnTo>
                  <a:lnTo>
                    <a:pt x="687" y="106"/>
                  </a:lnTo>
                  <a:lnTo>
                    <a:pt x="691" y="104"/>
                  </a:lnTo>
                  <a:lnTo>
                    <a:pt x="694" y="102"/>
                  </a:lnTo>
                  <a:lnTo>
                    <a:pt x="697" y="98"/>
                  </a:lnTo>
                  <a:lnTo>
                    <a:pt x="699" y="94"/>
                  </a:lnTo>
                  <a:lnTo>
                    <a:pt x="700" y="88"/>
                  </a:lnTo>
                  <a:lnTo>
                    <a:pt x="700" y="81"/>
                  </a:lnTo>
                  <a:lnTo>
                    <a:pt x="700" y="66"/>
                  </a:lnTo>
                  <a:lnTo>
                    <a:pt x="700" y="60"/>
                  </a:lnTo>
                  <a:lnTo>
                    <a:pt x="699" y="54"/>
                  </a:lnTo>
                  <a:lnTo>
                    <a:pt x="699" y="52"/>
                  </a:lnTo>
                  <a:lnTo>
                    <a:pt x="698" y="50"/>
                  </a:lnTo>
                  <a:lnTo>
                    <a:pt x="696" y="46"/>
                  </a:lnTo>
                  <a:lnTo>
                    <a:pt x="693" y="44"/>
                  </a:lnTo>
                  <a:lnTo>
                    <a:pt x="690" y="42"/>
                  </a:lnTo>
                  <a:lnTo>
                    <a:pt x="686" y="41"/>
                  </a:lnTo>
                  <a:lnTo>
                    <a:pt x="680" y="41"/>
                  </a:lnTo>
                  <a:lnTo>
                    <a:pt x="661" y="41"/>
                  </a:lnTo>
                  <a:close/>
                  <a:moveTo>
                    <a:pt x="741" y="63"/>
                  </a:moveTo>
                  <a:lnTo>
                    <a:pt x="741" y="71"/>
                  </a:lnTo>
                  <a:lnTo>
                    <a:pt x="741" y="81"/>
                  </a:lnTo>
                  <a:lnTo>
                    <a:pt x="740" y="89"/>
                  </a:lnTo>
                  <a:lnTo>
                    <a:pt x="738" y="97"/>
                  </a:lnTo>
                  <a:lnTo>
                    <a:pt x="735" y="104"/>
                  </a:lnTo>
                  <a:lnTo>
                    <a:pt x="731" y="110"/>
                  </a:lnTo>
                  <a:lnTo>
                    <a:pt x="727" y="115"/>
                  </a:lnTo>
                  <a:lnTo>
                    <a:pt x="722" y="120"/>
                  </a:lnTo>
                  <a:lnTo>
                    <a:pt x="715" y="123"/>
                  </a:lnTo>
                  <a:lnTo>
                    <a:pt x="723" y="126"/>
                  </a:lnTo>
                  <a:lnTo>
                    <a:pt x="726" y="128"/>
                  </a:lnTo>
                  <a:lnTo>
                    <a:pt x="729" y="132"/>
                  </a:lnTo>
                  <a:lnTo>
                    <a:pt x="734" y="137"/>
                  </a:lnTo>
                  <a:lnTo>
                    <a:pt x="739" y="143"/>
                  </a:lnTo>
                  <a:lnTo>
                    <a:pt x="742" y="151"/>
                  </a:lnTo>
                  <a:lnTo>
                    <a:pt x="744" y="159"/>
                  </a:lnTo>
                  <a:lnTo>
                    <a:pt x="745" y="169"/>
                  </a:lnTo>
                  <a:lnTo>
                    <a:pt x="745" y="178"/>
                  </a:lnTo>
                  <a:lnTo>
                    <a:pt x="745" y="198"/>
                  </a:lnTo>
                  <a:lnTo>
                    <a:pt x="745" y="206"/>
                  </a:lnTo>
                  <a:lnTo>
                    <a:pt x="744" y="213"/>
                  </a:lnTo>
                  <a:lnTo>
                    <a:pt x="743" y="219"/>
                  </a:lnTo>
                  <a:lnTo>
                    <a:pt x="742" y="225"/>
                  </a:lnTo>
                  <a:lnTo>
                    <a:pt x="740" y="230"/>
                  </a:lnTo>
                  <a:lnTo>
                    <a:pt x="736" y="235"/>
                  </a:lnTo>
                  <a:lnTo>
                    <a:pt x="733" y="239"/>
                  </a:lnTo>
                  <a:lnTo>
                    <a:pt x="730" y="244"/>
                  </a:lnTo>
                  <a:lnTo>
                    <a:pt x="726" y="248"/>
                  </a:lnTo>
                  <a:lnTo>
                    <a:pt x="721" y="250"/>
                  </a:lnTo>
                  <a:lnTo>
                    <a:pt x="716" y="253"/>
                  </a:lnTo>
                  <a:lnTo>
                    <a:pt x="711" y="255"/>
                  </a:lnTo>
                  <a:lnTo>
                    <a:pt x="705" y="257"/>
                  </a:lnTo>
                  <a:lnTo>
                    <a:pt x="698" y="259"/>
                  </a:lnTo>
                  <a:lnTo>
                    <a:pt x="691" y="260"/>
                  </a:lnTo>
                  <a:lnTo>
                    <a:pt x="685" y="260"/>
                  </a:lnTo>
                  <a:lnTo>
                    <a:pt x="621" y="260"/>
                  </a:lnTo>
                  <a:lnTo>
                    <a:pt x="621" y="4"/>
                  </a:lnTo>
                  <a:lnTo>
                    <a:pt x="681" y="4"/>
                  </a:lnTo>
                  <a:lnTo>
                    <a:pt x="689" y="4"/>
                  </a:lnTo>
                  <a:lnTo>
                    <a:pt x="696" y="5"/>
                  </a:lnTo>
                  <a:lnTo>
                    <a:pt x="703" y="6"/>
                  </a:lnTo>
                  <a:lnTo>
                    <a:pt x="709" y="7"/>
                  </a:lnTo>
                  <a:lnTo>
                    <a:pt x="714" y="9"/>
                  </a:lnTo>
                  <a:lnTo>
                    <a:pt x="718" y="12"/>
                  </a:lnTo>
                  <a:lnTo>
                    <a:pt x="723" y="15"/>
                  </a:lnTo>
                  <a:lnTo>
                    <a:pt x="727" y="18"/>
                  </a:lnTo>
                  <a:lnTo>
                    <a:pt x="730" y="22"/>
                  </a:lnTo>
                  <a:lnTo>
                    <a:pt x="733" y="27"/>
                  </a:lnTo>
                  <a:lnTo>
                    <a:pt x="735" y="31"/>
                  </a:lnTo>
                  <a:lnTo>
                    <a:pt x="738" y="36"/>
                  </a:lnTo>
                  <a:lnTo>
                    <a:pt x="740" y="43"/>
                  </a:lnTo>
                  <a:lnTo>
                    <a:pt x="741" y="48"/>
                  </a:lnTo>
                  <a:lnTo>
                    <a:pt x="741" y="55"/>
                  </a:lnTo>
                  <a:lnTo>
                    <a:pt x="741" y="63"/>
                  </a:lnTo>
                  <a:close/>
                  <a:moveTo>
                    <a:pt x="504" y="200"/>
                  </a:moveTo>
                  <a:lnTo>
                    <a:pt x="505" y="207"/>
                  </a:lnTo>
                  <a:lnTo>
                    <a:pt x="506" y="212"/>
                  </a:lnTo>
                  <a:lnTo>
                    <a:pt x="506" y="214"/>
                  </a:lnTo>
                  <a:lnTo>
                    <a:pt x="507" y="216"/>
                  </a:lnTo>
                  <a:lnTo>
                    <a:pt x="510" y="220"/>
                  </a:lnTo>
                  <a:lnTo>
                    <a:pt x="512" y="223"/>
                  </a:lnTo>
                  <a:lnTo>
                    <a:pt x="516" y="225"/>
                  </a:lnTo>
                  <a:lnTo>
                    <a:pt x="521" y="226"/>
                  </a:lnTo>
                  <a:lnTo>
                    <a:pt x="525" y="226"/>
                  </a:lnTo>
                  <a:lnTo>
                    <a:pt x="529" y="226"/>
                  </a:lnTo>
                  <a:lnTo>
                    <a:pt x="533" y="225"/>
                  </a:lnTo>
                  <a:lnTo>
                    <a:pt x="537" y="223"/>
                  </a:lnTo>
                  <a:lnTo>
                    <a:pt x="540" y="220"/>
                  </a:lnTo>
                  <a:lnTo>
                    <a:pt x="543" y="216"/>
                  </a:lnTo>
                  <a:lnTo>
                    <a:pt x="544" y="212"/>
                  </a:lnTo>
                  <a:lnTo>
                    <a:pt x="545" y="207"/>
                  </a:lnTo>
                  <a:lnTo>
                    <a:pt x="546" y="200"/>
                  </a:lnTo>
                  <a:lnTo>
                    <a:pt x="546" y="63"/>
                  </a:lnTo>
                  <a:lnTo>
                    <a:pt x="545" y="57"/>
                  </a:lnTo>
                  <a:lnTo>
                    <a:pt x="544" y="51"/>
                  </a:lnTo>
                  <a:lnTo>
                    <a:pt x="543" y="48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37" y="41"/>
                  </a:lnTo>
                  <a:lnTo>
                    <a:pt x="533" y="39"/>
                  </a:lnTo>
                  <a:lnTo>
                    <a:pt x="529" y="37"/>
                  </a:lnTo>
                  <a:lnTo>
                    <a:pt x="525" y="37"/>
                  </a:lnTo>
                  <a:lnTo>
                    <a:pt x="521" y="37"/>
                  </a:lnTo>
                  <a:lnTo>
                    <a:pt x="516" y="39"/>
                  </a:lnTo>
                  <a:lnTo>
                    <a:pt x="512" y="41"/>
                  </a:lnTo>
                  <a:lnTo>
                    <a:pt x="510" y="43"/>
                  </a:lnTo>
                  <a:lnTo>
                    <a:pt x="507" y="46"/>
                  </a:lnTo>
                  <a:lnTo>
                    <a:pt x="506" y="51"/>
                  </a:lnTo>
                  <a:lnTo>
                    <a:pt x="505" y="57"/>
                  </a:lnTo>
                  <a:lnTo>
                    <a:pt x="504" y="63"/>
                  </a:lnTo>
                  <a:lnTo>
                    <a:pt x="504" y="200"/>
                  </a:lnTo>
                  <a:close/>
                  <a:moveTo>
                    <a:pt x="464" y="65"/>
                  </a:moveTo>
                  <a:lnTo>
                    <a:pt x="464" y="58"/>
                  </a:lnTo>
                  <a:lnTo>
                    <a:pt x="465" y="50"/>
                  </a:lnTo>
                  <a:lnTo>
                    <a:pt x="466" y="44"/>
                  </a:lnTo>
                  <a:lnTo>
                    <a:pt x="468" y="37"/>
                  </a:lnTo>
                  <a:lnTo>
                    <a:pt x="470" y="32"/>
                  </a:lnTo>
                  <a:lnTo>
                    <a:pt x="473" y="27"/>
                  </a:lnTo>
                  <a:lnTo>
                    <a:pt x="476" y="22"/>
                  </a:lnTo>
                  <a:lnTo>
                    <a:pt x="479" y="17"/>
                  </a:lnTo>
                  <a:lnTo>
                    <a:pt x="484" y="13"/>
                  </a:lnTo>
                  <a:lnTo>
                    <a:pt x="488" y="10"/>
                  </a:lnTo>
                  <a:lnTo>
                    <a:pt x="493" y="8"/>
                  </a:lnTo>
                  <a:lnTo>
                    <a:pt x="499" y="5"/>
                  </a:lnTo>
                  <a:lnTo>
                    <a:pt x="505" y="3"/>
                  </a:lnTo>
                  <a:lnTo>
                    <a:pt x="511" y="2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9" y="2"/>
                  </a:lnTo>
                  <a:lnTo>
                    <a:pt x="545" y="3"/>
                  </a:lnTo>
                  <a:lnTo>
                    <a:pt x="551" y="5"/>
                  </a:lnTo>
                  <a:lnTo>
                    <a:pt x="557" y="8"/>
                  </a:lnTo>
                  <a:lnTo>
                    <a:pt x="562" y="10"/>
                  </a:lnTo>
                  <a:lnTo>
                    <a:pt x="566" y="13"/>
                  </a:lnTo>
                  <a:lnTo>
                    <a:pt x="570" y="17"/>
                  </a:lnTo>
                  <a:lnTo>
                    <a:pt x="574" y="22"/>
                  </a:lnTo>
                  <a:lnTo>
                    <a:pt x="577" y="27"/>
                  </a:lnTo>
                  <a:lnTo>
                    <a:pt x="580" y="32"/>
                  </a:lnTo>
                  <a:lnTo>
                    <a:pt x="582" y="37"/>
                  </a:lnTo>
                  <a:lnTo>
                    <a:pt x="583" y="44"/>
                  </a:lnTo>
                  <a:lnTo>
                    <a:pt x="585" y="50"/>
                  </a:lnTo>
                  <a:lnTo>
                    <a:pt x="585" y="58"/>
                  </a:lnTo>
                  <a:lnTo>
                    <a:pt x="586" y="65"/>
                  </a:lnTo>
                  <a:lnTo>
                    <a:pt x="586" y="198"/>
                  </a:lnTo>
                  <a:lnTo>
                    <a:pt x="585" y="206"/>
                  </a:lnTo>
                  <a:lnTo>
                    <a:pt x="585" y="212"/>
                  </a:lnTo>
                  <a:lnTo>
                    <a:pt x="583" y="219"/>
                  </a:lnTo>
                  <a:lnTo>
                    <a:pt x="582" y="226"/>
                  </a:lnTo>
                  <a:lnTo>
                    <a:pt x="580" y="231"/>
                  </a:lnTo>
                  <a:lnTo>
                    <a:pt x="577" y="236"/>
                  </a:lnTo>
                  <a:lnTo>
                    <a:pt x="574" y="242"/>
                  </a:lnTo>
                  <a:lnTo>
                    <a:pt x="570" y="246"/>
                  </a:lnTo>
                  <a:lnTo>
                    <a:pt x="566" y="249"/>
                  </a:lnTo>
                  <a:lnTo>
                    <a:pt x="562" y="253"/>
                  </a:lnTo>
                  <a:lnTo>
                    <a:pt x="557" y="255"/>
                  </a:lnTo>
                  <a:lnTo>
                    <a:pt x="551" y="257"/>
                  </a:lnTo>
                  <a:lnTo>
                    <a:pt x="545" y="260"/>
                  </a:lnTo>
                  <a:lnTo>
                    <a:pt x="539" y="262"/>
                  </a:lnTo>
                  <a:lnTo>
                    <a:pt x="532" y="262"/>
                  </a:lnTo>
                  <a:lnTo>
                    <a:pt x="525" y="263"/>
                  </a:lnTo>
                  <a:lnTo>
                    <a:pt x="518" y="262"/>
                  </a:lnTo>
                  <a:lnTo>
                    <a:pt x="511" y="262"/>
                  </a:lnTo>
                  <a:lnTo>
                    <a:pt x="505" y="260"/>
                  </a:lnTo>
                  <a:lnTo>
                    <a:pt x="499" y="257"/>
                  </a:lnTo>
                  <a:lnTo>
                    <a:pt x="493" y="255"/>
                  </a:lnTo>
                  <a:lnTo>
                    <a:pt x="488" y="253"/>
                  </a:lnTo>
                  <a:lnTo>
                    <a:pt x="484" y="249"/>
                  </a:lnTo>
                  <a:lnTo>
                    <a:pt x="479" y="246"/>
                  </a:lnTo>
                  <a:lnTo>
                    <a:pt x="476" y="242"/>
                  </a:lnTo>
                  <a:lnTo>
                    <a:pt x="473" y="236"/>
                  </a:lnTo>
                  <a:lnTo>
                    <a:pt x="470" y="231"/>
                  </a:lnTo>
                  <a:lnTo>
                    <a:pt x="468" y="226"/>
                  </a:lnTo>
                  <a:lnTo>
                    <a:pt x="466" y="219"/>
                  </a:lnTo>
                  <a:lnTo>
                    <a:pt x="465" y="212"/>
                  </a:lnTo>
                  <a:lnTo>
                    <a:pt x="464" y="206"/>
                  </a:lnTo>
                  <a:lnTo>
                    <a:pt x="464" y="198"/>
                  </a:lnTo>
                  <a:lnTo>
                    <a:pt x="464" y="65"/>
                  </a:lnTo>
                  <a:close/>
                  <a:moveTo>
                    <a:pt x="345" y="186"/>
                  </a:moveTo>
                  <a:lnTo>
                    <a:pt x="373" y="4"/>
                  </a:lnTo>
                  <a:lnTo>
                    <a:pt x="429" y="4"/>
                  </a:lnTo>
                  <a:lnTo>
                    <a:pt x="429" y="260"/>
                  </a:lnTo>
                  <a:lnTo>
                    <a:pt x="391" y="260"/>
                  </a:lnTo>
                  <a:lnTo>
                    <a:pt x="391" y="76"/>
                  </a:lnTo>
                  <a:lnTo>
                    <a:pt x="363" y="260"/>
                  </a:lnTo>
                  <a:lnTo>
                    <a:pt x="325" y="260"/>
                  </a:lnTo>
                  <a:lnTo>
                    <a:pt x="295" y="79"/>
                  </a:lnTo>
                  <a:lnTo>
                    <a:pt x="295" y="260"/>
                  </a:lnTo>
                  <a:lnTo>
                    <a:pt x="259" y="260"/>
                  </a:lnTo>
                  <a:lnTo>
                    <a:pt x="259" y="4"/>
                  </a:lnTo>
                  <a:lnTo>
                    <a:pt x="316" y="4"/>
                  </a:lnTo>
                  <a:lnTo>
                    <a:pt x="345" y="186"/>
                  </a:lnTo>
                  <a:close/>
                  <a:moveTo>
                    <a:pt x="151" y="114"/>
                  </a:moveTo>
                  <a:lnTo>
                    <a:pt x="224" y="114"/>
                  </a:lnTo>
                  <a:lnTo>
                    <a:pt x="224" y="150"/>
                  </a:lnTo>
                  <a:lnTo>
                    <a:pt x="151" y="150"/>
                  </a:lnTo>
                  <a:lnTo>
                    <a:pt x="151" y="114"/>
                  </a:lnTo>
                  <a:close/>
                  <a:moveTo>
                    <a:pt x="61" y="0"/>
                  </a:moveTo>
                  <a:lnTo>
                    <a:pt x="68" y="0"/>
                  </a:lnTo>
                  <a:lnTo>
                    <a:pt x="74" y="2"/>
                  </a:lnTo>
                  <a:lnTo>
                    <a:pt x="81" y="3"/>
                  </a:lnTo>
                  <a:lnTo>
                    <a:pt x="86" y="5"/>
                  </a:lnTo>
                  <a:lnTo>
                    <a:pt x="91" y="8"/>
                  </a:lnTo>
                  <a:lnTo>
                    <a:pt x="97" y="10"/>
                  </a:lnTo>
                  <a:lnTo>
                    <a:pt x="101" y="13"/>
                  </a:lnTo>
                  <a:lnTo>
                    <a:pt x="105" y="17"/>
                  </a:lnTo>
                  <a:lnTo>
                    <a:pt x="108" y="22"/>
                  </a:lnTo>
                  <a:lnTo>
                    <a:pt x="111" y="27"/>
                  </a:lnTo>
                  <a:lnTo>
                    <a:pt x="115" y="32"/>
                  </a:lnTo>
                  <a:lnTo>
                    <a:pt x="117" y="37"/>
                  </a:lnTo>
                  <a:lnTo>
                    <a:pt x="118" y="44"/>
                  </a:lnTo>
                  <a:lnTo>
                    <a:pt x="119" y="50"/>
                  </a:lnTo>
                  <a:lnTo>
                    <a:pt x="120" y="58"/>
                  </a:lnTo>
                  <a:lnTo>
                    <a:pt x="120" y="65"/>
                  </a:lnTo>
                  <a:lnTo>
                    <a:pt x="120" y="73"/>
                  </a:lnTo>
                  <a:lnTo>
                    <a:pt x="82" y="73"/>
                  </a:lnTo>
                  <a:lnTo>
                    <a:pt x="82" y="63"/>
                  </a:lnTo>
                  <a:lnTo>
                    <a:pt x="82" y="57"/>
                  </a:lnTo>
                  <a:lnTo>
                    <a:pt x="81" y="51"/>
                  </a:lnTo>
                  <a:lnTo>
                    <a:pt x="79" y="46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70" y="39"/>
                  </a:lnTo>
                  <a:lnTo>
                    <a:pt x="66" y="37"/>
                  </a:lnTo>
                  <a:lnTo>
                    <a:pt x="62" y="37"/>
                  </a:lnTo>
                  <a:lnTo>
                    <a:pt x="58" y="37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5" y="46"/>
                  </a:lnTo>
                  <a:lnTo>
                    <a:pt x="44" y="48"/>
                  </a:lnTo>
                  <a:lnTo>
                    <a:pt x="43" y="51"/>
                  </a:lnTo>
                  <a:lnTo>
                    <a:pt x="42" y="57"/>
                  </a:lnTo>
                  <a:lnTo>
                    <a:pt x="42" y="63"/>
                  </a:lnTo>
                  <a:lnTo>
                    <a:pt x="43" y="71"/>
                  </a:lnTo>
                  <a:lnTo>
                    <a:pt x="44" y="77"/>
                  </a:lnTo>
                  <a:lnTo>
                    <a:pt x="45" y="81"/>
                  </a:lnTo>
                  <a:lnTo>
                    <a:pt x="49" y="88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67" y="109"/>
                  </a:lnTo>
                  <a:lnTo>
                    <a:pt x="81" y="122"/>
                  </a:lnTo>
                  <a:lnTo>
                    <a:pt x="88" y="129"/>
                  </a:lnTo>
                  <a:lnTo>
                    <a:pt x="96" y="137"/>
                  </a:lnTo>
                  <a:lnTo>
                    <a:pt x="102" y="144"/>
                  </a:lnTo>
                  <a:lnTo>
                    <a:pt x="105" y="149"/>
                  </a:lnTo>
                  <a:lnTo>
                    <a:pt x="108" y="154"/>
                  </a:lnTo>
                  <a:lnTo>
                    <a:pt x="114" y="163"/>
                  </a:lnTo>
                  <a:lnTo>
                    <a:pt x="116" y="168"/>
                  </a:lnTo>
                  <a:lnTo>
                    <a:pt x="117" y="173"/>
                  </a:lnTo>
                  <a:lnTo>
                    <a:pt x="119" y="179"/>
                  </a:lnTo>
                  <a:lnTo>
                    <a:pt x="120" y="184"/>
                  </a:lnTo>
                  <a:lnTo>
                    <a:pt x="120" y="191"/>
                  </a:lnTo>
                  <a:lnTo>
                    <a:pt x="120" y="198"/>
                  </a:lnTo>
                  <a:lnTo>
                    <a:pt x="120" y="206"/>
                  </a:lnTo>
                  <a:lnTo>
                    <a:pt x="120" y="212"/>
                  </a:lnTo>
                  <a:lnTo>
                    <a:pt x="118" y="219"/>
                  </a:lnTo>
                  <a:lnTo>
                    <a:pt x="117" y="226"/>
                  </a:lnTo>
                  <a:lnTo>
                    <a:pt x="115" y="231"/>
                  </a:lnTo>
                  <a:lnTo>
                    <a:pt x="111" y="236"/>
                  </a:lnTo>
                  <a:lnTo>
                    <a:pt x="108" y="242"/>
                  </a:lnTo>
                  <a:lnTo>
                    <a:pt x="105" y="246"/>
                  </a:lnTo>
                  <a:lnTo>
                    <a:pt x="101" y="249"/>
                  </a:lnTo>
                  <a:lnTo>
                    <a:pt x="97" y="253"/>
                  </a:lnTo>
                  <a:lnTo>
                    <a:pt x="91" y="255"/>
                  </a:lnTo>
                  <a:lnTo>
                    <a:pt x="86" y="257"/>
                  </a:lnTo>
                  <a:lnTo>
                    <a:pt x="81" y="260"/>
                  </a:lnTo>
                  <a:lnTo>
                    <a:pt x="74" y="262"/>
                  </a:lnTo>
                  <a:lnTo>
                    <a:pt x="68" y="262"/>
                  </a:lnTo>
                  <a:lnTo>
                    <a:pt x="61" y="263"/>
                  </a:lnTo>
                  <a:lnTo>
                    <a:pt x="53" y="262"/>
                  </a:lnTo>
                  <a:lnTo>
                    <a:pt x="47" y="262"/>
                  </a:lnTo>
                  <a:lnTo>
                    <a:pt x="41" y="260"/>
                  </a:lnTo>
                  <a:lnTo>
                    <a:pt x="34" y="257"/>
                  </a:lnTo>
                  <a:lnTo>
                    <a:pt x="29" y="255"/>
                  </a:lnTo>
                  <a:lnTo>
                    <a:pt x="24" y="253"/>
                  </a:lnTo>
                  <a:lnTo>
                    <a:pt x="19" y="249"/>
                  </a:lnTo>
                  <a:lnTo>
                    <a:pt x="15" y="246"/>
                  </a:lnTo>
                  <a:lnTo>
                    <a:pt x="12" y="242"/>
                  </a:lnTo>
                  <a:lnTo>
                    <a:pt x="9" y="236"/>
                  </a:lnTo>
                  <a:lnTo>
                    <a:pt x="7" y="231"/>
                  </a:lnTo>
                  <a:lnTo>
                    <a:pt x="5" y="226"/>
                  </a:lnTo>
                  <a:lnTo>
                    <a:pt x="3" y="219"/>
                  </a:lnTo>
                  <a:lnTo>
                    <a:pt x="1" y="212"/>
                  </a:lnTo>
                  <a:lnTo>
                    <a:pt x="0" y="206"/>
                  </a:lnTo>
                  <a:lnTo>
                    <a:pt x="0" y="198"/>
                  </a:lnTo>
                  <a:lnTo>
                    <a:pt x="0" y="182"/>
                  </a:lnTo>
                  <a:lnTo>
                    <a:pt x="38" y="182"/>
                  </a:lnTo>
                  <a:lnTo>
                    <a:pt x="38" y="200"/>
                  </a:lnTo>
                  <a:lnTo>
                    <a:pt x="38" y="207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9"/>
                  </a:lnTo>
                  <a:lnTo>
                    <a:pt x="47" y="223"/>
                  </a:lnTo>
                  <a:lnTo>
                    <a:pt x="51" y="224"/>
                  </a:lnTo>
                  <a:lnTo>
                    <a:pt x="54" y="225"/>
                  </a:lnTo>
                  <a:lnTo>
                    <a:pt x="60" y="226"/>
                  </a:lnTo>
                  <a:lnTo>
                    <a:pt x="64" y="225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74" y="219"/>
                  </a:lnTo>
                  <a:lnTo>
                    <a:pt x="77" y="216"/>
                  </a:lnTo>
                  <a:lnTo>
                    <a:pt x="79" y="212"/>
                  </a:lnTo>
                  <a:lnTo>
                    <a:pt x="80" y="207"/>
                  </a:lnTo>
                  <a:lnTo>
                    <a:pt x="80" y="200"/>
                  </a:lnTo>
                  <a:lnTo>
                    <a:pt x="80" y="191"/>
                  </a:lnTo>
                  <a:lnTo>
                    <a:pt x="79" y="187"/>
                  </a:lnTo>
                  <a:lnTo>
                    <a:pt x="77" y="182"/>
                  </a:lnTo>
                  <a:lnTo>
                    <a:pt x="73" y="175"/>
                  </a:lnTo>
                  <a:lnTo>
                    <a:pt x="68" y="168"/>
                  </a:lnTo>
                  <a:lnTo>
                    <a:pt x="62" y="160"/>
                  </a:lnTo>
                  <a:lnTo>
                    <a:pt x="55" y="154"/>
                  </a:lnTo>
                  <a:lnTo>
                    <a:pt x="41" y="140"/>
                  </a:lnTo>
                  <a:lnTo>
                    <a:pt x="33" y="134"/>
                  </a:lnTo>
                  <a:lnTo>
                    <a:pt x="27" y="126"/>
                  </a:lnTo>
                  <a:lnTo>
                    <a:pt x="19" y="118"/>
                  </a:lnTo>
                  <a:lnTo>
                    <a:pt x="16" y="114"/>
                  </a:lnTo>
                  <a:lnTo>
                    <a:pt x="14" y="109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5" y="89"/>
                  </a:lnTo>
                  <a:lnTo>
                    <a:pt x="4" y="84"/>
                  </a:lnTo>
                  <a:lnTo>
                    <a:pt x="3" y="78"/>
                  </a:lnTo>
                  <a:lnTo>
                    <a:pt x="1" y="71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4" y="44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0" y="27"/>
                  </a:lnTo>
                  <a:lnTo>
                    <a:pt x="13" y="22"/>
                  </a:lnTo>
                  <a:lnTo>
                    <a:pt x="16" y="17"/>
                  </a:lnTo>
                  <a:lnTo>
                    <a:pt x="20" y="13"/>
                  </a:lnTo>
                  <a:lnTo>
                    <a:pt x="25" y="10"/>
                  </a:lnTo>
                  <a:lnTo>
                    <a:pt x="30" y="8"/>
                  </a:lnTo>
                  <a:lnTo>
                    <a:pt x="35" y="5"/>
                  </a:lnTo>
                  <a:lnTo>
                    <a:pt x="41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22766808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59F41-7204-4FE0-B5BD-CCE2463632D5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431086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E642E3-F630-4D8E-A3E8-02B33049579D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208659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00F61A-8694-48C4-A671-AFC6790470E7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6323086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5CB5B-B19B-4EA3-87F7-605D9479B732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77718734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732A63-46A1-4084-B5A8-4999CA936051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6679188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8E9A7F-1F18-445A-82D4-586C225F0BA1}" type="datetime1">
              <a:rPr lang="fi-FI" smtClean="0"/>
              <a:t>28.2.2018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588001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834D09-CE57-4724-8DF7-1A0F7DDBC9CA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r>
              <a:rPr lang="fi-FI" smtClean="0"/>
              <a:t>Lisää kaavio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2846054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912DAB-1E4B-44DA-9F1F-F920E2EA1D11}" type="datetime1">
              <a:rPr lang="fi-FI" smtClean="0"/>
              <a:t>28.2.2018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6291117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C02E57-CB2D-4A3B-A67F-6067F334F545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0018366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F0922C-50E9-4B12-9A1A-0A383DF3AC39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4"/>
            <p:cNvSpPr>
              <a:spLocks noEditPoints="1"/>
            </p:cNvSpPr>
            <p:nvPr userDrawn="1"/>
          </p:nvSpPr>
          <p:spPr bwMode="auto">
            <a:xfrm>
              <a:off x="9011200" y="6428428"/>
              <a:ext cx="1668858" cy="290400"/>
            </a:xfrm>
            <a:custGeom>
              <a:avLst/>
              <a:gdLst>
                <a:gd name="T0" fmla="*/ 1770 w 1770"/>
                <a:gd name="T1" fmla="*/ 305 h 308"/>
                <a:gd name="T2" fmla="*/ 1629 w 1770"/>
                <a:gd name="T3" fmla="*/ 305 h 308"/>
                <a:gd name="T4" fmla="*/ 1524 w 1770"/>
                <a:gd name="T5" fmla="*/ 164 h 308"/>
                <a:gd name="T6" fmla="*/ 1557 w 1770"/>
                <a:gd name="T7" fmla="*/ 158 h 308"/>
                <a:gd name="T8" fmla="*/ 1563 w 1770"/>
                <a:gd name="T9" fmla="*/ 111 h 308"/>
                <a:gd name="T10" fmla="*/ 1559 w 1770"/>
                <a:gd name="T11" fmla="*/ 91 h 308"/>
                <a:gd name="T12" fmla="*/ 1524 w 1770"/>
                <a:gd name="T13" fmla="*/ 86 h 308"/>
                <a:gd name="T14" fmla="*/ 1564 w 1770"/>
                <a:gd name="T15" fmla="*/ 273 h 308"/>
                <a:gd name="T16" fmla="*/ 1558 w 1770"/>
                <a:gd name="T17" fmla="*/ 207 h 308"/>
                <a:gd name="T18" fmla="*/ 1538 w 1770"/>
                <a:gd name="T19" fmla="*/ 200 h 308"/>
                <a:gd name="T20" fmla="*/ 1544 w 1770"/>
                <a:gd name="T21" fmla="*/ 49 h 308"/>
                <a:gd name="T22" fmla="*/ 1577 w 1770"/>
                <a:gd name="T23" fmla="*/ 54 h 308"/>
                <a:gd name="T24" fmla="*/ 1596 w 1770"/>
                <a:gd name="T25" fmla="*/ 72 h 308"/>
                <a:gd name="T26" fmla="*/ 1604 w 1770"/>
                <a:gd name="T27" fmla="*/ 100 h 308"/>
                <a:gd name="T28" fmla="*/ 1600 w 1770"/>
                <a:gd name="T29" fmla="*/ 153 h 308"/>
                <a:gd name="T30" fmla="*/ 1578 w 1770"/>
                <a:gd name="T31" fmla="*/ 180 h 308"/>
                <a:gd name="T32" fmla="*/ 1593 w 1770"/>
                <a:gd name="T33" fmla="*/ 190 h 308"/>
                <a:gd name="T34" fmla="*/ 1604 w 1770"/>
                <a:gd name="T35" fmla="*/ 224 h 308"/>
                <a:gd name="T36" fmla="*/ 1607 w 1770"/>
                <a:gd name="T37" fmla="*/ 297 h 308"/>
                <a:gd name="T38" fmla="*/ 1384 w 1770"/>
                <a:gd name="T39" fmla="*/ 94 h 308"/>
                <a:gd name="T40" fmla="*/ 1359 w 1770"/>
                <a:gd name="T41" fmla="*/ 258 h 308"/>
                <a:gd name="T42" fmla="*/ 1456 w 1770"/>
                <a:gd name="T43" fmla="*/ 305 h 308"/>
                <a:gd name="T44" fmla="*/ 1208 w 1770"/>
                <a:gd name="T45" fmla="*/ 305 h 308"/>
                <a:gd name="T46" fmla="*/ 1108 w 1770"/>
                <a:gd name="T47" fmla="*/ 223 h 308"/>
                <a:gd name="T48" fmla="*/ 1113 w 1770"/>
                <a:gd name="T49" fmla="*/ 258 h 308"/>
                <a:gd name="T50" fmla="*/ 1119 w 1770"/>
                <a:gd name="T51" fmla="*/ 49 h 308"/>
                <a:gd name="T52" fmla="*/ 975 w 1770"/>
                <a:gd name="T53" fmla="*/ 86 h 308"/>
                <a:gd name="T54" fmla="*/ 893 w 1770"/>
                <a:gd name="T55" fmla="*/ 49 h 308"/>
                <a:gd name="T56" fmla="*/ 854 w 1770"/>
                <a:gd name="T57" fmla="*/ 0 h 308"/>
                <a:gd name="T58" fmla="*/ 791 w 1770"/>
                <a:gd name="T59" fmla="*/ 261 h 308"/>
                <a:gd name="T60" fmla="*/ 809 w 1770"/>
                <a:gd name="T61" fmla="*/ 271 h 308"/>
                <a:gd name="T62" fmla="*/ 826 w 1770"/>
                <a:gd name="T63" fmla="*/ 261 h 308"/>
                <a:gd name="T64" fmla="*/ 829 w 1770"/>
                <a:gd name="T65" fmla="*/ 102 h 308"/>
                <a:gd name="T66" fmla="*/ 821 w 1770"/>
                <a:gd name="T67" fmla="*/ 86 h 308"/>
                <a:gd name="T68" fmla="*/ 800 w 1770"/>
                <a:gd name="T69" fmla="*/ 84 h 308"/>
                <a:gd name="T70" fmla="*/ 788 w 1770"/>
                <a:gd name="T71" fmla="*/ 102 h 308"/>
                <a:gd name="T72" fmla="*/ 764 w 1770"/>
                <a:gd name="T73" fmla="*/ 35 h 308"/>
                <a:gd name="T74" fmla="*/ 749 w 1770"/>
                <a:gd name="T75" fmla="*/ 95 h 308"/>
                <a:gd name="T76" fmla="*/ 760 w 1770"/>
                <a:gd name="T77" fmla="*/ 67 h 308"/>
                <a:gd name="T78" fmla="*/ 783 w 1770"/>
                <a:gd name="T79" fmla="*/ 50 h 308"/>
                <a:gd name="T80" fmla="*/ 816 w 1770"/>
                <a:gd name="T81" fmla="*/ 45 h 308"/>
                <a:gd name="T82" fmla="*/ 845 w 1770"/>
                <a:gd name="T83" fmla="*/ 55 h 308"/>
                <a:gd name="T84" fmla="*/ 863 w 1770"/>
                <a:gd name="T85" fmla="*/ 77 h 308"/>
                <a:gd name="T86" fmla="*/ 870 w 1770"/>
                <a:gd name="T87" fmla="*/ 110 h 308"/>
                <a:gd name="T88" fmla="*/ 867 w 1770"/>
                <a:gd name="T89" fmla="*/ 271 h 308"/>
                <a:gd name="T90" fmla="*/ 851 w 1770"/>
                <a:gd name="T91" fmla="*/ 294 h 308"/>
                <a:gd name="T92" fmla="*/ 823 w 1770"/>
                <a:gd name="T93" fmla="*/ 307 h 308"/>
                <a:gd name="T94" fmla="*/ 788 w 1770"/>
                <a:gd name="T95" fmla="*/ 305 h 308"/>
                <a:gd name="T96" fmla="*/ 764 w 1770"/>
                <a:gd name="T97" fmla="*/ 291 h 308"/>
                <a:gd name="T98" fmla="*/ 750 w 1770"/>
                <a:gd name="T99" fmla="*/ 264 h 308"/>
                <a:gd name="T100" fmla="*/ 600 w 1770"/>
                <a:gd name="T101" fmla="*/ 49 h 308"/>
                <a:gd name="T102" fmla="*/ 642 w 1770"/>
                <a:gd name="T103" fmla="*/ 305 h 308"/>
                <a:gd name="T104" fmla="*/ 585 w 1770"/>
                <a:gd name="T105" fmla="*/ 49 h 308"/>
                <a:gd name="T106" fmla="*/ 503 w 1770"/>
                <a:gd name="T107" fmla="*/ 86 h 308"/>
                <a:gd name="T108" fmla="*/ 348 w 1770"/>
                <a:gd name="T109" fmla="*/ 49 h 308"/>
                <a:gd name="T110" fmla="*/ 397 w 1770"/>
                <a:gd name="T111" fmla="*/ 305 h 308"/>
                <a:gd name="T112" fmla="*/ 231 w 1770"/>
                <a:gd name="T113" fmla="*/ 35 h 308"/>
                <a:gd name="T114" fmla="*/ 219 w 1770"/>
                <a:gd name="T115" fmla="*/ 94 h 308"/>
                <a:gd name="T116" fmla="*/ 175 w 1770"/>
                <a:gd name="T117" fmla="*/ 0 h 308"/>
                <a:gd name="T118" fmla="*/ 194 w 1770"/>
                <a:gd name="T119" fmla="*/ 258 h 308"/>
                <a:gd name="T120" fmla="*/ 291 w 1770"/>
                <a:gd name="T121" fmla="*/ 305 h 308"/>
                <a:gd name="T122" fmla="*/ 0 w 1770"/>
                <a:gd name="T123" fmla="*/ 49 h 308"/>
                <a:gd name="T124" fmla="*/ 78 w 1770"/>
                <a:gd name="T125" fmla="*/ 16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0" h="308">
                  <a:moveTo>
                    <a:pt x="1679" y="223"/>
                  </a:moveTo>
                  <a:lnTo>
                    <a:pt x="1717" y="223"/>
                  </a:lnTo>
                  <a:lnTo>
                    <a:pt x="1698" y="94"/>
                  </a:lnTo>
                  <a:lnTo>
                    <a:pt x="1679" y="223"/>
                  </a:lnTo>
                  <a:close/>
                  <a:moveTo>
                    <a:pt x="1770" y="305"/>
                  </a:moveTo>
                  <a:lnTo>
                    <a:pt x="1729" y="305"/>
                  </a:lnTo>
                  <a:lnTo>
                    <a:pt x="1722" y="258"/>
                  </a:lnTo>
                  <a:lnTo>
                    <a:pt x="1673" y="258"/>
                  </a:lnTo>
                  <a:lnTo>
                    <a:pt x="1666" y="305"/>
                  </a:lnTo>
                  <a:lnTo>
                    <a:pt x="1629" y="305"/>
                  </a:lnTo>
                  <a:lnTo>
                    <a:pt x="1670" y="49"/>
                  </a:lnTo>
                  <a:lnTo>
                    <a:pt x="1729" y="49"/>
                  </a:lnTo>
                  <a:lnTo>
                    <a:pt x="1770" y="305"/>
                  </a:lnTo>
                  <a:close/>
                  <a:moveTo>
                    <a:pt x="1524" y="86"/>
                  </a:moveTo>
                  <a:lnTo>
                    <a:pt x="1524" y="164"/>
                  </a:lnTo>
                  <a:lnTo>
                    <a:pt x="1540" y="164"/>
                  </a:lnTo>
                  <a:lnTo>
                    <a:pt x="1545" y="163"/>
                  </a:lnTo>
                  <a:lnTo>
                    <a:pt x="1550" y="163"/>
                  </a:lnTo>
                  <a:lnTo>
                    <a:pt x="1554" y="161"/>
                  </a:lnTo>
                  <a:lnTo>
                    <a:pt x="1557" y="158"/>
                  </a:lnTo>
                  <a:lnTo>
                    <a:pt x="1560" y="154"/>
                  </a:lnTo>
                  <a:lnTo>
                    <a:pt x="1562" y="149"/>
                  </a:lnTo>
                  <a:lnTo>
                    <a:pt x="1563" y="144"/>
                  </a:lnTo>
                  <a:lnTo>
                    <a:pt x="1563" y="136"/>
                  </a:lnTo>
                  <a:lnTo>
                    <a:pt x="1563" y="111"/>
                  </a:lnTo>
                  <a:lnTo>
                    <a:pt x="1563" y="105"/>
                  </a:lnTo>
                  <a:lnTo>
                    <a:pt x="1562" y="99"/>
                  </a:lnTo>
                  <a:lnTo>
                    <a:pt x="1562" y="97"/>
                  </a:lnTo>
                  <a:lnTo>
                    <a:pt x="1561" y="95"/>
                  </a:lnTo>
                  <a:lnTo>
                    <a:pt x="1559" y="91"/>
                  </a:lnTo>
                  <a:lnTo>
                    <a:pt x="1556" y="89"/>
                  </a:lnTo>
                  <a:lnTo>
                    <a:pt x="1553" y="87"/>
                  </a:lnTo>
                  <a:lnTo>
                    <a:pt x="1549" y="86"/>
                  </a:lnTo>
                  <a:lnTo>
                    <a:pt x="1543" y="86"/>
                  </a:lnTo>
                  <a:lnTo>
                    <a:pt x="1524" y="86"/>
                  </a:lnTo>
                  <a:close/>
                  <a:moveTo>
                    <a:pt x="1568" y="305"/>
                  </a:moveTo>
                  <a:lnTo>
                    <a:pt x="1567" y="299"/>
                  </a:lnTo>
                  <a:lnTo>
                    <a:pt x="1566" y="294"/>
                  </a:lnTo>
                  <a:lnTo>
                    <a:pt x="1564" y="286"/>
                  </a:lnTo>
                  <a:lnTo>
                    <a:pt x="1564" y="273"/>
                  </a:lnTo>
                  <a:lnTo>
                    <a:pt x="1564" y="233"/>
                  </a:lnTo>
                  <a:lnTo>
                    <a:pt x="1563" y="224"/>
                  </a:lnTo>
                  <a:lnTo>
                    <a:pt x="1562" y="218"/>
                  </a:lnTo>
                  <a:lnTo>
                    <a:pt x="1560" y="212"/>
                  </a:lnTo>
                  <a:lnTo>
                    <a:pt x="1558" y="207"/>
                  </a:lnTo>
                  <a:lnTo>
                    <a:pt x="1554" y="204"/>
                  </a:lnTo>
                  <a:lnTo>
                    <a:pt x="1552" y="203"/>
                  </a:lnTo>
                  <a:lnTo>
                    <a:pt x="1550" y="202"/>
                  </a:lnTo>
                  <a:lnTo>
                    <a:pt x="1544" y="201"/>
                  </a:lnTo>
                  <a:lnTo>
                    <a:pt x="1538" y="200"/>
                  </a:lnTo>
                  <a:lnTo>
                    <a:pt x="1524" y="200"/>
                  </a:lnTo>
                  <a:lnTo>
                    <a:pt x="1524" y="305"/>
                  </a:lnTo>
                  <a:lnTo>
                    <a:pt x="1484" y="305"/>
                  </a:lnTo>
                  <a:lnTo>
                    <a:pt x="1484" y="49"/>
                  </a:lnTo>
                  <a:lnTo>
                    <a:pt x="1544" y="49"/>
                  </a:lnTo>
                  <a:lnTo>
                    <a:pt x="1552" y="49"/>
                  </a:lnTo>
                  <a:lnTo>
                    <a:pt x="1559" y="50"/>
                  </a:lnTo>
                  <a:lnTo>
                    <a:pt x="1566" y="51"/>
                  </a:lnTo>
                  <a:lnTo>
                    <a:pt x="1572" y="52"/>
                  </a:lnTo>
                  <a:lnTo>
                    <a:pt x="1577" y="54"/>
                  </a:lnTo>
                  <a:lnTo>
                    <a:pt x="1581" y="57"/>
                  </a:lnTo>
                  <a:lnTo>
                    <a:pt x="1586" y="60"/>
                  </a:lnTo>
                  <a:lnTo>
                    <a:pt x="1590" y="63"/>
                  </a:lnTo>
                  <a:lnTo>
                    <a:pt x="1593" y="67"/>
                  </a:lnTo>
                  <a:lnTo>
                    <a:pt x="1596" y="72"/>
                  </a:lnTo>
                  <a:lnTo>
                    <a:pt x="1598" y="76"/>
                  </a:lnTo>
                  <a:lnTo>
                    <a:pt x="1600" y="81"/>
                  </a:lnTo>
                  <a:lnTo>
                    <a:pt x="1603" y="88"/>
                  </a:lnTo>
                  <a:lnTo>
                    <a:pt x="1604" y="93"/>
                  </a:lnTo>
                  <a:lnTo>
                    <a:pt x="1604" y="100"/>
                  </a:lnTo>
                  <a:lnTo>
                    <a:pt x="1604" y="108"/>
                  </a:lnTo>
                  <a:lnTo>
                    <a:pt x="1604" y="128"/>
                  </a:lnTo>
                  <a:lnTo>
                    <a:pt x="1604" y="137"/>
                  </a:lnTo>
                  <a:lnTo>
                    <a:pt x="1603" y="146"/>
                  </a:lnTo>
                  <a:lnTo>
                    <a:pt x="1600" y="153"/>
                  </a:lnTo>
                  <a:lnTo>
                    <a:pt x="1597" y="160"/>
                  </a:lnTo>
                  <a:lnTo>
                    <a:pt x="1594" y="166"/>
                  </a:lnTo>
                  <a:lnTo>
                    <a:pt x="1590" y="171"/>
                  </a:lnTo>
                  <a:lnTo>
                    <a:pt x="1584" y="176"/>
                  </a:lnTo>
                  <a:lnTo>
                    <a:pt x="1578" y="180"/>
                  </a:lnTo>
                  <a:lnTo>
                    <a:pt x="1581" y="181"/>
                  </a:lnTo>
                  <a:lnTo>
                    <a:pt x="1585" y="183"/>
                  </a:lnTo>
                  <a:lnTo>
                    <a:pt x="1588" y="185"/>
                  </a:lnTo>
                  <a:lnTo>
                    <a:pt x="1590" y="187"/>
                  </a:lnTo>
                  <a:lnTo>
                    <a:pt x="1593" y="190"/>
                  </a:lnTo>
                  <a:lnTo>
                    <a:pt x="1595" y="194"/>
                  </a:lnTo>
                  <a:lnTo>
                    <a:pt x="1598" y="200"/>
                  </a:lnTo>
                  <a:lnTo>
                    <a:pt x="1601" y="207"/>
                  </a:lnTo>
                  <a:lnTo>
                    <a:pt x="1603" y="216"/>
                  </a:lnTo>
                  <a:lnTo>
                    <a:pt x="1604" y="224"/>
                  </a:lnTo>
                  <a:lnTo>
                    <a:pt x="1605" y="234"/>
                  </a:lnTo>
                  <a:lnTo>
                    <a:pt x="1605" y="273"/>
                  </a:lnTo>
                  <a:lnTo>
                    <a:pt x="1605" y="282"/>
                  </a:lnTo>
                  <a:lnTo>
                    <a:pt x="1605" y="290"/>
                  </a:lnTo>
                  <a:lnTo>
                    <a:pt x="1607" y="297"/>
                  </a:lnTo>
                  <a:lnTo>
                    <a:pt x="1609" y="305"/>
                  </a:lnTo>
                  <a:lnTo>
                    <a:pt x="1568" y="305"/>
                  </a:lnTo>
                  <a:close/>
                  <a:moveTo>
                    <a:pt x="1365" y="223"/>
                  </a:moveTo>
                  <a:lnTo>
                    <a:pt x="1403" y="223"/>
                  </a:lnTo>
                  <a:lnTo>
                    <a:pt x="1384" y="94"/>
                  </a:lnTo>
                  <a:lnTo>
                    <a:pt x="1365" y="223"/>
                  </a:lnTo>
                  <a:close/>
                  <a:moveTo>
                    <a:pt x="1456" y="305"/>
                  </a:moveTo>
                  <a:lnTo>
                    <a:pt x="1415" y="305"/>
                  </a:lnTo>
                  <a:lnTo>
                    <a:pt x="1409" y="258"/>
                  </a:lnTo>
                  <a:lnTo>
                    <a:pt x="1359" y="258"/>
                  </a:lnTo>
                  <a:lnTo>
                    <a:pt x="1352" y="305"/>
                  </a:lnTo>
                  <a:lnTo>
                    <a:pt x="1315" y="305"/>
                  </a:lnTo>
                  <a:lnTo>
                    <a:pt x="1356" y="49"/>
                  </a:lnTo>
                  <a:lnTo>
                    <a:pt x="1415" y="49"/>
                  </a:lnTo>
                  <a:lnTo>
                    <a:pt x="1456" y="305"/>
                  </a:lnTo>
                  <a:close/>
                  <a:moveTo>
                    <a:pt x="1240" y="257"/>
                  </a:moveTo>
                  <a:lnTo>
                    <a:pt x="1270" y="49"/>
                  </a:lnTo>
                  <a:lnTo>
                    <a:pt x="1307" y="49"/>
                  </a:lnTo>
                  <a:lnTo>
                    <a:pt x="1268" y="305"/>
                  </a:lnTo>
                  <a:lnTo>
                    <a:pt x="1208" y="305"/>
                  </a:lnTo>
                  <a:lnTo>
                    <a:pt x="1169" y="49"/>
                  </a:lnTo>
                  <a:lnTo>
                    <a:pt x="1209" y="49"/>
                  </a:lnTo>
                  <a:lnTo>
                    <a:pt x="1240" y="257"/>
                  </a:lnTo>
                  <a:close/>
                  <a:moveTo>
                    <a:pt x="1068" y="223"/>
                  </a:moveTo>
                  <a:lnTo>
                    <a:pt x="1108" y="223"/>
                  </a:lnTo>
                  <a:lnTo>
                    <a:pt x="1089" y="94"/>
                  </a:lnTo>
                  <a:lnTo>
                    <a:pt x="1068" y="223"/>
                  </a:lnTo>
                  <a:close/>
                  <a:moveTo>
                    <a:pt x="1160" y="305"/>
                  </a:moveTo>
                  <a:lnTo>
                    <a:pt x="1120" y="305"/>
                  </a:lnTo>
                  <a:lnTo>
                    <a:pt x="1113" y="258"/>
                  </a:lnTo>
                  <a:lnTo>
                    <a:pt x="1063" y="258"/>
                  </a:lnTo>
                  <a:lnTo>
                    <a:pt x="1057" y="305"/>
                  </a:lnTo>
                  <a:lnTo>
                    <a:pt x="1020" y="305"/>
                  </a:lnTo>
                  <a:lnTo>
                    <a:pt x="1061" y="49"/>
                  </a:lnTo>
                  <a:lnTo>
                    <a:pt x="1119" y="49"/>
                  </a:lnTo>
                  <a:lnTo>
                    <a:pt x="1160" y="305"/>
                  </a:lnTo>
                  <a:close/>
                  <a:moveTo>
                    <a:pt x="893" y="49"/>
                  </a:moveTo>
                  <a:lnTo>
                    <a:pt x="1018" y="49"/>
                  </a:lnTo>
                  <a:lnTo>
                    <a:pt x="1018" y="86"/>
                  </a:lnTo>
                  <a:lnTo>
                    <a:pt x="975" y="86"/>
                  </a:lnTo>
                  <a:lnTo>
                    <a:pt x="975" y="305"/>
                  </a:lnTo>
                  <a:lnTo>
                    <a:pt x="935" y="305"/>
                  </a:lnTo>
                  <a:lnTo>
                    <a:pt x="935" y="86"/>
                  </a:lnTo>
                  <a:lnTo>
                    <a:pt x="893" y="86"/>
                  </a:lnTo>
                  <a:lnTo>
                    <a:pt x="893" y="49"/>
                  </a:lnTo>
                  <a:close/>
                  <a:moveTo>
                    <a:pt x="854" y="0"/>
                  </a:moveTo>
                  <a:lnTo>
                    <a:pt x="854" y="35"/>
                  </a:lnTo>
                  <a:lnTo>
                    <a:pt x="819" y="35"/>
                  </a:lnTo>
                  <a:lnTo>
                    <a:pt x="819" y="0"/>
                  </a:lnTo>
                  <a:lnTo>
                    <a:pt x="854" y="0"/>
                  </a:lnTo>
                  <a:close/>
                  <a:moveTo>
                    <a:pt x="788" y="245"/>
                  </a:moveTo>
                  <a:lnTo>
                    <a:pt x="788" y="252"/>
                  </a:lnTo>
                  <a:lnTo>
                    <a:pt x="789" y="257"/>
                  </a:lnTo>
                  <a:lnTo>
                    <a:pt x="790" y="259"/>
                  </a:lnTo>
                  <a:lnTo>
                    <a:pt x="791" y="261"/>
                  </a:lnTo>
                  <a:lnTo>
                    <a:pt x="794" y="265"/>
                  </a:lnTo>
                  <a:lnTo>
                    <a:pt x="797" y="268"/>
                  </a:lnTo>
                  <a:lnTo>
                    <a:pt x="800" y="270"/>
                  </a:lnTo>
                  <a:lnTo>
                    <a:pt x="804" y="271"/>
                  </a:lnTo>
                  <a:lnTo>
                    <a:pt x="809" y="271"/>
                  </a:lnTo>
                  <a:lnTo>
                    <a:pt x="814" y="271"/>
                  </a:lnTo>
                  <a:lnTo>
                    <a:pt x="818" y="270"/>
                  </a:lnTo>
                  <a:lnTo>
                    <a:pt x="821" y="268"/>
                  </a:lnTo>
                  <a:lnTo>
                    <a:pt x="824" y="265"/>
                  </a:lnTo>
                  <a:lnTo>
                    <a:pt x="826" y="261"/>
                  </a:lnTo>
                  <a:lnTo>
                    <a:pt x="828" y="257"/>
                  </a:lnTo>
                  <a:lnTo>
                    <a:pt x="829" y="252"/>
                  </a:lnTo>
                  <a:lnTo>
                    <a:pt x="829" y="245"/>
                  </a:lnTo>
                  <a:lnTo>
                    <a:pt x="829" y="108"/>
                  </a:lnTo>
                  <a:lnTo>
                    <a:pt x="829" y="102"/>
                  </a:lnTo>
                  <a:lnTo>
                    <a:pt x="828" y="96"/>
                  </a:lnTo>
                  <a:lnTo>
                    <a:pt x="827" y="93"/>
                  </a:lnTo>
                  <a:lnTo>
                    <a:pt x="826" y="91"/>
                  </a:lnTo>
                  <a:lnTo>
                    <a:pt x="824" y="88"/>
                  </a:lnTo>
                  <a:lnTo>
                    <a:pt x="821" y="86"/>
                  </a:lnTo>
                  <a:lnTo>
                    <a:pt x="818" y="84"/>
                  </a:lnTo>
                  <a:lnTo>
                    <a:pt x="814" y="82"/>
                  </a:lnTo>
                  <a:lnTo>
                    <a:pt x="809" y="82"/>
                  </a:lnTo>
                  <a:lnTo>
                    <a:pt x="804" y="82"/>
                  </a:lnTo>
                  <a:lnTo>
                    <a:pt x="800" y="84"/>
                  </a:lnTo>
                  <a:lnTo>
                    <a:pt x="797" y="86"/>
                  </a:lnTo>
                  <a:lnTo>
                    <a:pt x="794" y="88"/>
                  </a:lnTo>
                  <a:lnTo>
                    <a:pt x="791" y="91"/>
                  </a:lnTo>
                  <a:lnTo>
                    <a:pt x="789" y="96"/>
                  </a:lnTo>
                  <a:lnTo>
                    <a:pt x="788" y="102"/>
                  </a:lnTo>
                  <a:lnTo>
                    <a:pt x="788" y="108"/>
                  </a:lnTo>
                  <a:lnTo>
                    <a:pt x="788" y="245"/>
                  </a:lnTo>
                  <a:close/>
                  <a:moveTo>
                    <a:pt x="799" y="0"/>
                  </a:moveTo>
                  <a:lnTo>
                    <a:pt x="799" y="35"/>
                  </a:lnTo>
                  <a:lnTo>
                    <a:pt x="764" y="35"/>
                  </a:lnTo>
                  <a:lnTo>
                    <a:pt x="764" y="0"/>
                  </a:lnTo>
                  <a:lnTo>
                    <a:pt x="799" y="0"/>
                  </a:lnTo>
                  <a:close/>
                  <a:moveTo>
                    <a:pt x="748" y="110"/>
                  </a:moveTo>
                  <a:lnTo>
                    <a:pt x="748" y="103"/>
                  </a:lnTo>
                  <a:lnTo>
                    <a:pt x="749" y="95"/>
                  </a:lnTo>
                  <a:lnTo>
                    <a:pt x="750" y="89"/>
                  </a:lnTo>
                  <a:lnTo>
                    <a:pt x="752" y="82"/>
                  </a:lnTo>
                  <a:lnTo>
                    <a:pt x="754" y="77"/>
                  </a:lnTo>
                  <a:lnTo>
                    <a:pt x="757" y="72"/>
                  </a:lnTo>
                  <a:lnTo>
                    <a:pt x="760" y="67"/>
                  </a:lnTo>
                  <a:lnTo>
                    <a:pt x="764" y="62"/>
                  </a:lnTo>
                  <a:lnTo>
                    <a:pt x="768" y="58"/>
                  </a:lnTo>
                  <a:lnTo>
                    <a:pt x="772" y="55"/>
                  </a:lnTo>
                  <a:lnTo>
                    <a:pt x="778" y="53"/>
                  </a:lnTo>
                  <a:lnTo>
                    <a:pt x="783" y="50"/>
                  </a:lnTo>
                  <a:lnTo>
                    <a:pt x="788" y="48"/>
                  </a:lnTo>
                  <a:lnTo>
                    <a:pt x="795" y="47"/>
                  </a:lnTo>
                  <a:lnTo>
                    <a:pt x="802" y="45"/>
                  </a:lnTo>
                  <a:lnTo>
                    <a:pt x="809" y="45"/>
                  </a:lnTo>
                  <a:lnTo>
                    <a:pt x="816" y="45"/>
                  </a:lnTo>
                  <a:lnTo>
                    <a:pt x="823" y="47"/>
                  </a:lnTo>
                  <a:lnTo>
                    <a:pt x="829" y="48"/>
                  </a:lnTo>
                  <a:lnTo>
                    <a:pt x="835" y="50"/>
                  </a:lnTo>
                  <a:lnTo>
                    <a:pt x="840" y="53"/>
                  </a:lnTo>
                  <a:lnTo>
                    <a:pt x="845" y="55"/>
                  </a:lnTo>
                  <a:lnTo>
                    <a:pt x="851" y="58"/>
                  </a:lnTo>
                  <a:lnTo>
                    <a:pt x="854" y="62"/>
                  </a:lnTo>
                  <a:lnTo>
                    <a:pt x="858" y="67"/>
                  </a:lnTo>
                  <a:lnTo>
                    <a:pt x="861" y="72"/>
                  </a:lnTo>
                  <a:lnTo>
                    <a:pt x="863" y="77"/>
                  </a:lnTo>
                  <a:lnTo>
                    <a:pt x="867" y="82"/>
                  </a:lnTo>
                  <a:lnTo>
                    <a:pt x="868" y="89"/>
                  </a:lnTo>
                  <a:lnTo>
                    <a:pt x="869" y="95"/>
                  </a:lnTo>
                  <a:lnTo>
                    <a:pt x="870" y="103"/>
                  </a:lnTo>
                  <a:lnTo>
                    <a:pt x="870" y="110"/>
                  </a:lnTo>
                  <a:lnTo>
                    <a:pt x="870" y="243"/>
                  </a:lnTo>
                  <a:lnTo>
                    <a:pt x="870" y="251"/>
                  </a:lnTo>
                  <a:lnTo>
                    <a:pt x="869" y="257"/>
                  </a:lnTo>
                  <a:lnTo>
                    <a:pt x="868" y="264"/>
                  </a:lnTo>
                  <a:lnTo>
                    <a:pt x="867" y="271"/>
                  </a:lnTo>
                  <a:lnTo>
                    <a:pt x="863" y="276"/>
                  </a:lnTo>
                  <a:lnTo>
                    <a:pt x="861" y="281"/>
                  </a:lnTo>
                  <a:lnTo>
                    <a:pt x="858" y="287"/>
                  </a:lnTo>
                  <a:lnTo>
                    <a:pt x="854" y="291"/>
                  </a:lnTo>
                  <a:lnTo>
                    <a:pt x="851" y="294"/>
                  </a:lnTo>
                  <a:lnTo>
                    <a:pt x="845" y="298"/>
                  </a:lnTo>
                  <a:lnTo>
                    <a:pt x="840" y="300"/>
                  </a:lnTo>
                  <a:lnTo>
                    <a:pt x="835" y="302"/>
                  </a:lnTo>
                  <a:lnTo>
                    <a:pt x="829" y="305"/>
                  </a:lnTo>
                  <a:lnTo>
                    <a:pt x="823" y="307"/>
                  </a:lnTo>
                  <a:lnTo>
                    <a:pt x="816" y="307"/>
                  </a:lnTo>
                  <a:lnTo>
                    <a:pt x="809" y="308"/>
                  </a:lnTo>
                  <a:lnTo>
                    <a:pt x="802" y="307"/>
                  </a:lnTo>
                  <a:lnTo>
                    <a:pt x="795" y="307"/>
                  </a:lnTo>
                  <a:lnTo>
                    <a:pt x="788" y="305"/>
                  </a:lnTo>
                  <a:lnTo>
                    <a:pt x="783" y="302"/>
                  </a:lnTo>
                  <a:lnTo>
                    <a:pt x="778" y="300"/>
                  </a:lnTo>
                  <a:lnTo>
                    <a:pt x="772" y="298"/>
                  </a:lnTo>
                  <a:lnTo>
                    <a:pt x="768" y="294"/>
                  </a:lnTo>
                  <a:lnTo>
                    <a:pt x="764" y="291"/>
                  </a:lnTo>
                  <a:lnTo>
                    <a:pt x="760" y="287"/>
                  </a:lnTo>
                  <a:lnTo>
                    <a:pt x="757" y="281"/>
                  </a:lnTo>
                  <a:lnTo>
                    <a:pt x="754" y="276"/>
                  </a:lnTo>
                  <a:lnTo>
                    <a:pt x="752" y="271"/>
                  </a:lnTo>
                  <a:lnTo>
                    <a:pt x="750" y="264"/>
                  </a:lnTo>
                  <a:lnTo>
                    <a:pt x="749" y="257"/>
                  </a:lnTo>
                  <a:lnTo>
                    <a:pt x="748" y="251"/>
                  </a:lnTo>
                  <a:lnTo>
                    <a:pt x="748" y="243"/>
                  </a:lnTo>
                  <a:lnTo>
                    <a:pt x="748" y="110"/>
                  </a:lnTo>
                  <a:close/>
                  <a:moveTo>
                    <a:pt x="600" y="49"/>
                  </a:moveTo>
                  <a:lnTo>
                    <a:pt x="725" y="49"/>
                  </a:lnTo>
                  <a:lnTo>
                    <a:pt x="725" y="86"/>
                  </a:lnTo>
                  <a:lnTo>
                    <a:pt x="682" y="86"/>
                  </a:lnTo>
                  <a:lnTo>
                    <a:pt x="682" y="305"/>
                  </a:lnTo>
                  <a:lnTo>
                    <a:pt x="642" y="305"/>
                  </a:lnTo>
                  <a:lnTo>
                    <a:pt x="642" y="86"/>
                  </a:lnTo>
                  <a:lnTo>
                    <a:pt x="600" y="86"/>
                  </a:lnTo>
                  <a:lnTo>
                    <a:pt x="600" y="49"/>
                  </a:lnTo>
                  <a:close/>
                  <a:moveTo>
                    <a:pt x="461" y="49"/>
                  </a:moveTo>
                  <a:lnTo>
                    <a:pt x="585" y="49"/>
                  </a:lnTo>
                  <a:lnTo>
                    <a:pt x="585" y="86"/>
                  </a:lnTo>
                  <a:lnTo>
                    <a:pt x="543" y="86"/>
                  </a:lnTo>
                  <a:lnTo>
                    <a:pt x="543" y="305"/>
                  </a:lnTo>
                  <a:lnTo>
                    <a:pt x="503" y="305"/>
                  </a:lnTo>
                  <a:lnTo>
                    <a:pt x="503" y="86"/>
                  </a:lnTo>
                  <a:lnTo>
                    <a:pt x="461" y="86"/>
                  </a:lnTo>
                  <a:lnTo>
                    <a:pt x="461" y="49"/>
                  </a:lnTo>
                  <a:close/>
                  <a:moveTo>
                    <a:pt x="357" y="220"/>
                  </a:moveTo>
                  <a:lnTo>
                    <a:pt x="306" y="49"/>
                  </a:lnTo>
                  <a:lnTo>
                    <a:pt x="348" y="49"/>
                  </a:lnTo>
                  <a:lnTo>
                    <a:pt x="379" y="165"/>
                  </a:lnTo>
                  <a:lnTo>
                    <a:pt x="410" y="49"/>
                  </a:lnTo>
                  <a:lnTo>
                    <a:pt x="448" y="49"/>
                  </a:lnTo>
                  <a:lnTo>
                    <a:pt x="397" y="220"/>
                  </a:lnTo>
                  <a:lnTo>
                    <a:pt x="397" y="305"/>
                  </a:lnTo>
                  <a:lnTo>
                    <a:pt x="357" y="305"/>
                  </a:lnTo>
                  <a:lnTo>
                    <a:pt x="357" y="220"/>
                  </a:lnTo>
                  <a:close/>
                  <a:moveTo>
                    <a:pt x="266" y="0"/>
                  </a:moveTo>
                  <a:lnTo>
                    <a:pt x="266" y="35"/>
                  </a:lnTo>
                  <a:lnTo>
                    <a:pt x="231" y="35"/>
                  </a:lnTo>
                  <a:lnTo>
                    <a:pt x="231" y="0"/>
                  </a:lnTo>
                  <a:lnTo>
                    <a:pt x="266" y="0"/>
                  </a:lnTo>
                  <a:close/>
                  <a:moveTo>
                    <a:pt x="199" y="223"/>
                  </a:moveTo>
                  <a:lnTo>
                    <a:pt x="238" y="223"/>
                  </a:lnTo>
                  <a:lnTo>
                    <a:pt x="219" y="94"/>
                  </a:lnTo>
                  <a:lnTo>
                    <a:pt x="199" y="223"/>
                  </a:lnTo>
                  <a:close/>
                  <a:moveTo>
                    <a:pt x="211" y="0"/>
                  </a:moveTo>
                  <a:lnTo>
                    <a:pt x="211" y="35"/>
                  </a:lnTo>
                  <a:lnTo>
                    <a:pt x="175" y="35"/>
                  </a:lnTo>
                  <a:lnTo>
                    <a:pt x="175" y="0"/>
                  </a:lnTo>
                  <a:lnTo>
                    <a:pt x="211" y="0"/>
                  </a:lnTo>
                  <a:close/>
                  <a:moveTo>
                    <a:pt x="291" y="305"/>
                  </a:moveTo>
                  <a:lnTo>
                    <a:pt x="251" y="305"/>
                  </a:lnTo>
                  <a:lnTo>
                    <a:pt x="244" y="258"/>
                  </a:lnTo>
                  <a:lnTo>
                    <a:pt x="194" y="258"/>
                  </a:lnTo>
                  <a:lnTo>
                    <a:pt x="188" y="305"/>
                  </a:lnTo>
                  <a:lnTo>
                    <a:pt x="151" y="305"/>
                  </a:lnTo>
                  <a:lnTo>
                    <a:pt x="192" y="49"/>
                  </a:lnTo>
                  <a:lnTo>
                    <a:pt x="250" y="49"/>
                  </a:lnTo>
                  <a:lnTo>
                    <a:pt x="291" y="305"/>
                  </a:lnTo>
                  <a:close/>
                  <a:moveTo>
                    <a:pt x="53" y="202"/>
                  </a:moveTo>
                  <a:lnTo>
                    <a:pt x="41" y="226"/>
                  </a:lnTo>
                  <a:lnTo>
                    <a:pt x="41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41" y="49"/>
                  </a:lnTo>
                  <a:lnTo>
                    <a:pt x="41" y="160"/>
                  </a:lnTo>
                  <a:lnTo>
                    <a:pt x="93" y="49"/>
                  </a:lnTo>
                  <a:lnTo>
                    <a:pt x="134" y="49"/>
                  </a:lnTo>
                  <a:lnTo>
                    <a:pt x="78" y="163"/>
                  </a:lnTo>
                  <a:lnTo>
                    <a:pt x="134" y="305"/>
                  </a:lnTo>
                  <a:lnTo>
                    <a:pt x="92" y="305"/>
                  </a:lnTo>
                  <a:lnTo>
                    <a:pt x="5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56515145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4936C-ED61-4982-BC4E-A7121C41896C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4"/>
            <p:cNvSpPr>
              <a:spLocks noEditPoints="1"/>
            </p:cNvSpPr>
            <p:nvPr userDrawn="1"/>
          </p:nvSpPr>
          <p:spPr bwMode="auto">
            <a:xfrm>
              <a:off x="9011200" y="6428428"/>
              <a:ext cx="1668858" cy="290400"/>
            </a:xfrm>
            <a:custGeom>
              <a:avLst/>
              <a:gdLst>
                <a:gd name="T0" fmla="*/ 1770 w 1770"/>
                <a:gd name="T1" fmla="*/ 305 h 308"/>
                <a:gd name="T2" fmla="*/ 1629 w 1770"/>
                <a:gd name="T3" fmla="*/ 305 h 308"/>
                <a:gd name="T4" fmla="*/ 1524 w 1770"/>
                <a:gd name="T5" fmla="*/ 164 h 308"/>
                <a:gd name="T6" fmla="*/ 1557 w 1770"/>
                <a:gd name="T7" fmla="*/ 158 h 308"/>
                <a:gd name="T8" fmla="*/ 1563 w 1770"/>
                <a:gd name="T9" fmla="*/ 111 h 308"/>
                <a:gd name="T10" fmla="*/ 1559 w 1770"/>
                <a:gd name="T11" fmla="*/ 91 h 308"/>
                <a:gd name="T12" fmla="*/ 1524 w 1770"/>
                <a:gd name="T13" fmla="*/ 86 h 308"/>
                <a:gd name="T14" fmla="*/ 1564 w 1770"/>
                <a:gd name="T15" fmla="*/ 273 h 308"/>
                <a:gd name="T16" fmla="*/ 1558 w 1770"/>
                <a:gd name="T17" fmla="*/ 207 h 308"/>
                <a:gd name="T18" fmla="*/ 1538 w 1770"/>
                <a:gd name="T19" fmla="*/ 200 h 308"/>
                <a:gd name="T20" fmla="*/ 1544 w 1770"/>
                <a:gd name="T21" fmla="*/ 49 h 308"/>
                <a:gd name="T22" fmla="*/ 1577 w 1770"/>
                <a:gd name="T23" fmla="*/ 54 h 308"/>
                <a:gd name="T24" fmla="*/ 1596 w 1770"/>
                <a:gd name="T25" fmla="*/ 72 h 308"/>
                <a:gd name="T26" fmla="*/ 1604 w 1770"/>
                <a:gd name="T27" fmla="*/ 100 h 308"/>
                <a:gd name="T28" fmla="*/ 1600 w 1770"/>
                <a:gd name="T29" fmla="*/ 153 h 308"/>
                <a:gd name="T30" fmla="*/ 1578 w 1770"/>
                <a:gd name="T31" fmla="*/ 180 h 308"/>
                <a:gd name="T32" fmla="*/ 1593 w 1770"/>
                <a:gd name="T33" fmla="*/ 190 h 308"/>
                <a:gd name="T34" fmla="*/ 1604 w 1770"/>
                <a:gd name="T35" fmla="*/ 224 h 308"/>
                <a:gd name="T36" fmla="*/ 1607 w 1770"/>
                <a:gd name="T37" fmla="*/ 297 h 308"/>
                <a:gd name="T38" fmla="*/ 1384 w 1770"/>
                <a:gd name="T39" fmla="*/ 94 h 308"/>
                <a:gd name="T40" fmla="*/ 1359 w 1770"/>
                <a:gd name="T41" fmla="*/ 258 h 308"/>
                <a:gd name="T42" fmla="*/ 1456 w 1770"/>
                <a:gd name="T43" fmla="*/ 305 h 308"/>
                <a:gd name="T44" fmla="*/ 1208 w 1770"/>
                <a:gd name="T45" fmla="*/ 305 h 308"/>
                <a:gd name="T46" fmla="*/ 1108 w 1770"/>
                <a:gd name="T47" fmla="*/ 223 h 308"/>
                <a:gd name="T48" fmla="*/ 1113 w 1770"/>
                <a:gd name="T49" fmla="*/ 258 h 308"/>
                <a:gd name="T50" fmla="*/ 1119 w 1770"/>
                <a:gd name="T51" fmla="*/ 49 h 308"/>
                <a:gd name="T52" fmla="*/ 975 w 1770"/>
                <a:gd name="T53" fmla="*/ 86 h 308"/>
                <a:gd name="T54" fmla="*/ 893 w 1770"/>
                <a:gd name="T55" fmla="*/ 49 h 308"/>
                <a:gd name="T56" fmla="*/ 854 w 1770"/>
                <a:gd name="T57" fmla="*/ 0 h 308"/>
                <a:gd name="T58" fmla="*/ 791 w 1770"/>
                <a:gd name="T59" fmla="*/ 261 h 308"/>
                <a:gd name="T60" fmla="*/ 809 w 1770"/>
                <a:gd name="T61" fmla="*/ 271 h 308"/>
                <a:gd name="T62" fmla="*/ 826 w 1770"/>
                <a:gd name="T63" fmla="*/ 261 h 308"/>
                <a:gd name="T64" fmla="*/ 829 w 1770"/>
                <a:gd name="T65" fmla="*/ 102 h 308"/>
                <a:gd name="T66" fmla="*/ 821 w 1770"/>
                <a:gd name="T67" fmla="*/ 86 h 308"/>
                <a:gd name="T68" fmla="*/ 800 w 1770"/>
                <a:gd name="T69" fmla="*/ 84 h 308"/>
                <a:gd name="T70" fmla="*/ 788 w 1770"/>
                <a:gd name="T71" fmla="*/ 102 h 308"/>
                <a:gd name="T72" fmla="*/ 764 w 1770"/>
                <a:gd name="T73" fmla="*/ 35 h 308"/>
                <a:gd name="T74" fmla="*/ 749 w 1770"/>
                <a:gd name="T75" fmla="*/ 95 h 308"/>
                <a:gd name="T76" fmla="*/ 760 w 1770"/>
                <a:gd name="T77" fmla="*/ 67 h 308"/>
                <a:gd name="T78" fmla="*/ 783 w 1770"/>
                <a:gd name="T79" fmla="*/ 50 h 308"/>
                <a:gd name="T80" fmla="*/ 816 w 1770"/>
                <a:gd name="T81" fmla="*/ 45 h 308"/>
                <a:gd name="T82" fmla="*/ 845 w 1770"/>
                <a:gd name="T83" fmla="*/ 55 h 308"/>
                <a:gd name="T84" fmla="*/ 863 w 1770"/>
                <a:gd name="T85" fmla="*/ 77 h 308"/>
                <a:gd name="T86" fmla="*/ 870 w 1770"/>
                <a:gd name="T87" fmla="*/ 110 h 308"/>
                <a:gd name="T88" fmla="*/ 867 w 1770"/>
                <a:gd name="T89" fmla="*/ 271 h 308"/>
                <a:gd name="T90" fmla="*/ 851 w 1770"/>
                <a:gd name="T91" fmla="*/ 294 h 308"/>
                <a:gd name="T92" fmla="*/ 823 w 1770"/>
                <a:gd name="T93" fmla="*/ 307 h 308"/>
                <a:gd name="T94" fmla="*/ 788 w 1770"/>
                <a:gd name="T95" fmla="*/ 305 h 308"/>
                <a:gd name="T96" fmla="*/ 764 w 1770"/>
                <a:gd name="T97" fmla="*/ 291 h 308"/>
                <a:gd name="T98" fmla="*/ 750 w 1770"/>
                <a:gd name="T99" fmla="*/ 264 h 308"/>
                <a:gd name="T100" fmla="*/ 600 w 1770"/>
                <a:gd name="T101" fmla="*/ 49 h 308"/>
                <a:gd name="T102" fmla="*/ 642 w 1770"/>
                <a:gd name="T103" fmla="*/ 305 h 308"/>
                <a:gd name="T104" fmla="*/ 585 w 1770"/>
                <a:gd name="T105" fmla="*/ 49 h 308"/>
                <a:gd name="T106" fmla="*/ 503 w 1770"/>
                <a:gd name="T107" fmla="*/ 86 h 308"/>
                <a:gd name="T108" fmla="*/ 348 w 1770"/>
                <a:gd name="T109" fmla="*/ 49 h 308"/>
                <a:gd name="T110" fmla="*/ 397 w 1770"/>
                <a:gd name="T111" fmla="*/ 305 h 308"/>
                <a:gd name="T112" fmla="*/ 231 w 1770"/>
                <a:gd name="T113" fmla="*/ 35 h 308"/>
                <a:gd name="T114" fmla="*/ 219 w 1770"/>
                <a:gd name="T115" fmla="*/ 94 h 308"/>
                <a:gd name="T116" fmla="*/ 175 w 1770"/>
                <a:gd name="T117" fmla="*/ 0 h 308"/>
                <a:gd name="T118" fmla="*/ 194 w 1770"/>
                <a:gd name="T119" fmla="*/ 258 h 308"/>
                <a:gd name="T120" fmla="*/ 291 w 1770"/>
                <a:gd name="T121" fmla="*/ 305 h 308"/>
                <a:gd name="T122" fmla="*/ 0 w 1770"/>
                <a:gd name="T123" fmla="*/ 49 h 308"/>
                <a:gd name="T124" fmla="*/ 78 w 1770"/>
                <a:gd name="T125" fmla="*/ 16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0" h="308">
                  <a:moveTo>
                    <a:pt x="1679" y="223"/>
                  </a:moveTo>
                  <a:lnTo>
                    <a:pt x="1717" y="223"/>
                  </a:lnTo>
                  <a:lnTo>
                    <a:pt x="1698" y="94"/>
                  </a:lnTo>
                  <a:lnTo>
                    <a:pt x="1679" y="223"/>
                  </a:lnTo>
                  <a:close/>
                  <a:moveTo>
                    <a:pt x="1770" y="305"/>
                  </a:moveTo>
                  <a:lnTo>
                    <a:pt x="1729" y="305"/>
                  </a:lnTo>
                  <a:lnTo>
                    <a:pt x="1722" y="258"/>
                  </a:lnTo>
                  <a:lnTo>
                    <a:pt x="1673" y="258"/>
                  </a:lnTo>
                  <a:lnTo>
                    <a:pt x="1666" y="305"/>
                  </a:lnTo>
                  <a:lnTo>
                    <a:pt x="1629" y="305"/>
                  </a:lnTo>
                  <a:lnTo>
                    <a:pt x="1670" y="49"/>
                  </a:lnTo>
                  <a:lnTo>
                    <a:pt x="1729" y="49"/>
                  </a:lnTo>
                  <a:lnTo>
                    <a:pt x="1770" y="305"/>
                  </a:lnTo>
                  <a:close/>
                  <a:moveTo>
                    <a:pt x="1524" y="86"/>
                  </a:moveTo>
                  <a:lnTo>
                    <a:pt x="1524" y="164"/>
                  </a:lnTo>
                  <a:lnTo>
                    <a:pt x="1540" y="164"/>
                  </a:lnTo>
                  <a:lnTo>
                    <a:pt x="1545" y="163"/>
                  </a:lnTo>
                  <a:lnTo>
                    <a:pt x="1550" y="163"/>
                  </a:lnTo>
                  <a:lnTo>
                    <a:pt x="1554" y="161"/>
                  </a:lnTo>
                  <a:lnTo>
                    <a:pt x="1557" y="158"/>
                  </a:lnTo>
                  <a:lnTo>
                    <a:pt x="1560" y="154"/>
                  </a:lnTo>
                  <a:lnTo>
                    <a:pt x="1562" y="149"/>
                  </a:lnTo>
                  <a:lnTo>
                    <a:pt x="1563" y="144"/>
                  </a:lnTo>
                  <a:lnTo>
                    <a:pt x="1563" y="136"/>
                  </a:lnTo>
                  <a:lnTo>
                    <a:pt x="1563" y="111"/>
                  </a:lnTo>
                  <a:lnTo>
                    <a:pt x="1563" y="105"/>
                  </a:lnTo>
                  <a:lnTo>
                    <a:pt x="1562" y="99"/>
                  </a:lnTo>
                  <a:lnTo>
                    <a:pt x="1562" y="97"/>
                  </a:lnTo>
                  <a:lnTo>
                    <a:pt x="1561" y="95"/>
                  </a:lnTo>
                  <a:lnTo>
                    <a:pt x="1559" y="91"/>
                  </a:lnTo>
                  <a:lnTo>
                    <a:pt x="1556" y="89"/>
                  </a:lnTo>
                  <a:lnTo>
                    <a:pt x="1553" y="87"/>
                  </a:lnTo>
                  <a:lnTo>
                    <a:pt x="1549" y="86"/>
                  </a:lnTo>
                  <a:lnTo>
                    <a:pt x="1543" y="86"/>
                  </a:lnTo>
                  <a:lnTo>
                    <a:pt x="1524" y="86"/>
                  </a:lnTo>
                  <a:close/>
                  <a:moveTo>
                    <a:pt x="1568" y="305"/>
                  </a:moveTo>
                  <a:lnTo>
                    <a:pt x="1567" y="299"/>
                  </a:lnTo>
                  <a:lnTo>
                    <a:pt x="1566" y="294"/>
                  </a:lnTo>
                  <a:lnTo>
                    <a:pt x="1564" y="286"/>
                  </a:lnTo>
                  <a:lnTo>
                    <a:pt x="1564" y="273"/>
                  </a:lnTo>
                  <a:lnTo>
                    <a:pt x="1564" y="233"/>
                  </a:lnTo>
                  <a:lnTo>
                    <a:pt x="1563" y="224"/>
                  </a:lnTo>
                  <a:lnTo>
                    <a:pt x="1562" y="218"/>
                  </a:lnTo>
                  <a:lnTo>
                    <a:pt x="1560" y="212"/>
                  </a:lnTo>
                  <a:lnTo>
                    <a:pt x="1558" y="207"/>
                  </a:lnTo>
                  <a:lnTo>
                    <a:pt x="1554" y="204"/>
                  </a:lnTo>
                  <a:lnTo>
                    <a:pt x="1552" y="203"/>
                  </a:lnTo>
                  <a:lnTo>
                    <a:pt x="1550" y="202"/>
                  </a:lnTo>
                  <a:lnTo>
                    <a:pt x="1544" y="201"/>
                  </a:lnTo>
                  <a:lnTo>
                    <a:pt x="1538" y="200"/>
                  </a:lnTo>
                  <a:lnTo>
                    <a:pt x="1524" y="200"/>
                  </a:lnTo>
                  <a:lnTo>
                    <a:pt x="1524" y="305"/>
                  </a:lnTo>
                  <a:lnTo>
                    <a:pt x="1484" y="305"/>
                  </a:lnTo>
                  <a:lnTo>
                    <a:pt x="1484" y="49"/>
                  </a:lnTo>
                  <a:lnTo>
                    <a:pt x="1544" y="49"/>
                  </a:lnTo>
                  <a:lnTo>
                    <a:pt x="1552" y="49"/>
                  </a:lnTo>
                  <a:lnTo>
                    <a:pt x="1559" y="50"/>
                  </a:lnTo>
                  <a:lnTo>
                    <a:pt x="1566" y="51"/>
                  </a:lnTo>
                  <a:lnTo>
                    <a:pt x="1572" y="52"/>
                  </a:lnTo>
                  <a:lnTo>
                    <a:pt x="1577" y="54"/>
                  </a:lnTo>
                  <a:lnTo>
                    <a:pt x="1581" y="57"/>
                  </a:lnTo>
                  <a:lnTo>
                    <a:pt x="1586" y="60"/>
                  </a:lnTo>
                  <a:lnTo>
                    <a:pt x="1590" y="63"/>
                  </a:lnTo>
                  <a:lnTo>
                    <a:pt x="1593" y="67"/>
                  </a:lnTo>
                  <a:lnTo>
                    <a:pt x="1596" y="72"/>
                  </a:lnTo>
                  <a:lnTo>
                    <a:pt x="1598" y="76"/>
                  </a:lnTo>
                  <a:lnTo>
                    <a:pt x="1600" y="81"/>
                  </a:lnTo>
                  <a:lnTo>
                    <a:pt x="1603" y="88"/>
                  </a:lnTo>
                  <a:lnTo>
                    <a:pt x="1604" y="93"/>
                  </a:lnTo>
                  <a:lnTo>
                    <a:pt x="1604" y="100"/>
                  </a:lnTo>
                  <a:lnTo>
                    <a:pt x="1604" y="108"/>
                  </a:lnTo>
                  <a:lnTo>
                    <a:pt x="1604" y="128"/>
                  </a:lnTo>
                  <a:lnTo>
                    <a:pt x="1604" y="137"/>
                  </a:lnTo>
                  <a:lnTo>
                    <a:pt x="1603" y="146"/>
                  </a:lnTo>
                  <a:lnTo>
                    <a:pt x="1600" y="153"/>
                  </a:lnTo>
                  <a:lnTo>
                    <a:pt x="1597" y="160"/>
                  </a:lnTo>
                  <a:lnTo>
                    <a:pt x="1594" y="166"/>
                  </a:lnTo>
                  <a:lnTo>
                    <a:pt x="1590" y="171"/>
                  </a:lnTo>
                  <a:lnTo>
                    <a:pt x="1584" y="176"/>
                  </a:lnTo>
                  <a:lnTo>
                    <a:pt x="1578" y="180"/>
                  </a:lnTo>
                  <a:lnTo>
                    <a:pt x="1581" y="181"/>
                  </a:lnTo>
                  <a:lnTo>
                    <a:pt x="1585" y="183"/>
                  </a:lnTo>
                  <a:lnTo>
                    <a:pt x="1588" y="185"/>
                  </a:lnTo>
                  <a:lnTo>
                    <a:pt x="1590" y="187"/>
                  </a:lnTo>
                  <a:lnTo>
                    <a:pt x="1593" y="190"/>
                  </a:lnTo>
                  <a:lnTo>
                    <a:pt x="1595" y="194"/>
                  </a:lnTo>
                  <a:lnTo>
                    <a:pt x="1598" y="200"/>
                  </a:lnTo>
                  <a:lnTo>
                    <a:pt x="1601" y="207"/>
                  </a:lnTo>
                  <a:lnTo>
                    <a:pt x="1603" y="216"/>
                  </a:lnTo>
                  <a:lnTo>
                    <a:pt x="1604" y="224"/>
                  </a:lnTo>
                  <a:lnTo>
                    <a:pt x="1605" y="234"/>
                  </a:lnTo>
                  <a:lnTo>
                    <a:pt x="1605" y="273"/>
                  </a:lnTo>
                  <a:lnTo>
                    <a:pt x="1605" y="282"/>
                  </a:lnTo>
                  <a:lnTo>
                    <a:pt x="1605" y="290"/>
                  </a:lnTo>
                  <a:lnTo>
                    <a:pt x="1607" y="297"/>
                  </a:lnTo>
                  <a:lnTo>
                    <a:pt x="1609" y="305"/>
                  </a:lnTo>
                  <a:lnTo>
                    <a:pt x="1568" y="305"/>
                  </a:lnTo>
                  <a:close/>
                  <a:moveTo>
                    <a:pt x="1365" y="223"/>
                  </a:moveTo>
                  <a:lnTo>
                    <a:pt x="1403" y="223"/>
                  </a:lnTo>
                  <a:lnTo>
                    <a:pt x="1384" y="94"/>
                  </a:lnTo>
                  <a:lnTo>
                    <a:pt x="1365" y="223"/>
                  </a:lnTo>
                  <a:close/>
                  <a:moveTo>
                    <a:pt x="1456" y="305"/>
                  </a:moveTo>
                  <a:lnTo>
                    <a:pt x="1415" y="305"/>
                  </a:lnTo>
                  <a:lnTo>
                    <a:pt x="1409" y="258"/>
                  </a:lnTo>
                  <a:lnTo>
                    <a:pt x="1359" y="258"/>
                  </a:lnTo>
                  <a:lnTo>
                    <a:pt x="1352" y="305"/>
                  </a:lnTo>
                  <a:lnTo>
                    <a:pt x="1315" y="305"/>
                  </a:lnTo>
                  <a:lnTo>
                    <a:pt x="1356" y="49"/>
                  </a:lnTo>
                  <a:lnTo>
                    <a:pt x="1415" y="49"/>
                  </a:lnTo>
                  <a:lnTo>
                    <a:pt x="1456" y="305"/>
                  </a:lnTo>
                  <a:close/>
                  <a:moveTo>
                    <a:pt x="1240" y="257"/>
                  </a:moveTo>
                  <a:lnTo>
                    <a:pt x="1270" y="49"/>
                  </a:lnTo>
                  <a:lnTo>
                    <a:pt x="1307" y="49"/>
                  </a:lnTo>
                  <a:lnTo>
                    <a:pt x="1268" y="305"/>
                  </a:lnTo>
                  <a:lnTo>
                    <a:pt x="1208" y="305"/>
                  </a:lnTo>
                  <a:lnTo>
                    <a:pt x="1169" y="49"/>
                  </a:lnTo>
                  <a:lnTo>
                    <a:pt x="1209" y="49"/>
                  </a:lnTo>
                  <a:lnTo>
                    <a:pt x="1240" y="257"/>
                  </a:lnTo>
                  <a:close/>
                  <a:moveTo>
                    <a:pt x="1068" y="223"/>
                  </a:moveTo>
                  <a:lnTo>
                    <a:pt x="1108" y="223"/>
                  </a:lnTo>
                  <a:lnTo>
                    <a:pt x="1089" y="94"/>
                  </a:lnTo>
                  <a:lnTo>
                    <a:pt x="1068" y="223"/>
                  </a:lnTo>
                  <a:close/>
                  <a:moveTo>
                    <a:pt x="1160" y="305"/>
                  </a:moveTo>
                  <a:lnTo>
                    <a:pt x="1120" y="305"/>
                  </a:lnTo>
                  <a:lnTo>
                    <a:pt x="1113" y="258"/>
                  </a:lnTo>
                  <a:lnTo>
                    <a:pt x="1063" y="258"/>
                  </a:lnTo>
                  <a:lnTo>
                    <a:pt x="1057" y="305"/>
                  </a:lnTo>
                  <a:lnTo>
                    <a:pt x="1020" y="305"/>
                  </a:lnTo>
                  <a:lnTo>
                    <a:pt x="1061" y="49"/>
                  </a:lnTo>
                  <a:lnTo>
                    <a:pt x="1119" y="49"/>
                  </a:lnTo>
                  <a:lnTo>
                    <a:pt x="1160" y="305"/>
                  </a:lnTo>
                  <a:close/>
                  <a:moveTo>
                    <a:pt x="893" y="49"/>
                  </a:moveTo>
                  <a:lnTo>
                    <a:pt x="1018" y="49"/>
                  </a:lnTo>
                  <a:lnTo>
                    <a:pt x="1018" y="86"/>
                  </a:lnTo>
                  <a:lnTo>
                    <a:pt x="975" y="86"/>
                  </a:lnTo>
                  <a:lnTo>
                    <a:pt x="975" y="305"/>
                  </a:lnTo>
                  <a:lnTo>
                    <a:pt x="935" y="305"/>
                  </a:lnTo>
                  <a:lnTo>
                    <a:pt x="935" y="86"/>
                  </a:lnTo>
                  <a:lnTo>
                    <a:pt x="893" y="86"/>
                  </a:lnTo>
                  <a:lnTo>
                    <a:pt x="893" y="49"/>
                  </a:lnTo>
                  <a:close/>
                  <a:moveTo>
                    <a:pt x="854" y="0"/>
                  </a:moveTo>
                  <a:lnTo>
                    <a:pt x="854" y="35"/>
                  </a:lnTo>
                  <a:lnTo>
                    <a:pt x="819" y="35"/>
                  </a:lnTo>
                  <a:lnTo>
                    <a:pt x="819" y="0"/>
                  </a:lnTo>
                  <a:lnTo>
                    <a:pt x="854" y="0"/>
                  </a:lnTo>
                  <a:close/>
                  <a:moveTo>
                    <a:pt x="788" y="245"/>
                  </a:moveTo>
                  <a:lnTo>
                    <a:pt x="788" y="252"/>
                  </a:lnTo>
                  <a:lnTo>
                    <a:pt x="789" y="257"/>
                  </a:lnTo>
                  <a:lnTo>
                    <a:pt x="790" y="259"/>
                  </a:lnTo>
                  <a:lnTo>
                    <a:pt x="791" y="261"/>
                  </a:lnTo>
                  <a:lnTo>
                    <a:pt x="794" y="265"/>
                  </a:lnTo>
                  <a:lnTo>
                    <a:pt x="797" y="268"/>
                  </a:lnTo>
                  <a:lnTo>
                    <a:pt x="800" y="270"/>
                  </a:lnTo>
                  <a:lnTo>
                    <a:pt x="804" y="271"/>
                  </a:lnTo>
                  <a:lnTo>
                    <a:pt x="809" y="271"/>
                  </a:lnTo>
                  <a:lnTo>
                    <a:pt x="814" y="271"/>
                  </a:lnTo>
                  <a:lnTo>
                    <a:pt x="818" y="270"/>
                  </a:lnTo>
                  <a:lnTo>
                    <a:pt x="821" y="268"/>
                  </a:lnTo>
                  <a:lnTo>
                    <a:pt x="824" y="265"/>
                  </a:lnTo>
                  <a:lnTo>
                    <a:pt x="826" y="261"/>
                  </a:lnTo>
                  <a:lnTo>
                    <a:pt x="828" y="257"/>
                  </a:lnTo>
                  <a:lnTo>
                    <a:pt x="829" y="252"/>
                  </a:lnTo>
                  <a:lnTo>
                    <a:pt x="829" y="245"/>
                  </a:lnTo>
                  <a:lnTo>
                    <a:pt x="829" y="108"/>
                  </a:lnTo>
                  <a:lnTo>
                    <a:pt x="829" y="102"/>
                  </a:lnTo>
                  <a:lnTo>
                    <a:pt x="828" y="96"/>
                  </a:lnTo>
                  <a:lnTo>
                    <a:pt x="827" y="93"/>
                  </a:lnTo>
                  <a:lnTo>
                    <a:pt x="826" y="91"/>
                  </a:lnTo>
                  <a:lnTo>
                    <a:pt x="824" y="88"/>
                  </a:lnTo>
                  <a:lnTo>
                    <a:pt x="821" y="86"/>
                  </a:lnTo>
                  <a:lnTo>
                    <a:pt x="818" y="84"/>
                  </a:lnTo>
                  <a:lnTo>
                    <a:pt x="814" y="82"/>
                  </a:lnTo>
                  <a:lnTo>
                    <a:pt x="809" y="82"/>
                  </a:lnTo>
                  <a:lnTo>
                    <a:pt x="804" y="82"/>
                  </a:lnTo>
                  <a:lnTo>
                    <a:pt x="800" y="84"/>
                  </a:lnTo>
                  <a:lnTo>
                    <a:pt x="797" y="86"/>
                  </a:lnTo>
                  <a:lnTo>
                    <a:pt x="794" y="88"/>
                  </a:lnTo>
                  <a:lnTo>
                    <a:pt x="791" y="91"/>
                  </a:lnTo>
                  <a:lnTo>
                    <a:pt x="789" y="96"/>
                  </a:lnTo>
                  <a:lnTo>
                    <a:pt x="788" y="102"/>
                  </a:lnTo>
                  <a:lnTo>
                    <a:pt x="788" y="108"/>
                  </a:lnTo>
                  <a:lnTo>
                    <a:pt x="788" y="245"/>
                  </a:lnTo>
                  <a:close/>
                  <a:moveTo>
                    <a:pt x="799" y="0"/>
                  </a:moveTo>
                  <a:lnTo>
                    <a:pt x="799" y="35"/>
                  </a:lnTo>
                  <a:lnTo>
                    <a:pt x="764" y="35"/>
                  </a:lnTo>
                  <a:lnTo>
                    <a:pt x="764" y="0"/>
                  </a:lnTo>
                  <a:lnTo>
                    <a:pt x="799" y="0"/>
                  </a:lnTo>
                  <a:close/>
                  <a:moveTo>
                    <a:pt x="748" y="110"/>
                  </a:moveTo>
                  <a:lnTo>
                    <a:pt x="748" y="103"/>
                  </a:lnTo>
                  <a:lnTo>
                    <a:pt x="749" y="95"/>
                  </a:lnTo>
                  <a:lnTo>
                    <a:pt x="750" y="89"/>
                  </a:lnTo>
                  <a:lnTo>
                    <a:pt x="752" y="82"/>
                  </a:lnTo>
                  <a:lnTo>
                    <a:pt x="754" y="77"/>
                  </a:lnTo>
                  <a:lnTo>
                    <a:pt x="757" y="72"/>
                  </a:lnTo>
                  <a:lnTo>
                    <a:pt x="760" y="67"/>
                  </a:lnTo>
                  <a:lnTo>
                    <a:pt x="764" y="62"/>
                  </a:lnTo>
                  <a:lnTo>
                    <a:pt x="768" y="58"/>
                  </a:lnTo>
                  <a:lnTo>
                    <a:pt x="772" y="55"/>
                  </a:lnTo>
                  <a:lnTo>
                    <a:pt x="778" y="53"/>
                  </a:lnTo>
                  <a:lnTo>
                    <a:pt x="783" y="50"/>
                  </a:lnTo>
                  <a:lnTo>
                    <a:pt x="788" y="48"/>
                  </a:lnTo>
                  <a:lnTo>
                    <a:pt x="795" y="47"/>
                  </a:lnTo>
                  <a:lnTo>
                    <a:pt x="802" y="45"/>
                  </a:lnTo>
                  <a:lnTo>
                    <a:pt x="809" y="45"/>
                  </a:lnTo>
                  <a:lnTo>
                    <a:pt x="816" y="45"/>
                  </a:lnTo>
                  <a:lnTo>
                    <a:pt x="823" y="47"/>
                  </a:lnTo>
                  <a:lnTo>
                    <a:pt x="829" y="48"/>
                  </a:lnTo>
                  <a:lnTo>
                    <a:pt x="835" y="50"/>
                  </a:lnTo>
                  <a:lnTo>
                    <a:pt x="840" y="53"/>
                  </a:lnTo>
                  <a:lnTo>
                    <a:pt x="845" y="55"/>
                  </a:lnTo>
                  <a:lnTo>
                    <a:pt x="851" y="58"/>
                  </a:lnTo>
                  <a:lnTo>
                    <a:pt x="854" y="62"/>
                  </a:lnTo>
                  <a:lnTo>
                    <a:pt x="858" y="67"/>
                  </a:lnTo>
                  <a:lnTo>
                    <a:pt x="861" y="72"/>
                  </a:lnTo>
                  <a:lnTo>
                    <a:pt x="863" y="77"/>
                  </a:lnTo>
                  <a:lnTo>
                    <a:pt x="867" y="82"/>
                  </a:lnTo>
                  <a:lnTo>
                    <a:pt x="868" y="89"/>
                  </a:lnTo>
                  <a:lnTo>
                    <a:pt x="869" y="95"/>
                  </a:lnTo>
                  <a:lnTo>
                    <a:pt x="870" y="103"/>
                  </a:lnTo>
                  <a:lnTo>
                    <a:pt x="870" y="110"/>
                  </a:lnTo>
                  <a:lnTo>
                    <a:pt x="870" y="243"/>
                  </a:lnTo>
                  <a:lnTo>
                    <a:pt x="870" y="251"/>
                  </a:lnTo>
                  <a:lnTo>
                    <a:pt x="869" y="257"/>
                  </a:lnTo>
                  <a:lnTo>
                    <a:pt x="868" y="264"/>
                  </a:lnTo>
                  <a:lnTo>
                    <a:pt x="867" y="271"/>
                  </a:lnTo>
                  <a:lnTo>
                    <a:pt x="863" y="276"/>
                  </a:lnTo>
                  <a:lnTo>
                    <a:pt x="861" y="281"/>
                  </a:lnTo>
                  <a:lnTo>
                    <a:pt x="858" y="287"/>
                  </a:lnTo>
                  <a:lnTo>
                    <a:pt x="854" y="291"/>
                  </a:lnTo>
                  <a:lnTo>
                    <a:pt x="851" y="294"/>
                  </a:lnTo>
                  <a:lnTo>
                    <a:pt x="845" y="298"/>
                  </a:lnTo>
                  <a:lnTo>
                    <a:pt x="840" y="300"/>
                  </a:lnTo>
                  <a:lnTo>
                    <a:pt x="835" y="302"/>
                  </a:lnTo>
                  <a:lnTo>
                    <a:pt x="829" y="305"/>
                  </a:lnTo>
                  <a:lnTo>
                    <a:pt x="823" y="307"/>
                  </a:lnTo>
                  <a:lnTo>
                    <a:pt x="816" y="307"/>
                  </a:lnTo>
                  <a:lnTo>
                    <a:pt x="809" y="308"/>
                  </a:lnTo>
                  <a:lnTo>
                    <a:pt x="802" y="307"/>
                  </a:lnTo>
                  <a:lnTo>
                    <a:pt x="795" y="307"/>
                  </a:lnTo>
                  <a:lnTo>
                    <a:pt x="788" y="305"/>
                  </a:lnTo>
                  <a:lnTo>
                    <a:pt x="783" y="302"/>
                  </a:lnTo>
                  <a:lnTo>
                    <a:pt x="778" y="300"/>
                  </a:lnTo>
                  <a:lnTo>
                    <a:pt x="772" y="298"/>
                  </a:lnTo>
                  <a:lnTo>
                    <a:pt x="768" y="294"/>
                  </a:lnTo>
                  <a:lnTo>
                    <a:pt x="764" y="291"/>
                  </a:lnTo>
                  <a:lnTo>
                    <a:pt x="760" y="287"/>
                  </a:lnTo>
                  <a:lnTo>
                    <a:pt x="757" y="281"/>
                  </a:lnTo>
                  <a:lnTo>
                    <a:pt x="754" y="276"/>
                  </a:lnTo>
                  <a:lnTo>
                    <a:pt x="752" y="271"/>
                  </a:lnTo>
                  <a:lnTo>
                    <a:pt x="750" y="264"/>
                  </a:lnTo>
                  <a:lnTo>
                    <a:pt x="749" y="257"/>
                  </a:lnTo>
                  <a:lnTo>
                    <a:pt x="748" y="251"/>
                  </a:lnTo>
                  <a:lnTo>
                    <a:pt x="748" y="243"/>
                  </a:lnTo>
                  <a:lnTo>
                    <a:pt x="748" y="110"/>
                  </a:lnTo>
                  <a:close/>
                  <a:moveTo>
                    <a:pt x="600" y="49"/>
                  </a:moveTo>
                  <a:lnTo>
                    <a:pt x="725" y="49"/>
                  </a:lnTo>
                  <a:lnTo>
                    <a:pt x="725" y="86"/>
                  </a:lnTo>
                  <a:lnTo>
                    <a:pt x="682" y="86"/>
                  </a:lnTo>
                  <a:lnTo>
                    <a:pt x="682" y="305"/>
                  </a:lnTo>
                  <a:lnTo>
                    <a:pt x="642" y="305"/>
                  </a:lnTo>
                  <a:lnTo>
                    <a:pt x="642" y="86"/>
                  </a:lnTo>
                  <a:lnTo>
                    <a:pt x="600" y="86"/>
                  </a:lnTo>
                  <a:lnTo>
                    <a:pt x="600" y="49"/>
                  </a:lnTo>
                  <a:close/>
                  <a:moveTo>
                    <a:pt x="461" y="49"/>
                  </a:moveTo>
                  <a:lnTo>
                    <a:pt x="585" y="49"/>
                  </a:lnTo>
                  <a:lnTo>
                    <a:pt x="585" y="86"/>
                  </a:lnTo>
                  <a:lnTo>
                    <a:pt x="543" y="86"/>
                  </a:lnTo>
                  <a:lnTo>
                    <a:pt x="543" y="305"/>
                  </a:lnTo>
                  <a:lnTo>
                    <a:pt x="503" y="305"/>
                  </a:lnTo>
                  <a:lnTo>
                    <a:pt x="503" y="86"/>
                  </a:lnTo>
                  <a:lnTo>
                    <a:pt x="461" y="86"/>
                  </a:lnTo>
                  <a:lnTo>
                    <a:pt x="461" y="49"/>
                  </a:lnTo>
                  <a:close/>
                  <a:moveTo>
                    <a:pt x="357" y="220"/>
                  </a:moveTo>
                  <a:lnTo>
                    <a:pt x="306" y="49"/>
                  </a:lnTo>
                  <a:lnTo>
                    <a:pt x="348" y="49"/>
                  </a:lnTo>
                  <a:lnTo>
                    <a:pt x="379" y="165"/>
                  </a:lnTo>
                  <a:lnTo>
                    <a:pt x="410" y="49"/>
                  </a:lnTo>
                  <a:lnTo>
                    <a:pt x="448" y="49"/>
                  </a:lnTo>
                  <a:lnTo>
                    <a:pt x="397" y="220"/>
                  </a:lnTo>
                  <a:lnTo>
                    <a:pt x="397" y="305"/>
                  </a:lnTo>
                  <a:lnTo>
                    <a:pt x="357" y="305"/>
                  </a:lnTo>
                  <a:lnTo>
                    <a:pt x="357" y="220"/>
                  </a:lnTo>
                  <a:close/>
                  <a:moveTo>
                    <a:pt x="266" y="0"/>
                  </a:moveTo>
                  <a:lnTo>
                    <a:pt x="266" y="35"/>
                  </a:lnTo>
                  <a:lnTo>
                    <a:pt x="231" y="35"/>
                  </a:lnTo>
                  <a:lnTo>
                    <a:pt x="231" y="0"/>
                  </a:lnTo>
                  <a:lnTo>
                    <a:pt x="266" y="0"/>
                  </a:lnTo>
                  <a:close/>
                  <a:moveTo>
                    <a:pt x="199" y="223"/>
                  </a:moveTo>
                  <a:lnTo>
                    <a:pt x="238" y="223"/>
                  </a:lnTo>
                  <a:lnTo>
                    <a:pt x="219" y="94"/>
                  </a:lnTo>
                  <a:lnTo>
                    <a:pt x="199" y="223"/>
                  </a:lnTo>
                  <a:close/>
                  <a:moveTo>
                    <a:pt x="211" y="0"/>
                  </a:moveTo>
                  <a:lnTo>
                    <a:pt x="211" y="35"/>
                  </a:lnTo>
                  <a:lnTo>
                    <a:pt x="175" y="35"/>
                  </a:lnTo>
                  <a:lnTo>
                    <a:pt x="175" y="0"/>
                  </a:lnTo>
                  <a:lnTo>
                    <a:pt x="211" y="0"/>
                  </a:lnTo>
                  <a:close/>
                  <a:moveTo>
                    <a:pt x="291" y="305"/>
                  </a:moveTo>
                  <a:lnTo>
                    <a:pt x="251" y="305"/>
                  </a:lnTo>
                  <a:lnTo>
                    <a:pt x="244" y="258"/>
                  </a:lnTo>
                  <a:lnTo>
                    <a:pt x="194" y="258"/>
                  </a:lnTo>
                  <a:lnTo>
                    <a:pt x="188" y="305"/>
                  </a:lnTo>
                  <a:lnTo>
                    <a:pt x="151" y="305"/>
                  </a:lnTo>
                  <a:lnTo>
                    <a:pt x="192" y="49"/>
                  </a:lnTo>
                  <a:lnTo>
                    <a:pt x="250" y="49"/>
                  </a:lnTo>
                  <a:lnTo>
                    <a:pt x="291" y="305"/>
                  </a:lnTo>
                  <a:close/>
                  <a:moveTo>
                    <a:pt x="53" y="202"/>
                  </a:moveTo>
                  <a:lnTo>
                    <a:pt x="41" y="226"/>
                  </a:lnTo>
                  <a:lnTo>
                    <a:pt x="41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41" y="49"/>
                  </a:lnTo>
                  <a:lnTo>
                    <a:pt x="41" y="160"/>
                  </a:lnTo>
                  <a:lnTo>
                    <a:pt x="93" y="49"/>
                  </a:lnTo>
                  <a:lnTo>
                    <a:pt x="134" y="49"/>
                  </a:lnTo>
                  <a:lnTo>
                    <a:pt x="78" y="163"/>
                  </a:lnTo>
                  <a:lnTo>
                    <a:pt x="134" y="305"/>
                  </a:lnTo>
                  <a:lnTo>
                    <a:pt x="92" y="305"/>
                  </a:lnTo>
                  <a:lnTo>
                    <a:pt x="5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074352462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9AD345-920C-4AB6-B450-A471548459C3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4"/>
            <p:cNvSpPr>
              <a:spLocks noEditPoints="1"/>
            </p:cNvSpPr>
            <p:nvPr userDrawn="1"/>
          </p:nvSpPr>
          <p:spPr bwMode="auto">
            <a:xfrm>
              <a:off x="9011200" y="6428428"/>
              <a:ext cx="1668858" cy="290400"/>
            </a:xfrm>
            <a:custGeom>
              <a:avLst/>
              <a:gdLst>
                <a:gd name="T0" fmla="*/ 1770 w 1770"/>
                <a:gd name="T1" fmla="*/ 305 h 308"/>
                <a:gd name="T2" fmla="*/ 1629 w 1770"/>
                <a:gd name="T3" fmla="*/ 305 h 308"/>
                <a:gd name="T4" fmla="*/ 1524 w 1770"/>
                <a:gd name="T5" fmla="*/ 164 h 308"/>
                <a:gd name="T6" fmla="*/ 1557 w 1770"/>
                <a:gd name="T7" fmla="*/ 158 h 308"/>
                <a:gd name="T8" fmla="*/ 1563 w 1770"/>
                <a:gd name="T9" fmla="*/ 111 h 308"/>
                <a:gd name="T10" fmla="*/ 1559 w 1770"/>
                <a:gd name="T11" fmla="*/ 91 h 308"/>
                <a:gd name="T12" fmla="*/ 1524 w 1770"/>
                <a:gd name="T13" fmla="*/ 86 h 308"/>
                <a:gd name="T14" fmla="*/ 1564 w 1770"/>
                <a:gd name="T15" fmla="*/ 273 h 308"/>
                <a:gd name="T16" fmla="*/ 1558 w 1770"/>
                <a:gd name="T17" fmla="*/ 207 h 308"/>
                <a:gd name="T18" fmla="*/ 1538 w 1770"/>
                <a:gd name="T19" fmla="*/ 200 h 308"/>
                <a:gd name="T20" fmla="*/ 1544 w 1770"/>
                <a:gd name="T21" fmla="*/ 49 h 308"/>
                <a:gd name="T22" fmla="*/ 1577 w 1770"/>
                <a:gd name="T23" fmla="*/ 54 h 308"/>
                <a:gd name="T24" fmla="*/ 1596 w 1770"/>
                <a:gd name="T25" fmla="*/ 72 h 308"/>
                <a:gd name="T26" fmla="*/ 1604 w 1770"/>
                <a:gd name="T27" fmla="*/ 100 h 308"/>
                <a:gd name="T28" fmla="*/ 1600 w 1770"/>
                <a:gd name="T29" fmla="*/ 153 h 308"/>
                <a:gd name="T30" fmla="*/ 1578 w 1770"/>
                <a:gd name="T31" fmla="*/ 180 h 308"/>
                <a:gd name="T32" fmla="*/ 1593 w 1770"/>
                <a:gd name="T33" fmla="*/ 190 h 308"/>
                <a:gd name="T34" fmla="*/ 1604 w 1770"/>
                <a:gd name="T35" fmla="*/ 224 h 308"/>
                <a:gd name="T36" fmla="*/ 1607 w 1770"/>
                <a:gd name="T37" fmla="*/ 297 h 308"/>
                <a:gd name="T38" fmla="*/ 1384 w 1770"/>
                <a:gd name="T39" fmla="*/ 94 h 308"/>
                <a:gd name="T40" fmla="*/ 1359 w 1770"/>
                <a:gd name="T41" fmla="*/ 258 h 308"/>
                <a:gd name="T42" fmla="*/ 1456 w 1770"/>
                <a:gd name="T43" fmla="*/ 305 h 308"/>
                <a:gd name="T44" fmla="*/ 1208 w 1770"/>
                <a:gd name="T45" fmla="*/ 305 h 308"/>
                <a:gd name="T46" fmla="*/ 1108 w 1770"/>
                <a:gd name="T47" fmla="*/ 223 h 308"/>
                <a:gd name="T48" fmla="*/ 1113 w 1770"/>
                <a:gd name="T49" fmla="*/ 258 h 308"/>
                <a:gd name="T50" fmla="*/ 1119 w 1770"/>
                <a:gd name="T51" fmla="*/ 49 h 308"/>
                <a:gd name="T52" fmla="*/ 975 w 1770"/>
                <a:gd name="T53" fmla="*/ 86 h 308"/>
                <a:gd name="T54" fmla="*/ 893 w 1770"/>
                <a:gd name="T55" fmla="*/ 49 h 308"/>
                <a:gd name="T56" fmla="*/ 854 w 1770"/>
                <a:gd name="T57" fmla="*/ 0 h 308"/>
                <a:gd name="T58" fmla="*/ 791 w 1770"/>
                <a:gd name="T59" fmla="*/ 261 h 308"/>
                <a:gd name="T60" fmla="*/ 809 w 1770"/>
                <a:gd name="T61" fmla="*/ 271 h 308"/>
                <a:gd name="T62" fmla="*/ 826 w 1770"/>
                <a:gd name="T63" fmla="*/ 261 h 308"/>
                <a:gd name="T64" fmla="*/ 829 w 1770"/>
                <a:gd name="T65" fmla="*/ 102 h 308"/>
                <a:gd name="T66" fmla="*/ 821 w 1770"/>
                <a:gd name="T67" fmla="*/ 86 h 308"/>
                <a:gd name="T68" fmla="*/ 800 w 1770"/>
                <a:gd name="T69" fmla="*/ 84 h 308"/>
                <a:gd name="T70" fmla="*/ 788 w 1770"/>
                <a:gd name="T71" fmla="*/ 102 h 308"/>
                <a:gd name="T72" fmla="*/ 764 w 1770"/>
                <a:gd name="T73" fmla="*/ 35 h 308"/>
                <a:gd name="T74" fmla="*/ 749 w 1770"/>
                <a:gd name="T75" fmla="*/ 95 h 308"/>
                <a:gd name="T76" fmla="*/ 760 w 1770"/>
                <a:gd name="T77" fmla="*/ 67 h 308"/>
                <a:gd name="T78" fmla="*/ 783 w 1770"/>
                <a:gd name="T79" fmla="*/ 50 h 308"/>
                <a:gd name="T80" fmla="*/ 816 w 1770"/>
                <a:gd name="T81" fmla="*/ 45 h 308"/>
                <a:gd name="T82" fmla="*/ 845 w 1770"/>
                <a:gd name="T83" fmla="*/ 55 h 308"/>
                <a:gd name="T84" fmla="*/ 863 w 1770"/>
                <a:gd name="T85" fmla="*/ 77 h 308"/>
                <a:gd name="T86" fmla="*/ 870 w 1770"/>
                <a:gd name="T87" fmla="*/ 110 h 308"/>
                <a:gd name="T88" fmla="*/ 867 w 1770"/>
                <a:gd name="T89" fmla="*/ 271 h 308"/>
                <a:gd name="T90" fmla="*/ 851 w 1770"/>
                <a:gd name="T91" fmla="*/ 294 h 308"/>
                <a:gd name="T92" fmla="*/ 823 w 1770"/>
                <a:gd name="T93" fmla="*/ 307 h 308"/>
                <a:gd name="T94" fmla="*/ 788 w 1770"/>
                <a:gd name="T95" fmla="*/ 305 h 308"/>
                <a:gd name="T96" fmla="*/ 764 w 1770"/>
                <a:gd name="T97" fmla="*/ 291 h 308"/>
                <a:gd name="T98" fmla="*/ 750 w 1770"/>
                <a:gd name="T99" fmla="*/ 264 h 308"/>
                <a:gd name="T100" fmla="*/ 600 w 1770"/>
                <a:gd name="T101" fmla="*/ 49 h 308"/>
                <a:gd name="T102" fmla="*/ 642 w 1770"/>
                <a:gd name="T103" fmla="*/ 305 h 308"/>
                <a:gd name="T104" fmla="*/ 585 w 1770"/>
                <a:gd name="T105" fmla="*/ 49 h 308"/>
                <a:gd name="T106" fmla="*/ 503 w 1770"/>
                <a:gd name="T107" fmla="*/ 86 h 308"/>
                <a:gd name="T108" fmla="*/ 348 w 1770"/>
                <a:gd name="T109" fmla="*/ 49 h 308"/>
                <a:gd name="T110" fmla="*/ 397 w 1770"/>
                <a:gd name="T111" fmla="*/ 305 h 308"/>
                <a:gd name="T112" fmla="*/ 231 w 1770"/>
                <a:gd name="T113" fmla="*/ 35 h 308"/>
                <a:gd name="T114" fmla="*/ 219 w 1770"/>
                <a:gd name="T115" fmla="*/ 94 h 308"/>
                <a:gd name="T116" fmla="*/ 175 w 1770"/>
                <a:gd name="T117" fmla="*/ 0 h 308"/>
                <a:gd name="T118" fmla="*/ 194 w 1770"/>
                <a:gd name="T119" fmla="*/ 258 h 308"/>
                <a:gd name="T120" fmla="*/ 291 w 1770"/>
                <a:gd name="T121" fmla="*/ 305 h 308"/>
                <a:gd name="T122" fmla="*/ 0 w 1770"/>
                <a:gd name="T123" fmla="*/ 49 h 308"/>
                <a:gd name="T124" fmla="*/ 78 w 1770"/>
                <a:gd name="T125" fmla="*/ 16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0" h="308">
                  <a:moveTo>
                    <a:pt x="1679" y="223"/>
                  </a:moveTo>
                  <a:lnTo>
                    <a:pt x="1717" y="223"/>
                  </a:lnTo>
                  <a:lnTo>
                    <a:pt x="1698" y="94"/>
                  </a:lnTo>
                  <a:lnTo>
                    <a:pt x="1679" y="223"/>
                  </a:lnTo>
                  <a:close/>
                  <a:moveTo>
                    <a:pt x="1770" y="305"/>
                  </a:moveTo>
                  <a:lnTo>
                    <a:pt x="1729" y="305"/>
                  </a:lnTo>
                  <a:lnTo>
                    <a:pt x="1722" y="258"/>
                  </a:lnTo>
                  <a:lnTo>
                    <a:pt x="1673" y="258"/>
                  </a:lnTo>
                  <a:lnTo>
                    <a:pt x="1666" y="305"/>
                  </a:lnTo>
                  <a:lnTo>
                    <a:pt x="1629" y="305"/>
                  </a:lnTo>
                  <a:lnTo>
                    <a:pt x="1670" y="49"/>
                  </a:lnTo>
                  <a:lnTo>
                    <a:pt x="1729" y="49"/>
                  </a:lnTo>
                  <a:lnTo>
                    <a:pt x="1770" y="305"/>
                  </a:lnTo>
                  <a:close/>
                  <a:moveTo>
                    <a:pt x="1524" y="86"/>
                  </a:moveTo>
                  <a:lnTo>
                    <a:pt x="1524" y="164"/>
                  </a:lnTo>
                  <a:lnTo>
                    <a:pt x="1540" y="164"/>
                  </a:lnTo>
                  <a:lnTo>
                    <a:pt x="1545" y="163"/>
                  </a:lnTo>
                  <a:lnTo>
                    <a:pt x="1550" y="163"/>
                  </a:lnTo>
                  <a:lnTo>
                    <a:pt x="1554" y="161"/>
                  </a:lnTo>
                  <a:lnTo>
                    <a:pt x="1557" y="158"/>
                  </a:lnTo>
                  <a:lnTo>
                    <a:pt x="1560" y="154"/>
                  </a:lnTo>
                  <a:lnTo>
                    <a:pt x="1562" y="149"/>
                  </a:lnTo>
                  <a:lnTo>
                    <a:pt x="1563" y="144"/>
                  </a:lnTo>
                  <a:lnTo>
                    <a:pt x="1563" y="136"/>
                  </a:lnTo>
                  <a:lnTo>
                    <a:pt x="1563" y="111"/>
                  </a:lnTo>
                  <a:lnTo>
                    <a:pt x="1563" y="105"/>
                  </a:lnTo>
                  <a:lnTo>
                    <a:pt x="1562" y="99"/>
                  </a:lnTo>
                  <a:lnTo>
                    <a:pt x="1562" y="97"/>
                  </a:lnTo>
                  <a:lnTo>
                    <a:pt x="1561" y="95"/>
                  </a:lnTo>
                  <a:lnTo>
                    <a:pt x="1559" y="91"/>
                  </a:lnTo>
                  <a:lnTo>
                    <a:pt x="1556" y="89"/>
                  </a:lnTo>
                  <a:lnTo>
                    <a:pt x="1553" y="87"/>
                  </a:lnTo>
                  <a:lnTo>
                    <a:pt x="1549" y="86"/>
                  </a:lnTo>
                  <a:lnTo>
                    <a:pt x="1543" y="86"/>
                  </a:lnTo>
                  <a:lnTo>
                    <a:pt x="1524" y="86"/>
                  </a:lnTo>
                  <a:close/>
                  <a:moveTo>
                    <a:pt x="1568" y="305"/>
                  </a:moveTo>
                  <a:lnTo>
                    <a:pt x="1567" y="299"/>
                  </a:lnTo>
                  <a:lnTo>
                    <a:pt x="1566" y="294"/>
                  </a:lnTo>
                  <a:lnTo>
                    <a:pt x="1564" y="286"/>
                  </a:lnTo>
                  <a:lnTo>
                    <a:pt x="1564" y="273"/>
                  </a:lnTo>
                  <a:lnTo>
                    <a:pt x="1564" y="233"/>
                  </a:lnTo>
                  <a:lnTo>
                    <a:pt x="1563" y="224"/>
                  </a:lnTo>
                  <a:lnTo>
                    <a:pt x="1562" y="218"/>
                  </a:lnTo>
                  <a:lnTo>
                    <a:pt x="1560" y="212"/>
                  </a:lnTo>
                  <a:lnTo>
                    <a:pt x="1558" y="207"/>
                  </a:lnTo>
                  <a:lnTo>
                    <a:pt x="1554" y="204"/>
                  </a:lnTo>
                  <a:lnTo>
                    <a:pt x="1552" y="203"/>
                  </a:lnTo>
                  <a:lnTo>
                    <a:pt x="1550" y="202"/>
                  </a:lnTo>
                  <a:lnTo>
                    <a:pt x="1544" y="201"/>
                  </a:lnTo>
                  <a:lnTo>
                    <a:pt x="1538" y="200"/>
                  </a:lnTo>
                  <a:lnTo>
                    <a:pt x="1524" y="200"/>
                  </a:lnTo>
                  <a:lnTo>
                    <a:pt x="1524" y="305"/>
                  </a:lnTo>
                  <a:lnTo>
                    <a:pt x="1484" y="305"/>
                  </a:lnTo>
                  <a:lnTo>
                    <a:pt x="1484" y="49"/>
                  </a:lnTo>
                  <a:lnTo>
                    <a:pt x="1544" y="49"/>
                  </a:lnTo>
                  <a:lnTo>
                    <a:pt x="1552" y="49"/>
                  </a:lnTo>
                  <a:lnTo>
                    <a:pt x="1559" y="50"/>
                  </a:lnTo>
                  <a:lnTo>
                    <a:pt x="1566" y="51"/>
                  </a:lnTo>
                  <a:lnTo>
                    <a:pt x="1572" y="52"/>
                  </a:lnTo>
                  <a:lnTo>
                    <a:pt x="1577" y="54"/>
                  </a:lnTo>
                  <a:lnTo>
                    <a:pt x="1581" y="57"/>
                  </a:lnTo>
                  <a:lnTo>
                    <a:pt x="1586" y="60"/>
                  </a:lnTo>
                  <a:lnTo>
                    <a:pt x="1590" y="63"/>
                  </a:lnTo>
                  <a:lnTo>
                    <a:pt x="1593" y="67"/>
                  </a:lnTo>
                  <a:lnTo>
                    <a:pt x="1596" y="72"/>
                  </a:lnTo>
                  <a:lnTo>
                    <a:pt x="1598" y="76"/>
                  </a:lnTo>
                  <a:lnTo>
                    <a:pt x="1600" y="81"/>
                  </a:lnTo>
                  <a:lnTo>
                    <a:pt x="1603" y="88"/>
                  </a:lnTo>
                  <a:lnTo>
                    <a:pt x="1604" y="93"/>
                  </a:lnTo>
                  <a:lnTo>
                    <a:pt x="1604" y="100"/>
                  </a:lnTo>
                  <a:lnTo>
                    <a:pt x="1604" y="108"/>
                  </a:lnTo>
                  <a:lnTo>
                    <a:pt x="1604" y="128"/>
                  </a:lnTo>
                  <a:lnTo>
                    <a:pt x="1604" y="137"/>
                  </a:lnTo>
                  <a:lnTo>
                    <a:pt x="1603" y="146"/>
                  </a:lnTo>
                  <a:lnTo>
                    <a:pt x="1600" y="153"/>
                  </a:lnTo>
                  <a:lnTo>
                    <a:pt x="1597" y="160"/>
                  </a:lnTo>
                  <a:lnTo>
                    <a:pt x="1594" y="166"/>
                  </a:lnTo>
                  <a:lnTo>
                    <a:pt x="1590" y="171"/>
                  </a:lnTo>
                  <a:lnTo>
                    <a:pt x="1584" y="176"/>
                  </a:lnTo>
                  <a:lnTo>
                    <a:pt x="1578" y="180"/>
                  </a:lnTo>
                  <a:lnTo>
                    <a:pt x="1581" y="181"/>
                  </a:lnTo>
                  <a:lnTo>
                    <a:pt x="1585" y="183"/>
                  </a:lnTo>
                  <a:lnTo>
                    <a:pt x="1588" y="185"/>
                  </a:lnTo>
                  <a:lnTo>
                    <a:pt x="1590" y="187"/>
                  </a:lnTo>
                  <a:lnTo>
                    <a:pt x="1593" y="190"/>
                  </a:lnTo>
                  <a:lnTo>
                    <a:pt x="1595" y="194"/>
                  </a:lnTo>
                  <a:lnTo>
                    <a:pt x="1598" y="200"/>
                  </a:lnTo>
                  <a:lnTo>
                    <a:pt x="1601" y="207"/>
                  </a:lnTo>
                  <a:lnTo>
                    <a:pt x="1603" y="216"/>
                  </a:lnTo>
                  <a:lnTo>
                    <a:pt x="1604" y="224"/>
                  </a:lnTo>
                  <a:lnTo>
                    <a:pt x="1605" y="234"/>
                  </a:lnTo>
                  <a:lnTo>
                    <a:pt x="1605" y="273"/>
                  </a:lnTo>
                  <a:lnTo>
                    <a:pt x="1605" y="282"/>
                  </a:lnTo>
                  <a:lnTo>
                    <a:pt x="1605" y="290"/>
                  </a:lnTo>
                  <a:lnTo>
                    <a:pt x="1607" y="297"/>
                  </a:lnTo>
                  <a:lnTo>
                    <a:pt x="1609" y="305"/>
                  </a:lnTo>
                  <a:lnTo>
                    <a:pt x="1568" y="305"/>
                  </a:lnTo>
                  <a:close/>
                  <a:moveTo>
                    <a:pt x="1365" y="223"/>
                  </a:moveTo>
                  <a:lnTo>
                    <a:pt x="1403" y="223"/>
                  </a:lnTo>
                  <a:lnTo>
                    <a:pt x="1384" y="94"/>
                  </a:lnTo>
                  <a:lnTo>
                    <a:pt x="1365" y="223"/>
                  </a:lnTo>
                  <a:close/>
                  <a:moveTo>
                    <a:pt x="1456" y="305"/>
                  </a:moveTo>
                  <a:lnTo>
                    <a:pt x="1415" y="305"/>
                  </a:lnTo>
                  <a:lnTo>
                    <a:pt x="1409" y="258"/>
                  </a:lnTo>
                  <a:lnTo>
                    <a:pt x="1359" y="258"/>
                  </a:lnTo>
                  <a:lnTo>
                    <a:pt x="1352" y="305"/>
                  </a:lnTo>
                  <a:lnTo>
                    <a:pt x="1315" y="305"/>
                  </a:lnTo>
                  <a:lnTo>
                    <a:pt x="1356" y="49"/>
                  </a:lnTo>
                  <a:lnTo>
                    <a:pt x="1415" y="49"/>
                  </a:lnTo>
                  <a:lnTo>
                    <a:pt x="1456" y="305"/>
                  </a:lnTo>
                  <a:close/>
                  <a:moveTo>
                    <a:pt x="1240" y="257"/>
                  </a:moveTo>
                  <a:lnTo>
                    <a:pt x="1270" y="49"/>
                  </a:lnTo>
                  <a:lnTo>
                    <a:pt x="1307" y="49"/>
                  </a:lnTo>
                  <a:lnTo>
                    <a:pt x="1268" y="305"/>
                  </a:lnTo>
                  <a:lnTo>
                    <a:pt x="1208" y="305"/>
                  </a:lnTo>
                  <a:lnTo>
                    <a:pt x="1169" y="49"/>
                  </a:lnTo>
                  <a:lnTo>
                    <a:pt x="1209" y="49"/>
                  </a:lnTo>
                  <a:lnTo>
                    <a:pt x="1240" y="257"/>
                  </a:lnTo>
                  <a:close/>
                  <a:moveTo>
                    <a:pt x="1068" y="223"/>
                  </a:moveTo>
                  <a:lnTo>
                    <a:pt x="1108" y="223"/>
                  </a:lnTo>
                  <a:lnTo>
                    <a:pt x="1089" y="94"/>
                  </a:lnTo>
                  <a:lnTo>
                    <a:pt x="1068" y="223"/>
                  </a:lnTo>
                  <a:close/>
                  <a:moveTo>
                    <a:pt x="1160" y="305"/>
                  </a:moveTo>
                  <a:lnTo>
                    <a:pt x="1120" y="305"/>
                  </a:lnTo>
                  <a:lnTo>
                    <a:pt x="1113" y="258"/>
                  </a:lnTo>
                  <a:lnTo>
                    <a:pt x="1063" y="258"/>
                  </a:lnTo>
                  <a:lnTo>
                    <a:pt x="1057" y="305"/>
                  </a:lnTo>
                  <a:lnTo>
                    <a:pt x="1020" y="305"/>
                  </a:lnTo>
                  <a:lnTo>
                    <a:pt x="1061" y="49"/>
                  </a:lnTo>
                  <a:lnTo>
                    <a:pt x="1119" y="49"/>
                  </a:lnTo>
                  <a:lnTo>
                    <a:pt x="1160" y="305"/>
                  </a:lnTo>
                  <a:close/>
                  <a:moveTo>
                    <a:pt x="893" y="49"/>
                  </a:moveTo>
                  <a:lnTo>
                    <a:pt x="1018" y="49"/>
                  </a:lnTo>
                  <a:lnTo>
                    <a:pt x="1018" y="86"/>
                  </a:lnTo>
                  <a:lnTo>
                    <a:pt x="975" y="86"/>
                  </a:lnTo>
                  <a:lnTo>
                    <a:pt x="975" y="305"/>
                  </a:lnTo>
                  <a:lnTo>
                    <a:pt x="935" y="305"/>
                  </a:lnTo>
                  <a:lnTo>
                    <a:pt x="935" y="86"/>
                  </a:lnTo>
                  <a:lnTo>
                    <a:pt x="893" y="86"/>
                  </a:lnTo>
                  <a:lnTo>
                    <a:pt x="893" y="49"/>
                  </a:lnTo>
                  <a:close/>
                  <a:moveTo>
                    <a:pt x="854" y="0"/>
                  </a:moveTo>
                  <a:lnTo>
                    <a:pt x="854" y="35"/>
                  </a:lnTo>
                  <a:lnTo>
                    <a:pt x="819" y="35"/>
                  </a:lnTo>
                  <a:lnTo>
                    <a:pt x="819" y="0"/>
                  </a:lnTo>
                  <a:lnTo>
                    <a:pt x="854" y="0"/>
                  </a:lnTo>
                  <a:close/>
                  <a:moveTo>
                    <a:pt x="788" y="245"/>
                  </a:moveTo>
                  <a:lnTo>
                    <a:pt x="788" y="252"/>
                  </a:lnTo>
                  <a:lnTo>
                    <a:pt x="789" y="257"/>
                  </a:lnTo>
                  <a:lnTo>
                    <a:pt x="790" y="259"/>
                  </a:lnTo>
                  <a:lnTo>
                    <a:pt x="791" y="261"/>
                  </a:lnTo>
                  <a:lnTo>
                    <a:pt x="794" y="265"/>
                  </a:lnTo>
                  <a:lnTo>
                    <a:pt x="797" y="268"/>
                  </a:lnTo>
                  <a:lnTo>
                    <a:pt x="800" y="270"/>
                  </a:lnTo>
                  <a:lnTo>
                    <a:pt x="804" y="271"/>
                  </a:lnTo>
                  <a:lnTo>
                    <a:pt x="809" y="271"/>
                  </a:lnTo>
                  <a:lnTo>
                    <a:pt x="814" y="271"/>
                  </a:lnTo>
                  <a:lnTo>
                    <a:pt x="818" y="270"/>
                  </a:lnTo>
                  <a:lnTo>
                    <a:pt x="821" y="268"/>
                  </a:lnTo>
                  <a:lnTo>
                    <a:pt x="824" y="265"/>
                  </a:lnTo>
                  <a:lnTo>
                    <a:pt x="826" y="261"/>
                  </a:lnTo>
                  <a:lnTo>
                    <a:pt x="828" y="257"/>
                  </a:lnTo>
                  <a:lnTo>
                    <a:pt x="829" y="252"/>
                  </a:lnTo>
                  <a:lnTo>
                    <a:pt x="829" y="245"/>
                  </a:lnTo>
                  <a:lnTo>
                    <a:pt x="829" y="108"/>
                  </a:lnTo>
                  <a:lnTo>
                    <a:pt x="829" y="102"/>
                  </a:lnTo>
                  <a:lnTo>
                    <a:pt x="828" y="96"/>
                  </a:lnTo>
                  <a:lnTo>
                    <a:pt x="827" y="93"/>
                  </a:lnTo>
                  <a:lnTo>
                    <a:pt x="826" y="91"/>
                  </a:lnTo>
                  <a:lnTo>
                    <a:pt x="824" y="88"/>
                  </a:lnTo>
                  <a:lnTo>
                    <a:pt x="821" y="86"/>
                  </a:lnTo>
                  <a:lnTo>
                    <a:pt x="818" y="84"/>
                  </a:lnTo>
                  <a:lnTo>
                    <a:pt x="814" y="82"/>
                  </a:lnTo>
                  <a:lnTo>
                    <a:pt x="809" y="82"/>
                  </a:lnTo>
                  <a:lnTo>
                    <a:pt x="804" y="82"/>
                  </a:lnTo>
                  <a:lnTo>
                    <a:pt x="800" y="84"/>
                  </a:lnTo>
                  <a:lnTo>
                    <a:pt x="797" y="86"/>
                  </a:lnTo>
                  <a:lnTo>
                    <a:pt x="794" y="88"/>
                  </a:lnTo>
                  <a:lnTo>
                    <a:pt x="791" y="91"/>
                  </a:lnTo>
                  <a:lnTo>
                    <a:pt x="789" y="96"/>
                  </a:lnTo>
                  <a:lnTo>
                    <a:pt x="788" y="102"/>
                  </a:lnTo>
                  <a:lnTo>
                    <a:pt x="788" y="108"/>
                  </a:lnTo>
                  <a:lnTo>
                    <a:pt x="788" y="245"/>
                  </a:lnTo>
                  <a:close/>
                  <a:moveTo>
                    <a:pt x="799" y="0"/>
                  </a:moveTo>
                  <a:lnTo>
                    <a:pt x="799" y="35"/>
                  </a:lnTo>
                  <a:lnTo>
                    <a:pt x="764" y="35"/>
                  </a:lnTo>
                  <a:lnTo>
                    <a:pt x="764" y="0"/>
                  </a:lnTo>
                  <a:lnTo>
                    <a:pt x="799" y="0"/>
                  </a:lnTo>
                  <a:close/>
                  <a:moveTo>
                    <a:pt x="748" y="110"/>
                  </a:moveTo>
                  <a:lnTo>
                    <a:pt x="748" y="103"/>
                  </a:lnTo>
                  <a:lnTo>
                    <a:pt x="749" y="95"/>
                  </a:lnTo>
                  <a:lnTo>
                    <a:pt x="750" y="89"/>
                  </a:lnTo>
                  <a:lnTo>
                    <a:pt x="752" y="82"/>
                  </a:lnTo>
                  <a:lnTo>
                    <a:pt x="754" y="77"/>
                  </a:lnTo>
                  <a:lnTo>
                    <a:pt x="757" y="72"/>
                  </a:lnTo>
                  <a:lnTo>
                    <a:pt x="760" y="67"/>
                  </a:lnTo>
                  <a:lnTo>
                    <a:pt x="764" y="62"/>
                  </a:lnTo>
                  <a:lnTo>
                    <a:pt x="768" y="58"/>
                  </a:lnTo>
                  <a:lnTo>
                    <a:pt x="772" y="55"/>
                  </a:lnTo>
                  <a:lnTo>
                    <a:pt x="778" y="53"/>
                  </a:lnTo>
                  <a:lnTo>
                    <a:pt x="783" y="50"/>
                  </a:lnTo>
                  <a:lnTo>
                    <a:pt x="788" y="48"/>
                  </a:lnTo>
                  <a:lnTo>
                    <a:pt x="795" y="47"/>
                  </a:lnTo>
                  <a:lnTo>
                    <a:pt x="802" y="45"/>
                  </a:lnTo>
                  <a:lnTo>
                    <a:pt x="809" y="45"/>
                  </a:lnTo>
                  <a:lnTo>
                    <a:pt x="816" y="45"/>
                  </a:lnTo>
                  <a:lnTo>
                    <a:pt x="823" y="47"/>
                  </a:lnTo>
                  <a:lnTo>
                    <a:pt x="829" y="48"/>
                  </a:lnTo>
                  <a:lnTo>
                    <a:pt x="835" y="50"/>
                  </a:lnTo>
                  <a:lnTo>
                    <a:pt x="840" y="53"/>
                  </a:lnTo>
                  <a:lnTo>
                    <a:pt x="845" y="55"/>
                  </a:lnTo>
                  <a:lnTo>
                    <a:pt x="851" y="58"/>
                  </a:lnTo>
                  <a:lnTo>
                    <a:pt x="854" y="62"/>
                  </a:lnTo>
                  <a:lnTo>
                    <a:pt x="858" y="67"/>
                  </a:lnTo>
                  <a:lnTo>
                    <a:pt x="861" y="72"/>
                  </a:lnTo>
                  <a:lnTo>
                    <a:pt x="863" y="77"/>
                  </a:lnTo>
                  <a:lnTo>
                    <a:pt x="867" y="82"/>
                  </a:lnTo>
                  <a:lnTo>
                    <a:pt x="868" y="89"/>
                  </a:lnTo>
                  <a:lnTo>
                    <a:pt x="869" y="95"/>
                  </a:lnTo>
                  <a:lnTo>
                    <a:pt x="870" y="103"/>
                  </a:lnTo>
                  <a:lnTo>
                    <a:pt x="870" y="110"/>
                  </a:lnTo>
                  <a:lnTo>
                    <a:pt x="870" y="243"/>
                  </a:lnTo>
                  <a:lnTo>
                    <a:pt x="870" y="251"/>
                  </a:lnTo>
                  <a:lnTo>
                    <a:pt x="869" y="257"/>
                  </a:lnTo>
                  <a:lnTo>
                    <a:pt x="868" y="264"/>
                  </a:lnTo>
                  <a:lnTo>
                    <a:pt x="867" y="271"/>
                  </a:lnTo>
                  <a:lnTo>
                    <a:pt x="863" y="276"/>
                  </a:lnTo>
                  <a:lnTo>
                    <a:pt x="861" y="281"/>
                  </a:lnTo>
                  <a:lnTo>
                    <a:pt x="858" y="287"/>
                  </a:lnTo>
                  <a:lnTo>
                    <a:pt x="854" y="291"/>
                  </a:lnTo>
                  <a:lnTo>
                    <a:pt x="851" y="294"/>
                  </a:lnTo>
                  <a:lnTo>
                    <a:pt x="845" y="298"/>
                  </a:lnTo>
                  <a:lnTo>
                    <a:pt x="840" y="300"/>
                  </a:lnTo>
                  <a:lnTo>
                    <a:pt x="835" y="302"/>
                  </a:lnTo>
                  <a:lnTo>
                    <a:pt x="829" y="305"/>
                  </a:lnTo>
                  <a:lnTo>
                    <a:pt x="823" y="307"/>
                  </a:lnTo>
                  <a:lnTo>
                    <a:pt x="816" y="307"/>
                  </a:lnTo>
                  <a:lnTo>
                    <a:pt x="809" y="308"/>
                  </a:lnTo>
                  <a:lnTo>
                    <a:pt x="802" y="307"/>
                  </a:lnTo>
                  <a:lnTo>
                    <a:pt x="795" y="307"/>
                  </a:lnTo>
                  <a:lnTo>
                    <a:pt x="788" y="305"/>
                  </a:lnTo>
                  <a:lnTo>
                    <a:pt x="783" y="302"/>
                  </a:lnTo>
                  <a:lnTo>
                    <a:pt x="778" y="300"/>
                  </a:lnTo>
                  <a:lnTo>
                    <a:pt x="772" y="298"/>
                  </a:lnTo>
                  <a:lnTo>
                    <a:pt x="768" y="294"/>
                  </a:lnTo>
                  <a:lnTo>
                    <a:pt x="764" y="291"/>
                  </a:lnTo>
                  <a:lnTo>
                    <a:pt x="760" y="287"/>
                  </a:lnTo>
                  <a:lnTo>
                    <a:pt x="757" y="281"/>
                  </a:lnTo>
                  <a:lnTo>
                    <a:pt x="754" y="276"/>
                  </a:lnTo>
                  <a:lnTo>
                    <a:pt x="752" y="271"/>
                  </a:lnTo>
                  <a:lnTo>
                    <a:pt x="750" y="264"/>
                  </a:lnTo>
                  <a:lnTo>
                    <a:pt x="749" y="257"/>
                  </a:lnTo>
                  <a:lnTo>
                    <a:pt x="748" y="251"/>
                  </a:lnTo>
                  <a:lnTo>
                    <a:pt x="748" y="243"/>
                  </a:lnTo>
                  <a:lnTo>
                    <a:pt x="748" y="110"/>
                  </a:lnTo>
                  <a:close/>
                  <a:moveTo>
                    <a:pt x="600" y="49"/>
                  </a:moveTo>
                  <a:lnTo>
                    <a:pt x="725" y="49"/>
                  </a:lnTo>
                  <a:lnTo>
                    <a:pt x="725" y="86"/>
                  </a:lnTo>
                  <a:lnTo>
                    <a:pt x="682" y="86"/>
                  </a:lnTo>
                  <a:lnTo>
                    <a:pt x="682" y="305"/>
                  </a:lnTo>
                  <a:lnTo>
                    <a:pt x="642" y="305"/>
                  </a:lnTo>
                  <a:lnTo>
                    <a:pt x="642" y="86"/>
                  </a:lnTo>
                  <a:lnTo>
                    <a:pt x="600" y="86"/>
                  </a:lnTo>
                  <a:lnTo>
                    <a:pt x="600" y="49"/>
                  </a:lnTo>
                  <a:close/>
                  <a:moveTo>
                    <a:pt x="461" y="49"/>
                  </a:moveTo>
                  <a:lnTo>
                    <a:pt x="585" y="49"/>
                  </a:lnTo>
                  <a:lnTo>
                    <a:pt x="585" y="86"/>
                  </a:lnTo>
                  <a:lnTo>
                    <a:pt x="543" y="86"/>
                  </a:lnTo>
                  <a:lnTo>
                    <a:pt x="543" y="305"/>
                  </a:lnTo>
                  <a:lnTo>
                    <a:pt x="503" y="305"/>
                  </a:lnTo>
                  <a:lnTo>
                    <a:pt x="503" y="86"/>
                  </a:lnTo>
                  <a:lnTo>
                    <a:pt x="461" y="86"/>
                  </a:lnTo>
                  <a:lnTo>
                    <a:pt x="461" y="49"/>
                  </a:lnTo>
                  <a:close/>
                  <a:moveTo>
                    <a:pt x="357" y="220"/>
                  </a:moveTo>
                  <a:lnTo>
                    <a:pt x="306" y="49"/>
                  </a:lnTo>
                  <a:lnTo>
                    <a:pt x="348" y="49"/>
                  </a:lnTo>
                  <a:lnTo>
                    <a:pt x="379" y="165"/>
                  </a:lnTo>
                  <a:lnTo>
                    <a:pt x="410" y="49"/>
                  </a:lnTo>
                  <a:lnTo>
                    <a:pt x="448" y="49"/>
                  </a:lnTo>
                  <a:lnTo>
                    <a:pt x="397" y="220"/>
                  </a:lnTo>
                  <a:lnTo>
                    <a:pt x="397" y="305"/>
                  </a:lnTo>
                  <a:lnTo>
                    <a:pt x="357" y="305"/>
                  </a:lnTo>
                  <a:lnTo>
                    <a:pt x="357" y="220"/>
                  </a:lnTo>
                  <a:close/>
                  <a:moveTo>
                    <a:pt x="266" y="0"/>
                  </a:moveTo>
                  <a:lnTo>
                    <a:pt x="266" y="35"/>
                  </a:lnTo>
                  <a:lnTo>
                    <a:pt x="231" y="35"/>
                  </a:lnTo>
                  <a:lnTo>
                    <a:pt x="231" y="0"/>
                  </a:lnTo>
                  <a:lnTo>
                    <a:pt x="266" y="0"/>
                  </a:lnTo>
                  <a:close/>
                  <a:moveTo>
                    <a:pt x="199" y="223"/>
                  </a:moveTo>
                  <a:lnTo>
                    <a:pt x="238" y="223"/>
                  </a:lnTo>
                  <a:lnTo>
                    <a:pt x="219" y="94"/>
                  </a:lnTo>
                  <a:lnTo>
                    <a:pt x="199" y="223"/>
                  </a:lnTo>
                  <a:close/>
                  <a:moveTo>
                    <a:pt x="211" y="0"/>
                  </a:moveTo>
                  <a:lnTo>
                    <a:pt x="211" y="35"/>
                  </a:lnTo>
                  <a:lnTo>
                    <a:pt x="175" y="35"/>
                  </a:lnTo>
                  <a:lnTo>
                    <a:pt x="175" y="0"/>
                  </a:lnTo>
                  <a:lnTo>
                    <a:pt x="211" y="0"/>
                  </a:lnTo>
                  <a:close/>
                  <a:moveTo>
                    <a:pt x="291" y="305"/>
                  </a:moveTo>
                  <a:lnTo>
                    <a:pt x="251" y="305"/>
                  </a:lnTo>
                  <a:lnTo>
                    <a:pt x="244" y="258"/>
                  </a:lnTo>
                  <a:lnTo>
                    <a:pt x="194" y="258"/>
                  </a:lnTo>
                  <a:lnTo>
                    <a:pt x="188" y="305"/>
                  </a:lnTo>
                  <a:lnTo>
                    <a:pt x="151" y="305"/>
                  </a:lnTo>
                  <a:lnTo>
                    <a:pt x="192" y="49"/>
                  </a:lnTo>
                  <a:lnTo>
                    <a:pt x="250" y="49"/>
                  </a:lnTo>
                  <a:lnTo>
                    <a:pt x="291" y="305"/>
                  </a:lnTo>
                  <a:close/>
                  <a:moveTo>
                    <a:pt x="53" y="202"/>
                  </a:moveTo>
                  <a:lnTo>
                    <a:pt x="41" y="226"/>
                  </a:lnTo>
                  <a:lnTo>
                    <a:pt x="41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41" y="49"/>
                  </a:lnTo>
                  <a:lnTo>
                    <a:pt x="41" y="160"/>
                  </a:lnTo>
                  <a:lnTo>
                    <a:pt x="93" y="49"/>
                  </a:lnTo>
                  <a:lnTo>
                    <a:pt x="134" y="49"/>
                  </a:lnTo>
                  <a:lnTo>
                    <a:pt x="78" y="163"/>
                  </a:lnTo>
                  <a:lnTo>
                    <a:pt x="134" y="305"/>
                  </a:lnTo>
                  <a:lnTo>
                    <a:pt x="92" y="305"/>
                  </a:lnTo>
                  <a:lnTo>
                    <a:pt x="5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84145182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9CA59-48BE-4F87-90D0-8E5CD5E365AE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5453893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B2F48D-00C1-4BC2-867C-1EEE22700D83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6736006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EE03E97-1605-4BCE-B1B7-0145D8D14C79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95598481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87C8F6-F464-424E-99BD-B881BCA6CC41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9" name="Round Same Side Corner Rectangle 8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0" name="Freeform 24"/>
            <p:cNvSpPr>
              <a:spLocks noEditPoints="1"/>
            </p:cNvSpPr>
            <p:nvPr userDrawn="1"/>
          </p:nvSpPr>
          <p:spPr bwMode="auto">
            <a:xfrm>
              <a:off x="9011200" y="6428428"/>
              <a:ext cx="1668858" cy="290400"/>
            </a:xfrm>
            <a:custGeom>
              <a:avLst/>
              <a:gdLst>
                <a:gd name="T0" fmla="*/ 1770 w 1770"/>
                <a:gd name="T1" fmla="*/ 305 h 308"/>
                <a:gd name="T2" fmla="*/ 1629 w 1770"/>
                <a:gd name="T3" fmla="*/ 305 h 308"/>
                <a:gd name="T4" fmla="*/ 1524 w 1770"/>
                <a:gd name="T5" fmla="*/ 164 h 308"/>
                <a:gd name="T6" fmla="*/ 1557 w 1770"/>
                <a:gd name="T7" fmla="*/ 158 h 308"/>
                <a:gd name="T8" fmla="*/ 1563 w 1770"/>
                <a:gd name="T9" fmla="*/ 111 h 308"/>
                <a:gd name="T10" fmla="*/ 1559 w 1770"/>
                <a:gd name="T11" fmla="*/ 91 h 308"/>
                <a:gd name="T12" fmla="*/ 1524 w 1770"/>
                <a:gd name="T13" fmla="*/ 86 h 308"/>
                <a:gd name="T14" fmla="*/ 1564 w 1770"/>
                <a:gd name="T15" fmla="*/ 273 h 308"/>
                <a:gd name="T16" fmla="*/ 1558 w 1770"/>
                <a:gd name="T17" fmla="*/ 207 h 308"/>
                <a:gd name="T18" fmla="*/ 1538 w 1770"/>
                <a:gd name="T19" fmla="*/ 200 h 308"/>
                <a:gd name="T20" fmla="*/ 1544 w 1770"/>
                <a:gd name="T21" fmla="*/ 49 h 308"/>
                <a:gd name="T22" fmla="*/ 1577 w 1770"/>
                <a:gd name="T23" fmla="*/ 54 h 308"/>
                <a:gd name="T24" fmla="*/ 1596 w 1770"/>
                <a:gd name="T25" fmla="*/ 72 h 308"/>
                <a:gd name="T26" fmla="*/ 1604 w 1770"/>
                <a:gd name="T27" fmla="*/ 100 h 308"/>
                <a:gd name="T28" fmla="*/ 1600 w 1770"/>
                <a:gd name="T29" fmla="*/ 153 h 308"/>
                <a:gd name="T30" fmla="*/ 1578 w 1770"/>
                <a:gd name="T31" fmla="*/ 180 h 308"/>
                <a:gd name="T32" fmla="*/ 1593 w 1770"/>
                <a:gd name="T33" fmla="*/ 190 h 308"/>
                <a:gd name="T34" fmla="*/ 1604 w 1770"/>
                <a:gd name="T35" fmla="*/ 224 h 308"/>
                <a:gd name="T36" fmla="*/ 1607 w 1770"/>
                <a:gd name="T37" fmla="*/ 297 h 308"/>
                <a:gd name="T38" fmla="*/ 1384 w 1770"/>
                <a:gd name="T39" fmla="*/ 94 h 308"/>
                <a:gd name="T40" fmla="*/ 1359 w 1770"/>
                <a:gd name="T41" fmla="*/ 258 h 308"/>
                <a:gd name="T42" fmla="*/ 1456 w 1770"/>
                <a:gd name="T43" fmla="*/ 305 h 308"/>
                <a:gd name="T44" fmla="*/ 1208 w 1770"/>
                <a:gd name="T45" fmla="*/ 305 h 308"/>
                <a:gd name="T46" fmla="*/ 1108 w 1770"/>
                <a:gd name="T47" fmla="*/ 223 h 308"/>
                <a:gd name="T48" fmla="*/ 1113 w 1770"/>
                <a:gd name="T49" fmla="*/ 258 h 308"/>
                <a:gd name="T50" fmla="*/ 1119 w 1770"/>
                <a:gd name="T51" fmla="*/ 49 h 308"/>
                <a:gd name="T52" fmla="*/ 975 w 1770"/>
                <a:gd name="T53" fmla="*/ 86 h 308"/>
                <a:gd name="T54" fmla="*/ 893 w 1770"/>
                <a:gd name="T55" fmla="*/ 49 h 308"/>
                <a:gd name="T56" fmla="*/ 854 w 1770"/>
                <a:gd name="T57" fmla="*/ 0 h 308"/>
                <a:gd name="T58" fmla="*/ 791 w 1770"/>
                <a:gd name="T59" fmla="*/ 261 h 308"/>
                <a:gd name="T60" fmla="*/ 809 w 1770"/>
                <a:gd name="T61" fmla="*/ 271 h 308"/>
                <a:gd name="T62" fmla="*/ 826 w 1770"/>
                <a:gd name="T63" fmla="*/ 261 h 308"/>
                <a:gd name="T64" fmla="*/ 829 w 1770"/>
                <a:gd name="T65" fmla="*/ 102 h 308"/>
                <a:gd name="T66" fmla="*/ 821 w 1770"/>
                <a:gd name="T67" fmla="*/ 86 h 308"/>
                <a:gd name="T68" fmla="*/ 800 w 1770"/>
                <a:gd name="T69" fmla="*/ 84 h 308"/>
                <a:gd name="T70" fmla="*/ 788 w 1770"/>
                <a:gd name="T71" fmla="*/ 102 h 308"/>
                <a:gd name="T72" fmla="*/ 764 w 1770"/>
                <a:gd name="T73" fmla="*/ 35 h 308"/>
                <a:gd name="T74" fmla="*/ 749 w 1770"/>
                <a:gd name="T75" fmla="*/ 95 h 308"/>
                <a:gd name="T76" fmla="*/ 760 w 1770"/>
                <a:gd name="T77" fmla="*/ 67 h 308"/>
                <a:gd name="T78" fmla="*/ 783 w 1770"/>
                <a:gd name="T79" fmla="*/ 50 h 308"/>
                <a:gd name="T80" fmla="*/ 816 w 1770"/>
                <a:gd name="T81" fmla="*/ 45 h 308"/>
                <a:gd name="T82" fmla="*/ 845 w 1770"/>
                <a:gd name="T83" fmla="*/ 55 h 308"/>
                <a:gd name="T84" fmla="*/ 863 w 1770"/>
                <a:gd name="T85" fmla="*/ 77 h 308"/>
                <a:gd name="T86" fmla="*/ 870 w 1770"/>
                <a:gd name="T87" fmla="*/ 110 h 308"/>
                <a:gd name="T88" fmla="*/ 867 w 1770"/>
                <a:gd name="T89" fmla="*/ 271 h 308"/>
                <a:gd name="T90" fmla="*/ 851 w 1770"/>
                <a:gd name="T91" fmla="*/ 294 h 308"/>
                <a:gd name="T92" fmla="*/ 823 w 1770"/>
                <a:gd name="T93" fmla="*/ 307 h 308"/>
                <a:gd name="T94" fmla="*/ 788 w 1770"/>
                <a:gd name="T95" fmla="*/ 305 h 308"/>
                <a:gd name="T96" fmla="*/ 764 w 1770"/>
                <a:gd name="T97" fmla="*/ 291 h 308"/>
                <a:gd name="T98" fmla="*/ 750 w 1770"/>
                <a:gd name="T99" fmla="*/ 264 h 308"/>
                <a:gd name="T100" fmla="*/ 600 w 1770"/>
                <a:gd name="T101" fmla="*/ 49 h 308"/>
                <a:gd name="T102" fmla="*/ 642 w 1770"/>
                <a:gd name="T103" fmla="*/ 305 h 308"/>
                <a:gd name="T104" fmla="*/ 585 w 1770"/>
                <a:gd name="T105" fmla="*/ 49 h 308"/>
                <a:gd name="T106" fmla="*/ 503 w 1770"/>
                <a:gd name="T107" fmla="*/ 86 h 308"/>
                <a:gd name="T108" fmla="*/ 348 w 1770"/>
                <a:gd name="T109" fmla="*/ 49 h 308"/>
                <a:gd name="T110" fmla="*/ 397 w 1770"/>
                <a:gd name="T111" fmla="*/ 305 h 308"/>
                <a:gd name="T112" fmla="*/ 231 w 1770"/>
                <a:gd name="T113" fmla="*/ 35 h 308"/>
                <a:gd name="T114" fmla="*/ 219 w 1770"/>
                <a:gd name="T115" fmla="*/ 94 h 308"/>
                <a:gd name="T116" fmla="*/ 175 w 1770"/>
                <a:gd name="T117" fmla="*/ 0 h 308"/>
                <a:gd name="T118" fmla="*/ 194 w 1770"/>
                <a:gd name="T119" fmla="*/ 258 h 308"/>
                <a:gd name="T120" fmla="*/ 291 w 1770"/>
                <a:gd name="T121" fmla="*/ 305 h 308"/>
                <a:gd name="T122" fmla="*/ 0 w 1770"/>
                <a:gd name="T123" fmla="*/ 49 h 308"/>
                <a:gd name="T124" fmla="*/ 78 w 1770"/>
                <a:gd name="T125" fmla="*/ 16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0" h="308">
                  <a:moveTo>
                    <a:pt x="1679" y="223"/>
                  </a:moveTo>
                  <a:lnTo>
                    <a:pt x="1717" y="223"/>
                  </a:lnTo>
                  <a:lnTo>
                    <a:pt x="1698" y="94"/>
                  </a:lnTo>
                  <a:lnTo>
                    <a:pt x="1679" y="223"/>
                  </a:lnTo>
                  <a:close/>
                  <a:moveTo>
                    <a:pt x="1770" y="305"/>
                  </a:moveTo>
                  <a:lnTo>
                    <a:pt x="1729" y="305"/>
                  </a:lnTo>
                  <a:lnTo>
                    <a:pt x="1722" y="258"/>
                  </a:lnTo>
                  <a:lnTo>
                    <a:pt x="1673" y="258"/>
                  </a:lnTo>
                  <a:lnTo>
                    <a:pt x="1666" y="305"/>
                  </a:lnTo>
                  <a:lnTo>
                    <a:pt x="1629" y="305"/>
                  </a:lnTo>
                  <a:lnTo>
                    <a:pt x="1670" y="49"/>
                  </a:lnTo>
                  <a:lnTo>
                    <a:pt x="1729" y="49"/>
                  </a:lnTo>
                  <a:lnTo>
                    <a:pt x="1770" y="305"/>
                  </a:lnTo>
                  <a:close/>
                  <a:moveTo>
                    <a:pt x="1524" y="86"/>
                  </a:moveTo>
                  <a:lnTo>
                    <a:pt x="1524" y="164"/>
                  </a:lnTo>
                  <a:lnTo>
                    <a:pt x="1540" y="164"/>
                  </a:lnTo>
                  <a:lnTo>
                    <a:pt x="1545" y="163"/>
                  </a:lnTo>
                  <a:lnTo>
                    <a:pt x="1550" y="163"/>
                  </a:lnTo>
                  <a:lnTo>
                    <a:pt x="1554" y="161"/>
                  </a:lnTo>
                  <a:lnTo>
                    <a:pt x="1557" y="158"/>
                  </a:lnTo>
                  <a:lnTo>
                    <a:pt x="1560" y="154"/>
                  </a:lnTo>
                  <a:lnTo>
                    <a:pt x="1562" y="149"/>
                  </a:lnTo>
                  <a:lnTo>
                    <a:pt x="1563" y="144"/>
                  </a:lnTo>
                  <a:lnTo>
                    <a:pt x="1563" y="136"/>
                  </a:lnTo>
                  <a:lnTo>
                    <a:pt x="1563" y="111"/>
                  </a:lnTo>
                  <a:lnTo>
                    <a:pt x="1563" y="105"/>
                  </a:lnTo>
                  <a:lnTo>
                    <a:pt x="1562" y="99"/>
                  </a:lnTo>
                  <a:lnTo>
                    <a:pt x="1562" y="97"/>
                  </a:lnTo>
                  <a:lnTo>
                    <a:pt x="1561" y="95"/>
                  </a:lnTo>
                  <a:lnTo>
                    <a:pt x="1559" y="91"/>
                  </a:lnTo>
                  <a:lnTo>
                    <a:pt x="1556" y="89"/>
                  </a:lnTo>
                  <a:lnTo>
                    <a:pt x="1553" y="87"/>
                  </a:lnTo>
                  <a:lnTo>
                    <a:pt x="1549" y="86"/>
                  </a:lnTo>
                  <a:lnTo>
                    <a:pt x="1543" y="86"/>
                  </a:lnTo>
                  <a:lnTo>
                    <a:pt x="1524" y="86"/>
                  </a:lnTo>
                  <a:close/>
                  <a:moveTo>
                    <a:pt x="1568" y="305"/>
                  </a:moveTo>
                  <a:lnTo>
                    <a:pt x="1567" y="299"/>
                  </a:lnTo>
                  <a:lnTo>
                    <a:pt x="1566" y="294"/>
                  </a:lnTo>
                  <a:lnTo>
                    <a:pt x="1564" y="286"/>
                  </a:lnTo>
                  <a:lnTo>
                    <a:pt x="1564" y="273"/>
                  </a:lnTo>
                  <a:lnTo>
                    <a:pt x="1564" y="233"/>
                  </a:lnTo>
                  <a:lnTo>
                    <a:pt x="1563" y="224"/>
                  </a:lnTo>
                  <a:lnTo>
                    <a:pt x="1562" y="218"/>
                  </a:lnTo>
                  <a:lnTo>
                    <a:pt x="1560" y="212"/>
                  </a:lnTo>
                  <a:lnTo>
                    <a:pt x="1558" y="207"/>
                  </a:lnTo>
                  <a:lnTo>
                    <a:pt x="1554" y="204"/>
                  </a:lnTo>
                  <a:lnTo>
                    <a:pt x="1552" y="203"/>
                  </a:lnTo>
                  <a:lnTo>
                    <a:pt x="1550" y="202"/>
                  </a:lnTo>
                  <a:lnTo>
                    <a:pt x="1544" y="201"/>
                  </a:lnTo>
                  <a:lnTo>
                    <a:pt x="1538" y="200"/>
                  </a:lnTo>
                  <a:lnTo>
                    <a:pt x="1524" y="200"/>
                  </a:lnTo>
                  <a:lnTo>
                    <a:pt x="1524" y="305"/>
                  </a:lnTo>
                  <a:lnTo>
                    <a:pt x="1484" y="305"/>
                  </a:lnTo>
                  <a:lnTo>
                    <a:pt x="1484" y="49"/>
                  </a:lnTo>
                  <a:lnTo>
                    <a:pt x="1544" y="49"/>
                  </a:lnTo>
                  <a:lnTo>
                    <a:pt x="1552" y="49"/>
                  </a:lnTo>
                  <a:lnTo>
                    <a:pt x="1559" y="50"/>
                  </a:lnTo>
                  <a:lnTo>
                    <a:pt x="1566" y="51"/>
                  </a:lnTo>
                  <a:lnTo>
                    <a:pt x="1572" y="52"/>
                  </a:lnTo>
                  <a:lnTo>
                    <a:pt x="1577" y="54"/>
                  </a:lnTo>
                  <a:lnTo>
                    <a:pt x="1581" y="57"/>
                  </a:lnTo>
                  <a:lnTo>
                    <a:pt x="1586" y="60"/>
                  </a:lnTo>
                  <a:lnTo>
                    <a:pt x="1590" y="63"/>
                  </a:lnTo>
                  <a:lnTo>
                    <a:pt x="1593" y="67"/>
                  </a:lnTo>
                  <a:lnTo>
                    <a:pt x="1596" y="72"/>
                  </a:lnTo>
                  <a:lnTo>
                    <a:pt x="1598" y="76"/>
                  </a:lnTo>
                  <a:lnTo>
                    <a:pt x="1600" y="81"/>
                  </a:lnTo>
                  <a:lnTo>
                    <a:pt x="1603" y="88"/>
                  </a:lnTo>
                  <a:lnTo>
                    <a:pt x="1604" y="93"/>
                  </a:lnTo>
                  <a:lnTo>
                    <a:pt x="1604" y="100"/>
                  </a:lnTo>
                  <a:lnTo>
                    <a:pt x="1604" y="108"/>
                  </a:lnTo>
                  <a:lnTo>
                    <a:pt x="1604" y="128"/>
                  </a:lnTo>
                  <a:lnTo>
                    <a:pt x="1604" y="137"/>
                  </a:lnTo>
                  <a:lnTo>
                    <a:pt x="1603" y="146"/>
                  </a:lnTo>
                  <a:lnTo>
                    <a:pt x="1600" y="153"/>
                  </a:lnTo>
                  <a:lnTo>
                    <a:pt x="1597" y="160"/>
                  </a:lnTo>
                  <a:lnTo>
                    <a:pt x="1594" y="166"/>
                  </a:lnTo>
                  <a:lnTo>
                    <a:pt x="1590" y="171"/>
                  </a:lnTo>
                  <a:lnTo>
                    <a:pt x="1584" y="176"/>
                  </a:lnTo>
                  <a:lnTo>
                    <a:pt x="1578" y="180"/>
                  </a:lnTo>
                  <a:lnTo>
                    <a:pt x="1581" y="181"/>
                  </a:lnTo>
                  <a:lnTo>
                    <a:pt x="1585" y="183"/>
                  </a:lnTo>
                  <a:lnTo>
                    <a:pt x="1588" y="185"/>
                  </a:lnTo>
                  <a:lnTo>
                    <a:pt x="1590" y="187"/>
                  </a:lnTo>
                  <a:lnTo>
                    <a:pt x="1593" y="190"/>
                  </a:lnTo>
                  <a:lnTo>
                    <a:pt x="1595" y="194"/>
                  </a:lnTo>
                  <a:lnTo>
                    <a:pt x="1598" y="200"/>
                  </a:lnTo>
                  <a:lnTo>
                    <a:pt x="1601" y="207"/>
                  </a:lnTo>
                  <a:lnTo>
                    <a:pt x="1603" y="216"/>
                  </a:lnTo>
                  <a:lnTo>
                    <a:pt x="1604" y="224"/>
                  </a:lnTo>
                  <a:lnTo>
                    <a:pt x="1605" y="234"/>
                  </a:lnTo>
                  <a:lnTo>
                    <a:pt x="1605" y="273"/>
                  </a:lnTo>
                  <a:lnTo>
                    <a:pt x="1605" y="282"/>
                  </a:lnTo>
                  <a:lnTo>
                    <a:pt x="1605" y="290"/>
                  </a:lnTo>
                  <a:lnTo>
                    <a:pt x="1607" y="297"/>
                  </a:lnTo>
                  <a:lnTo>
                    <a:pt x="1609" y="305"/>
                  </a:lnTo>
                  <a:lnTo>
                    <a:pt x="1568" y="305"/>
                  </a:lnTo>
                  <a:close/>
                  <a:moveTo>
                    <a:pt x="1365" y="223"/>
                  </a:moveTo>
                  <a:lnTo>
                    <a:pt x="1403" y="223"/>
                  </a:lnTo>
                  <a:lnTo>
                    <a:pt x="1384" y="94"/>
                  </a:lnTo>
                  <a:lnTo>
                    <a:pt x="1365" y="223"/>
                  </a:lnTo>
                  <a:close/>
                  <a:moveTo>
                    <a:pt x="1456" y="305"/>
                  </a:moveTo>
                  <a:lnTo>
                    <a:pt x="1415" y="305"/>
                  </a:lnTo>
                  <a:lnTo>
                    <a:pt x="1409" y="258"/>
                  </a:lnTo>
                  <a:lnTo>
                    <a:pt x="1359" y="258"/>
                  </a:lnTo>
                  <a:lnTo>
                    <a:pt x="1352" y="305"/>
                  </a:lnTo>
                  <a:lnTo>
                    <a:pt x="1315" y="305"/>
                  </a:lnTo>
                  <a:lnTo>
                    <a:pt x="1356" y="49"/>
                  </a:lnTo>
                  <a:lnTo>
                    <a:pt x="1415" y="49"/>
                  </a:lnTo>
                  <a:lnTo>
                    <a:pt x="1456" y="305"/>
                  </a:lnTo>
                  <a:close/>
                  <a:moveTo>
                    <a:pt x="1240" y="257"/>
                  </a:moveTo>
                  <a:lnTo>
                    <a:pt x="1270" y="49"/>
                  </a:lnTo>
                  <a:lnTo>
                    <a:pt x="1307" y="49"/>
                  </a:lnTo>
                  <a:lnTo>
                    <a:pt x="1268" y="305"/>
                  </a:lnTo>
                  <a:lnTo>
                    <a:pt x="1208" y="305"/>
                  </a:lnTo>
                  <a:lnTo>
                    <a:pt x="1169" y="49"/>
                  </a:lnTo>
                  <a:lnTo>
                    <a:pt x="1209" y="49"/>
                  </a:lnTo>
                  <a:lnTo>
                    <a:pt x="1240" y="257"/>
                  </a:lnTo>
                  <a:close/>
                  <a:moveTo>
                    <a:pt x="1068" y="223"/>
                  </a:moveTo>
                  <a:lnTo>
                    <a:pt x="1108" y="223"/>
                  </a:lnTo>
                  <a:lnTo>
                    <a:pt x="1089" y="94"/>
                  </a:lnTo>
                  <a:lnTo>
                    <a:pt x="1068" y="223"/>
                  </a:lnTo>
                  <a:close/>
                  <a:moveTo>
                    <a:pt x="1160" y="305"/>
                  </a:moveTo>
                  <a:lnTo>
                    <a:pt x="1120" y="305"/>
                  </a:lnTo>
                  <a:lnTo>
                    <a:pt x="1113" y="258"/>
                  </a:lnTo>
                  <a:lnTo>
                    <a:pt x="1063" y="258"/>
                  </a:lnTo>
                  <a:lnTo>
                    <a:pt x="1057" y="305"/>
                  </a:lnTo>
                  <a:lnTo>
                    <a:pt x="1020" y="305"/>
                  </a:lnTo>
                  <a:lnTo>
                    <a:pt x="1061" y="49"/>
                  </a:lnTo>
                  <a:lnTo>
                    <a:pt x="1119" y="49"/>
                  </a:lnTo>
                  <a:lnTo>
                    <a:pt x="1160" y="305"/>
                  </a:lnTo>
                  <a:close/>
                  <a:moveTo>
                    <a:pt x="893" y="49"/>
                  </a:moveTo>
                  <a:lnTo>
                    <a:pt x="1018" y="49"/>
                  </a:lnTo>
                  <a:lnTo>
                    <a:pt x="1018" y="86"/>
                  </a:lnTo>
                  <a:lnTo>
                    <a:pt x="975" y="86"/>
                  </a:lnTo>
                  <a:lnTo>
                    <a:pt x="975" y="305"/>
                  </a:lnTo>
                  <a:lnTo>
                    <a:pt x="935" y="305"/>
                  </a:lnTo>
                  <a:lnTo>
                    <a:pt x="935" y="86"/>
                  </a:lnTo>
                  <a:lnTo>
                    <a:pt x="893" y="86"/>
                  </a:lnTo>
                  <a:lnTo>
                    <a:pt x="893" y="49"/>
                  </a:lnTo>
                  <a:close/>
                  <a:moveTo>
                    <a:pt x="854" y="0"/>
                  </a:moveTo>
                  <a:lnTo>
                    <a:pt x="854" y="35"/>
                  </a:lnTo>
                  <a:lnTo>
                    <a:pt x="819" y="35"/>
                  </a:lnTo>
                  <a:lnTo>
                    <a:pt x="819" y="0"/>
                  </a:lnTo>
                  <a:lnTo>
                    <a:pt x="854" y="0"/>
                  </a:lnTo>
                  <a:close/>
                  <a:moveTo>
                    <a:pt x="788" y="245"/>
                  </a:moveTo>
                  <a:lnTo>
                    <a:pt x="788" y="252"/>
                  </a:lnTo>
                  <a:lnTo>
                    <a:pt x="789" y="257"/>
                  </a:lnTo>
                  <a:lnTo>
                    <a:pt x="790" y="259"/>
                  </a:lnTo>
                  <a:lnTo>
                    <a:pt x="791" y="261"/>
                  </a:lnTo>
                  <a:lnTo>
                    <a:pt x="794" y="265"/>
                  </a:lnTo>
                  <a:lnTo>
                    <a:pt x="797" y="268"/>
                  </a:lnTo>
                  <a:lnTo>
                    <a:pt x="800" y="270"/>
                  </a:lnTo>
                  <a:lnTo>
                    <a:pt x="804" y="271"/>
                  </a:lnTo>
                  <a:lnTo>
                    <a:pt x="809" y="271"/>
                  </a:lnTo>
                  <a:lnTo>
                    <a:pt x="814" y="271"/>
                  </a:lnTo>
                  <a:lnTo>
                    <a:pt x="818" y="270"/>
                  </a:lnTo>
                  <a:lnTo>
                    <a:pt x="821" y="268"/>
                  </a:lnTo>
                  <a:lnTo>
                    <a:pt x="824" y="265"/>
                  </a:lnTo>
                  <a:lnTo>
                    <a:pt x="826" y="261"/>
                  </a:lnTo>
                  <a:lnTo>
                    <a:pt x="828" y="257"/>
                  </a:lnTo>
                  <a:lnTo>
                    <a:pt x="829" y="252"/>
                  </a:lnTo>
                  <a:lnTo>
                    <a:pt x="829" y="245"/>
                  </a:lnTo>
                  <a:lnTo>
                    <a:pt x="829" y="108"/>
                  </a:lnTo>
                  <a:lnTo>
                    <a:pt x="829" y="102"/>
                  </a:lnTo>
                  <a:lnTo>
                    <a:pt x="828" y="96"/>
                  </a:lnTo>
                  <a:lnTo>
                    <a:pt x="827" y="93"/>
                  </a:lnTo>
                  <a:lnTo>
                    <a:pt x="826" y="91"/>
                  </a:lnTo>
                  <a:lnTo>
                    <a:pt x="824" y="88"/>
                  </a:lnTo>
                  <a:lnTo>
                    <a:pt x="821" y="86"/>
                  </a:lnTo>
                  <a:lnTo>
                    <a:pt x="818" y="84"/>
                  </a:lnTo>
                  <a:lnTo>
                    <a:pt x="814" y="82"/>
                  </a:lnTo>
                  <a:lnTo>
                    <a:pt x="809" y="82"/>
                  </a:lnTo>
                  <a:lnTo>
                    <a:pt x="804" y="82"/>
                  </a:lnTo>
                  <a:lnTo>
                    <a:pt x="800" y="84"/>
                  </a:lnTo>
                  <a:lnTo>
                    <a:pt x="797" y="86"/>
                  </a:lnTo>
                  <a:lnTo>
                    <a:pt x="794" y="88"/>
                  </a:lnTo>
                  <a:lnTo>
                    <a:pt x="791" y="91"/>
                  </a:lnTo>
                  <a:lnTo>
                    <a:pt x="789" y="96"/>
                  </a:lnTo>
                  <a:lnTo>
                    <a:pt x="788" y="102"/>
                  </a:lnTo>
                  <a:lnTo>
                    <a:pt x="788" y="108"/>
                  </a:lnTo>
                  <a:lnTo>
                    <a:pt x="788" y="245"/>
                  </a:lnTo>
                  <a:close/>
                  <a:moveTo>
                    <a:pt x="799" y="0"/>
                  </a:moveTo>
                  <a:lnTo>
                    <a:pt x="799" y="35"/>
                  </a:lnTo>
                  <a:lnTo>
                    <a:pt x="764" y="35"/>
                  </a:lnTo>
                  <a:lnTo>
                    <a:pt x="764" y="0"/>
                  </a:lnTo>
                  <a:lnTo>
                    <a:pt x="799" y="0"/>
                  </a:lnTo>
                  <a:close/>
                  <a:moveTo>
                    <a:pt x="748" y="110"/>
                  </a:moveTo>
                  <a:lnTo>
                    <a:pt x="748" y="103"/>
                  </a:lnTo>
                  <a:lnTo>
                    <a:pt x="749" y="95"/>
                  </a:lnTo>
                  <a:lnTo>
                    <a:pt x="750" y="89"/>
                  </a:lnTo>
                  <a:lnTo>
                    <a:pt x="752" y="82"/>
                  </a:lnTo>
                  <a:lnTo>
                    <a:pt x="754" y="77"/>
                  </a:lnTo>
                  <a:lnTo>
                    <a:pt x="757" y="72"/>
                  </a:lnTo>
                  <a:lnTo>
                    <a:pt x="760" y="67"/>
                  </a:lnTo>
                  <a:lnTo>
                    <a:pt x="764" y="62"/>
                  </a:lnTo>
                  <a:lnTo>
                    <a:pt x="768" y="58"/>
                  </a:lnTo>
                  <a:lnTo>
                    <a:pt x="772" y="55"/>
                  </a:lnTo>
                  <a:lnTo>
                    <a:pt x="778" y="53"/>
                  </a:lnTo>
                  <a:lnTo>
                    <a:pt x="783" y="50"/>
                  </a:lnTo>
                  <a:lnTo>
                    <a:pt x="788" y="48"/>
                  </a:lnTo>
                  <a:lnTo>
                    <a:pt x="795" y="47"/>
                  </a:lnTo>
                  <a:lnTo>
                    <a:pt x="802" y="45"/>
                  </a:lnTo>
                  <a:lnTo>
                    <a:pt x="809" y="45"/>
                  </a:lnTo>
                  <a:lnTo>
                    <a:pt x="816" y="45"/>
                  </a:lnTo>
                  <a:lnTo>
                    <a:pt x="823" y="47"/>
                  </a:lnTo>
                  <a:lnTo>
                    <a:pt x="829" y="48"/>
                  </a:lnTo>
                  <a:lnTo>
                    <a:pt x="835" y="50"/>
                  </a:lnTo>
                  <a:lnTo>
                    <a:pt x="840" y="53"/>
                  </a:lnTo>
                  <a:lnTo>
                    <a:pt x="845" y="55"/>
                  </a:lnTo>
                  <a:lnTo>
                    <a:pt x="851" y="58"/>
                  </a:lnTo>
                  <a:lnTo>
                    <a:pt x="854" y="62"/>
                  </a:lnTo>
                  <a:lnTo>
                    <a:pt x="858" y="67"/>
                  </a:lnTo>
                  <a:lnTo>
                    <a:pt x="861" y="72"/>
                  </a:lnTo>
                  <a:lnTo>
                    <a:pt x="863" y="77"/>
                  </a:lnTo>
                  <a:lnTo>
                    <a:pt x="867" y="82"/>
                  </a:lnTo>
                  <a:lnTo>
                    <a:pt x="868" y="89"/>
                  </a:lnTo>
                  <a:lnTo>
                    <a:pt x="869" y="95"/>
                  </a:lnTo>
                  <a:lnTo>
                    <a:pt x="870" y="103"/>
                  </a:lnTo>
                  <a:lnTo>
                    <a:pt x="870" y="110"/>
                  </a:lnTo>
                  <a:lnTo>
                    <a:pt x="870" y="243"/>
                  </a:lnTo>
                  <a:lnTo>
                    <a:pt x="870" y="251"/>
                  </a:lnTo>
                  <a:lnTo>
                    <a:pt x="869" y="257"/>
                  </a:lnTo>
                  <a:lnTo>
                    <a:pt x="868" y="264"/>
                  </a:lnTo>
                  <a:lnTo>
                    <a:pt x="867" y="271"/>
                  </a:lnTo>
                  <a:lnTo>
                    <a:pt x="863" y="276"/>
                  </a:lnTo>
                  <a:lnTo>
                    <a:pt x="861" y="281"/>
                  </a:lnTo>
                  <a:lnTo>
                    <a:pt x="858" y="287"/>
                  </a:lnTo>
                  <a:lnTo>
                    <a:pt x="854" y="291"/>
                  </a:lnTo>
                  <a:lnTo>
                    <a:pt x="851" y="294"/>
                  </a:lnTo>
                  <a:lnTo>
                    <a:pt x="845" y="298"/>
                  </a:lnTo>
                  <a:lnTo>
                    <a:pt x="840" y="300"/>
                  </a:lnTo>
                  <a:lnTo>
                    <a:pt x="835" y="302"/>
                  </a:lnTo>
                  <a:lnTo>
                    <a:pt x="829" y="305"/>
                  </a:lnTo>
                  <a:lnTo>
                    <a:pt x="823" y="307"/>
                  </a:lnTo>
                  <a:lnTo>
                    <a:pt x="816" y="307"/>
                  </a:lnTo>
                  <a:lnTo>
                    <a:pt x="809" y="308"/>
                  </a:lnTo>
                  <a:lnTo>
                    <a:pt x="802" y="307"/>
                  </a:lnTo>
                  <a:lnTo>
                    <a:pt x="795" y="307"/>
                  </a:lnTo>
                  <a:lnTo>
                    <a:pt x="788" y="305"/>
                  </a:lnTo>
                  <a:lnTo>
                    <a:pt x="783" y="302"/>
                  </a:lnTo>
                  <a:lnTo>
                    <a:pt x="778" y="300"/>
                  </a:lnTo>
                  <a:lnTo>
                    <a:pt x="772" y="298"/>
                  </a:lnTo>
                  <a:lnTo>
                    <a:pt x="768" y="294"/>
                  </a:lnTo>
                  <a:lnTo>
                    <a:pt x="764" y="291"/>
                  </a:lnTo>
                  <a:lnTo>
                    <a:pt x="760" y="287"/>
                  </a:lnTo>
                  <a:lnTo>
                    <a:pt x="757" y="281"/>
                  </a:lnTo>
                  <a:lnTo>
                    <a:pt x="754" y="276"/>
                  </a:lnTo>
                  <a:lnTo>
                    <a:pt x="752" y="271"/>
                  </a:lnTo>
                  <a:lnTo>
                    <a:pt x="750" y="264"/>
                  </a:lnTo>
                  <a:lnTo>
                    <a:pt x="749" y="257"/>
                  </a:lnTo>
                  <a:lnTo>
                    <a:pt x="748" y="251"/>
                  </a:lnTo>
                  <a:lnTo>
                    <a:pt x="748" y="243"/>
                  </a:lnTo>
                  <a:lnTo>
                    <a:pt x="748" y="110"/>
                  </a:lnTo>
                  <a:close/>
                  <a:moveTo>
                    <a:pt x="600" y="49"/>
                  </a:moveTo>
                  <a:lnTo>
                    <a:pt x="725" y="49"/>
                  </a:lnTo>
                  <a:lnTo>
                    <a:pt x="725" y="86"/>
                  </a:lnTo>
                  <a:lnTo>
                    <a:pt x="682" y="86"/>
                  </a:lnTo>
                  <a:lnTo>
                    <a:pt x="682" y="305"/>
                  </a:lnTo>
                  <a:lnTo>
                    <a:pt x="642" y="305"/>
                  </a:lnTo>
                  <a:lnTo>
                    <a:pt x="642" y="86"/>
                  </a:lnTo>
                  <a:lnTo>
                    <a:pt x="600" y="86"/>
                  </a:lnTo>
                  <a:lnTo>
                    <a:pt x="600" y="49"/>
                  </a:lnTo>
                  <a:close/>
                  <a:moveTo>
                    <a:pt x="461" y="49"/>
                  </a:moveTo>
                  <a:lnTo>
                    <a:pt x="585" y="49"/>
                  </a:lnTo>
                  <a:lnTo>
                    <a:pt x="585" y="86"/>
                  </a:lnTo>
                  <a:lnTo>
                    <a:pt x="543" y="86"/>
                  </a:lnTo>
                  <a:lnTo>
                    <a:pt x="543" y="305"/>
                  </a:lnTo>
                  <a:lnTo>
                    <a:pt x="503" y="305"/>
                  </a:lnTo>
                  <a:lnTo>
                    <a:pt x="503" y="86"/>
                  </a:lnTo>
                  <a:lnTo>
                    <a:pt x="461" y="86"/>
                  </a:lnTo>
                  <a:lnTo>
                    <a:pt x="461" y="49"/>
                  </a:lnTo>
                  <a:close/>
                  <a:moveTo>
                    <a:pt x="357" y="220"/>
                  </a:moveTo>
                  <a:lnTo>
                    <a:pt x="306" y="49"/>
                  </a:lnTo>
                  <a:lnTo>
                    <a:pt x="348" y="49"/>
                  </a:lnTo>
                  <a:lnTo>
                    <a:pt x="379" y="165"/>
                  </a:lnTo>
                  <a:lnTo>
                    <a:pt x="410" y="49"/>
                  </a:lnTo>
                  <a:lnTo>
                    <a:pt x="448" y="49"/>
                  </a:lnTo>
                  <a:lnTo>
                    <a:pt x="397" y="220"/>
                  </a:lnTo>
                  <a:lnTo>
                    <a:pt x="397" y="305"/>
                  </a:lnTo>
                  <a:lnTo>
                    <a:pt x="357" y="305"/>
                  </a:lnTo>
                  <a:lnTo>
                    <a:pt x="357" y="220"/>
                  </a:lnTo>
                  <a:close/>
                  <a:moveTo>
                    <a:pt x="266" y="0"/>
                  </a:moveTo>
                  <a:lnTo>
                    <a:pt x="266" y="35"/>
                  </a:lnTo>
                  <a:lnTo>
                    <a:pt x="231" y="35"/>
                  </a:lnTo>
                  <a:lnTo>
                    <a:pt x="231" y="0"/>
                  </a:lnTo>
                  <a:lnTo>
                    <a:pt x="266" y="0"/>
                  </a:lnTo>
                  <a:close/>
                  <a:moveTo>
                    <a:pt x="199" y="223"/>
                  </a:moveTo>
                  <a:lnTo>
                    <a:pt x="238" y="223"/>
                  </a:lnTo>
                  <a:lnTo>
                    <a:pt x="219" y="94"/>
                  </a:lnTo>
                  <a:lnTo>
                    <a:pt x="199" y="223"/>
                  </a:lnTo>
                  <a:close/>
                  <a:moveTo>
                    <a:pt x="211" y="0"/>
                  </a:moveTo>
                  <a:lnTo>
                    <a:pt x="211" y="35"/>
                  </a:lnTo>
                  <a:lnTo>
                    <a:pt x="175" y="35"/>
                  </a:lnTo>
                  <a:lnTo>
                    <a:pt x="175" y="0"/>
                  </a:lnTo>
                  <a:lnTo>
                    <a:pt x="211" y="0"/>
                  </a:lnTo>
                  <a:close/>
                  <a:moveTo>
                    <a:pt x="291" y="305"/>
                  </a:moveTo>
                  <a:lnTo>
                    <a:pt x="251" y="305"/>
                  </a:lnTo>
                  <a:lnTo>
                    <a:pt x="244" y="258"/>
                  </a:lnTo>
                  <a:lnTo>
                    <a:pt x="194" y="258"/>
                  </a:lnTo>
                  <a:lnTo>
                    <a:pt x="188" y="305"/>
                  </a:lnTo>
                  <a:lnTo>
                    <a:pt x="151" y="305"/>
                  </a:lnTo>
                  <a:lnTo>
                    <a:pt x="192" y="49"/>
                  </a:lnTo>
                  <a:lnTo>
                    <a:pt x="250" y="49"/>
                  </a:lnTo>
                  <a:lnTo>
                    <a:pt x="291" y="305"/>
                  </a:lnTo>
                  <a:close/>
                  <a:moveTo>
                    <a:pt x="53" y="202"/>
                  </a:moveTo>
                  <a:lnTo>
                    <a:pt x="41" y="226"/>
                  </a:lnTo>
                  <a:lnTo>
                    <a:pt x="41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41" y="49"/>
                  </a:lnTo>
                  <a:lnTo>
                    <a:pt x="41" y="160"/>
                  </a:lnTo>
                  <a:lnTo>
                    <a:pt x="93" y="49"/>
                  </a:lnTo>
                  <a:lnTo>
                    <a:pt x="134" y="49"/>
                  </a:lnTo>
                  <a:lnTo>
                    <a:pt x="78" y="163"/>
                  </a:lnTo>
                  <a:lnTo>
                    <a:pt x="134" y="305"/>
                  </a:lnTo>
                  <a:lnTo>
                    <a:pt x="92" y="305"/>
                  </a:lnTo>
                  <a:lnTo>
                    <a:pt x="5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825626570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908352-9FC4-47F5-B87E-FB0CF1357511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24"/>
            <p:cNvSpPr>
              <a:spLocks noEditPoints="1"/>
            </p:cNvSpPr>
            <p:nvPr userDrawn="1"/>
          </p:nvSpPr>
          <p:spPr bwMode="auto">
            <a:xfrm>
              <a:off x="9011200" y="6428428"/>
              <a:ext cx="1668858" cy="290400"/>
            </a:xfrm>
            <a:custGeom>
              <a:avLst/>
              <a:gdLst>
                <a:gd name="T0" fmla="*/ 1770 w 1770"/>
                <a:gd name="T1" fmla="*/ 305 h 308"/>
                <a:gd name="T2" fmla="*/ 1629 w 1770"/>
                <a:gd name="T3" fmla="*/ 305 h 308"/>
                <a:gd name="T4" fmla="*/ 1524 w 1770"/>
                <a:gd name="T5" fmla="*/ 164 h 308"/>
                <a:gd name="T6" fmla="*/ 1557 w 1770"/>
                <a:gd name="T7" fmla="*/ 158 h 308"/>
                <a:gd name="T8" fmla="*/ 1563 w 1770"/>
                <a:gd name="T9" fmla="*/ 111 h 308"/>
                <a:gd name="T10" fmla="*/ 1559 w 1770"/>
                <a:gd name="T11" fmla="*/ 91 h 308"/>
                <a:gd name="T12" fmla="*/ 1524 w 1770"/>
                <a:gd name="T13" fmla="*/ 86 h 308"/>
                <a:gd name="T14" fmla="*/ 1564 w 1770"/>
                <a:gd name="T15" fmla="*/ 273 h 308"/>
                <a:gd name="T16" fmla="*/ 1558 w 1770"/>
                <a:gd name="T17" fmla="*/ 207 h 308"/>
                <a:gd name="T18" fmla="*/ 1538 w 1770"/>
                <a:gd name="T19" fmla="*/ 200 h 308"/>
                <a:gd name="T20" fmla="*/ 1544 w 1770"/>
                <a:gd name="T21" fmla="*/ 49 h 308"/>
                <a:gd name="T22" fmla="*/ 1577 w 1770"/>
                <a:gd name="T23" fmla="*/ 54 h 308"/>
                <a:gd name="T24" fmla="*/ 1596 w 1770"/>
                <a:gd name="T25" fmla="*/ 72 h 308"/>
                <a:gd name="T26" fmla="*/ 1604 w 1770"/>
                <a:gd name="T27" fmla="*/ 100 h 308"/>
                <a:gd name="T28" fmla="*/ 1600 w 1770"/>
                <a:gd name="T29" fmla="*/ 153 h 308"/>
                <a:gd name="T30" fmla="*/ 1578 w 1770"/>
                <a:gd name="T31" fmla="*/ 180 h 308"/>
                <a:gd name="T32" fmla="*/ 1593 w 1770"/>
                <a:gd name="T33" fmla="*/ 190 h 308"/>
                <a:gd name="T34" fmla="*/ 1604 w 1770"/>
                <a:gd name="T35" fmla="*/ 224 h 308"/>
                <a:gd name="T36" fmla="*/ 1607 w 1770"/>
                <a:gd name="T37" fmla="*/ 297 h 308"/>
                <a:gd name="T38" fmla="*/ 1384 w 1770"/>
                <a:gd name="T39" fmla="*/ 94 h 308"/>
                <a:gd name="T40" fmla="*/ 1359 w 1770"/>
                <a:gd name="T41" fmla="*/ 258 h 308"/>
                <a:gd name="T42" fmla="*/ 1456 w 1770"/>
                <a:gd name="T43" fmla="*/ 305 h 308"/>
                <a:gd name="T44" fmla="*/ 1208 w 1770"/>
                <a:gd name="T45" fmla="*/ 305 h 308"/>
                <a:gd name="T46" fmla="*/ 1108 w 1770"/>
                <a:gd name="T47" fmla="*/ 223 h 308"/>
                <a:gd name="T48" fmla="*/ 1113 w 1770"/>
                <a:gd name="T49" fmla="*/ 258 h 308"/>
                <a:gd name="T50" fmla="*/ 1119 w 1770"/>
                <a:gd name="T51" fmla="*/ 49 h 308"/>
                <a:gd name="T52" fmla="*/ 975 w 1770"/>
                <a:gd name="T53" fmla="*/ 86 h 308"/>
                <a:gd name="T54" fmla="*/ 893 w 1770"/>
                <a:gd name="T55" fmla="*/ 49 h 308"/>
                <a:gd name="T56" fmla="*/ 854 w 1770"/>
                <a:gd name="T57" fmla="*/ 0 h 308"/>
                <a:gd name="T58" fmla="*/ 791 w 1770"/>
                <a:gd name="T59" fmla="*/ 261 h 308"/>
                <a:gd name="T60" fmla="*/ 809 w 1770"/>
                <a:gd name="T61" fmla="*/ 271 h 308"/>
                <a:gd name="T62" fmla="*/ 826 w 1770"/>
                <a:gd name="T63" fmla="*/ 261 h 308"/>
                <a:gd name="T64" fmla="*/ 829 w 1770"/>
                <a:gd name="T65" fmla="*/ 102 h 308"/>
                <a:gd name="T66" fmla="*/ 821 w 1770"/>
                <a:gd name="T67" fmla="*/ 86 h 308"/>
                <a:gd name="T68" fmla="*/ 800 w 1770"/>
                <a:gd name="T69" fmla="*/ 84 h 308"/>
                <a:gd name="T70" fmla="*/ 788 w 1770"/>
                <a:gd name="T71" fmla="*/ 102 h 308"/>
                <a:gd name="T72" fmla="*/ 764 w 1770"/>
                <a:gd name="T73" fmla="*/ 35 h 308"/>
                <a:gd name="T74" fmla="*/ 749 w 1770"/>
                <a:gd name="T75" fmla="*/ 95 h 308"/>
                <a:gd name="T76" fmla="*/ 760 w 1770"/>
                <a:gd name="T77" fmla="*/ 67 h 308"/>
                <a:gd name="T78" fmla="*/ 783 w 1770"/>
                <a:gd name="T79" fmla="*/ 50 h 308"/>
                <a:gd name="T80" fmla="*/ 816 w 1770"/>
                <a:gd name="T81" fmla="*/ 45 h 308"/>
                <a:gd name="T82" fmla="*/ 845 w 1770"/>
                <a:gd name="T83" fmla="*/ 55 h 308"/>
                <a:gd name="T84" fmla="*/ 863 w 1770"/>
                <a:gd name="T85" fmla="*/ 77 h 308"/>
                <a:gd name="T86" fmla="*/ 870 w 1770"/>
                <a:gd name="T87" fmla="*/ 110 h 308"/>
                <a:gd name="T88" fmla="*/ 867 w 1770"/>
                <a:gd name="T89" fmla="*/ 271 h 308"/>
                <a:gd name="T90" fmla="*/ 851 w 1770"/>
                <a:gd name="T91" fmla="*/ 294 h 308"/>
                <a:gd name="T92" fmla="*/ 823 w 1770"/>
                <a:gd name="T93" fmla="*/ 307 h 308"/>
                <a:gd name="T94" fmla="*/ 788 w 1770"/>
                <a:gd name="T95" fmla="*/ 305 h 308"/>
                <a:gd name="T96" fmla="*/ 764 w 1770"/>
                <a:gd name="T97" fmla="*/ 291 h 308"/>
                <a:gd name="T98" fmla="*/ 750 w 1770"/>
                <a:gd name="T99" fmla="*/ 264 h 308"/>
                <a:gd name="T100" fmla="*/ 600 w 1770"/>
                <a:gd name="T101" fmla="*/ 49 h 308"/>
                <a:gd name="T102" fmla="*/ 642 w 1770"/>
                <a:gd name="T103" fmla="*/ 305 h 308"/>
                <a:gd name="T104" fmla="*/ 585 w 1770"/>
                <a:gd name="T105" fmla="*/ 49 h 308"/>
                <a:gd name="T106" fmla="*/ 503 w 1770"/>
                <a:gd name="T107" fmla="*/ 86 h 308"/>
                <a:gd name="T108" fmla="*/ 348 w 1770"/>
                <a:gd name="T109" fmla="*/ 49 h 308"/>
                <a:gd name="T110" fmla="*/ 397 w 1770"/>
                <a:gd name="T111" fmla="*/ 305 h 308"/>
                <a:gd name="T112" fmla="*/ 231 w 1770"/>
                <a:gd name="T113" fmla="*/ 35 h 308"/>
                <a:gd name="T114" fmla="*/ 219 w 1770"/>
                <a:gd name="T115" fmla="*/ 94 h 308"/>
                <a:gd name="T116" fmla="*/ 175 w 1770"/>
                <a:gd name="T117" fmla="*/ 0 h 308"/>
                <a:gd name="T118" fmla="*/ 194 w 1770"/>
                <a:gd name="T119" fmla="*/ 258 h 308"/>
                <a:gd name="T120" fmla="*/ 291 w 1770"/>
                <a:gd name="T121" fmla="*/ 305 h 308"/>
                <a:gd name="T122" fmla="*/ 0 w 1770"/>
                <a:gd name="T123" fmla="*/ 49 h 308"/>
                <a:gd name="T124" fmla="*/ 78 w 1770"/>
                <a:gd name="T125" fmla="*/ 16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0" h="308">
                  <a:moveTo>
                    <a:pt x="1679" y="223"/>
                  </a:moveTo>
                  <a:lnTo>
                    <a:pt x="1717" y="223"/>
                  </a:lnTo>
                  <a:lnTo>
                    <a:pt x="1698" y="94"/>
                  </a:lnTo>
                  <a:lnTo>
                    <a:pt x="1679" y="223"/>
                  </a:lnTo>
                  <a:close/>
                  <a:moveTo>
                    <a:pt x="1770" y="305"/>
                  </a:moveTo>
                  <a:lnTo>
                    <a:pt x="1729" y="305"/>
                  </a:lnTo>
                  <a:lnTo>
                    <a:pt x="1722" y="258"/>
                  </a:lnTo>
                  <a:lnTo>
                    <a:pt x="1673" y="258"/>
                  </a:lnTo>
                  <a:lnTo>
                    <a:pt x="1666" y="305"/>
                  </a:lnTo>
                  <a:lnTo>
                    <a:pt x="1629" y="305"/>
                  </a:lnTo>
                  <a:lnTo>
                    <a:pt x="1670" y="49"/>
                  </a:lnTo>
                  <a:lnTo>
                    <a:pt x="1729" y="49"/>
                  </a:lnTo>
                  <a:lnTo>
                    <a:pt x="1770" y="305"/>
                  </a:lnTo>
                  <a:close/>
                  <a:moveTo>
                    <a:pt x="1524" y="86"/>
                  </a:moveTo>
                  <a:lnTo>
                    <a:pt x="1524" y="164"/>
                  </a:lnTo>
                  <a:lnTo>
                    <a:pt x="1540" y="164"/>
                  </a:lnTo>
                  <a:lnTo>
                    <a:pt x="1545" y="163"/>
                  </a:lnTo>
                  <a:lnTo>
                    <a:pt x="1550" y="163"/>
                  </a:lnTo>
                  <a:lnTo>
                    <a:pt x="1554" y="161"/>
                  </a:lnTo>
                  <a:lnTo>
                    <a:pt x="1557" y="158"/>
                  </a:lnTo>
                  <a:lnTo>
                    <a:pt x="1560" y="154"/>
                  </a:lnTo>
                  <a:lnTo>
                    <a:pt x="1562" y="149"/>
                  </a:lnTo>
                  <a:lnTo>
                    <a:pt x="1563" y="144"/>
                  </a:lnTo>
                  <a:lnTo>
                    <a:pt x="1563" y="136"/>
                  </a:lnTo>
                  <a:lnTo>
                    <a:pt x="1563" y="111"/>
                  </a:lnTo>
                  <a:lnTo>
                    <a:pt x="1563" y="105"/>
                  </a:lnTo>
                  <a:lnTo>
                    <a:pt x="1562" y="99"/>
                  </a:lnTo>
                  <a:lnTo>
                    <a:pt x="1562" y="97"/>
                  </a:lnTo>
                  <a:lnTo>
                    <a:pt x="1561" y="95"/>
                  </a:lnTo>
                  <a:lnTo>
                    <a:pt x="1559" y="91"/>
                  </a:lnTo>
                  <a:lnTo>
                    <a:pt x="1556" y="89"/>
                  </a:lnTo>
                  <a:lnTo>
                    <a:pt x="1553" y="87"/>
                  </a:lnTo>
                  <a:lnTo>
                    <a:pt x="1549" y="86"/>
                  </a:lnTo>
                  <a:lnTo>
                    <a:pt x="1543" y="86"/>
                  </a:lnTo>
                  <a:lnTo>
                    <a:pt x="1524" y="86"/>
                  </a:lnTo>
                  <a:close/>
                  <a:moveTo>
                    <a:pt x="1568" y="305"/>
                  </a:moveTo>
                  <a:lnTo>
                    <a:pt x="1567" y="299"/>
                  </a:lnTo>
                  <a:lnTo>
                    <a:pt x="1566" y="294"/>
                  </a:lnTo>
                  <a:lnTo>
                    <a:pt x="1564" y="286"/>
                  </a:lnTo>
                  <a:lnTo>
                    <a:pt x="1564" y="273"/>
                  </a:lnTo>
                  <a:lnTo>
                    <a:pt x="1564" y="233"/>
                  </a:lnTo>
                  <a:lnTo>
                    <a:pt x="1563" y="224"/>
                  </a:lnTo>
                  <a:lnTo>
                    <a:pt x="1562" y="218"/>
                  </a:lnTo>
                  <a:lnTo>
                    <a:pt x="1560" y="212"/>
                  </a:lnTo>
                  <a:lnTo>
                    <a:pt x="1558" y="207"/>
                  </a:lnTo>
                  <a:lnTo>
                    <a:pt x="1554" y="204"/>
                  </a:lnTo>
                  <a:lnTo>
                    <a:pt x="1552" y="203"/>
                  </a:lnTo>
                  <a:lnTo>
                    <a:pt x="1550" y="202"/>
                  </a:lnTo>
                  <a:lnTo>
                    <a:pt x="1544" y="201"/>
                  </a:lnTo>
                  <a:lnTo>
                    <a:pt x="1538" y="200"/>
                  </a:lnTo>
                  <a:lnTo>
                    <a:pt x="1524" y="200"/>
                  </a:lnTo>
                  <a:lnTo>
                    <a:pt x="1524" y="305"/>
                  </a:lnTo>
                  <a:lnTo>
                    <a:pt x="1484" y="305"/>
                  </a:lnTo>
                  <a:lnTo>
                    <a:pt x="1484" y="49"/>
                  </a:lnTo>
                  <a:lnTo>
                    <a:pt x="1544" y="49"/>
                  </a:lnTo>
                  <a:lnTo>
                    <a:pt x="1552" y="49"/>
                  </a:lnTo>
                  <a:lnTo>
                    <a:pt x="1559" y="50"/>
                  </a:lnTo>
                  <a:lnTo>
                    <a:pt x="1566" y="51"/>
                  </a:lnTo>
                  <a:lnTo>
                    <a:pt x="1572" y="52"/>
                  </a:lnTo>
                  <a:lnTo>
                    <a:pt x="1577" y="54"/>
                  </a:lnTo>
                  <a:lnTo>
                    <a:pt x="1581" y="57"/>
                  </a:lnTo>
                  <a:lnTo>
                    <a:pt x="1586" y="60"/>
                  </a:lnTo>
                  <a:lnTo>
                    <a:pt x="1590" y="63"/>
                  </a:lnTo>
                  <a:lnTo>
                    <a:pt x="1593" y="67"/>
                  </a:lnTo>
                  <a:lnTo>
                    <a:pt x="1596" y="72"/>
                  </a:lnTo>
                  <a:lnTo>
                    <a:pt x="1598" y="76"/>
                  </a:lnTo>
                  <a:lnTo>
                    <a:pt x="1600" y="81"/>
                  </a:lnTo>
                  <a:lnTo>
                    <a:pt x="1603" y="88"/>
                  </a:lnTo>
                  <a:lnTo>
                    <a:pt x="1604" y="93"/>
                  </a:lnTo>
                  <a:lnTo>
                    <a:pt x="1604" y="100"/>
                  </a:lnTo>
                  <a:lnTo>
                    <a:pt x="1604" y="108"/>
                  </a:lnTo>
                  <a:lnTo>
                    <a:pt x="1604" y="128"/>
                  </a:lnTo>
                  <a:lnTo>
                    <a:pt x="1604" y="137"/>
                  </a:lnTo>
                  <a:lnTo>
                    <a:pt x="1603" y="146"/>
                  </a:lnTo>
                  <a:lnTo>
                    <a:pt x="1600" y="153"/>
                  </a:lnTo>
                  <a:lnTo>
                    <a:pt x="1597" y="160"/>
                  </a:lnTo>
                  <a:lnTo>
                    <a:pt x="1594" y="166"/>
                  </a:lnTo>
                  <a:lnTo>
                    <a:pt x="1590" y="171"/>
                  </a:lnTo>
                  <a:lnTo>
                    <a:pt x="1584" y="176"/>
                  </a:lnTo>
                  <a:lnTo>
                    <a:pt x="1578" y="180"/>
                  </a:lnTo>
                  <a:lnTo>
                    <a:pt x="1581" y="181"/>
                  </a:lnTo>
                  <a:lnTo>
                    <a:pt x="1585" y="183"/>
                  </a:lnTo>
                  <a:lnTo>
                    <a:pt x="1588" y="185"/>
                  </a:lnTo>
                  <a:lnTo>
                    <a:pt x="1590" y="187"/>
                  </a:lnTo>
                  <a:lnTo>
                    <a:pt x="1593" y="190"/>
                  </a:lnTo>
                  <a:lnTo>
                    <a:pt x="1595" y="194"/>
                  </a:lnTo>
                  <a:lnTo>
                    <a:pt x="1598" y="200"/>
                  </a:lnTo>
                  <a:lnTo>
                    <a:pt x="1601" y="207"/>
                  </a:lnTo>
                  <a:lnTo>
                    <a:pt x="1603" y="216"/>
                  </a:lnTo>
                  <a:lnTo>
                    <a:pt x="1604" y="224"/>
                  </a:lnTo>
                  <a:lnTo>
                    <a:pt x="1605" y="234"/>
                  </a:lnTo>
                  <a:lnTo>
                    <a:pt x="1605" y="273"/>
                  </a:lnTo>
                  <a:lnTo>
                    <a:pt x="1605" y="282"/>
                  </a:lnTo>
                  <a:lnTo>
                    <a:pt x="1605" y="290"/>
                  </a:lnTo>
                  <a:lnTo>
                    <a:pt x="1607" y="297"/>
                  </a:lnTo>
                  <a:lnTo>
                    <a:pt x="1609" y="305"/>
                  </a:lnTo>
                  <a:lnTo>
                    <a:pt x="1568" y="305"/>
                  </a:lnTo>
                  <a:close/>
                  <a:moveTo>
                    <a:pt x="1365" y="223"/>
                  </a:moveTo>
                  <a:lnTo>
                    <a:pt x="1403" y="223"/>
                  </a:lnTo>
                  <a:lnTo>
                    <a:pt x="1384" y="94"/>
                  </a:lnTo>
                  <a:lnTo>
                    <a:pt x="1365" y="223"/>
                  </a:lnTo>
                  <a:close/>
                  <a:moveTo>
                    <a:pt x="1456" y="305"/>
                  </a:moveTo>
                  <a:lnTo>
                    <a:pt x="1415" y="305"/>
                  </a:lnTo>
                  <a:lnTo>
                    <a:pt x="1409" y="258"/>
                  </a:lnTo>
                  <a:lnTo>
                    <a:pt x="1359" y="258"/>
                  </a:lnTo>
                  <a:lnTo>
                    <a:pt x="1352" y="305"/>
                  </a:lnTo>
                  <a:lnTo>
                    <a:pt x="1315" y="305"/>
                  </a:lnTo>
                  <a:lnTo>
                    <a:pt x="1356" y="49"/>
                  </a:lnTo>
                  <a:lnTo>
                    <a:pt x="1415" y="49"/>
                  </a:lnTo>
                  <a:lnTo>
                    <a:pt x="1456" y="305"/>
                  </a:lnTo>
                  <a:close/>
                  <a:moveTo>
                    <a:pt x="1240" y="257"/>
                  </a:moveTo>
                  <a:lnTo>
                    <a:pt x="1270" y="49"/>
                  </a:lnTo>
                  <a:lnTo>
                    <a:pt x="1307" y="49"/>
                  </a:lnTo>
                  <a:lnTo>
                    <a:pt x="1268" y="305"/>
                  </a:lnTo>
                  <a:lnTo>
                    <a:pt x="1208" y="305"/>
                  </a:lnTo>
                  <a:lnTo>
                    <a:pt x="1169" y="49"/>
                  </a:lnTo>
                  <a:lnTo>
                    <a:pt x="1209" y="49"/>
                  </a:lnTo>
                  <a:lnTo>
                    <a:pt x="1240" y="257"/>
                  </a:lnTo>
                  <a:close/>
                  <a:moveTo>
                    <a:pt x="1068" y="223"/>
                  </a:moveTo>
                  <a:lnTo>
                    <a:pt x="1108" y="223"/>
                  </a:lnTo>
                  <a:lnTo>
                    <a:pt x="1089" y="94"/>
                  </a:lnTo>
                  <a:lnTo>
                    <a:pt x="1068" y="223"/>
                  </a:lnTo>
                  <a:close/>
                  <a:moveTo>
                    <a:pt x="1160" y="305"/>
                  </a:moveTo>
                  <a:lnTo>
                    <a:pt x="1120" y="305"/>
                  </a:lnTo>
                  <a:lnTo>
                    <a:pt x="1113" y="258"/>
                  </a:lnTo>
                  <a:lnTo>
                    <a:pt x="1063" y="258"/>
                  </a:lnTo>
                  <a:lnTo>
                    <a:pt x="1057" y="305"/>
                  </a:lnTo>
                  <a:lnTo>
                    <a:pt x="1020" y="305"/>
                  </a:lnTo>
                  <a:lnTo>
                    <a:pt x="1061" y="49"/>
                  </a:lnTo>
                  <a:lnTo>
                    <a:pt x="1119" y="49"/>
                  </a:lnTo>
                  <a:lnTo>
                    <a:pt x="1160" y="305"/>
                  </a:lnTo>
                  <a:close/>
                  <a:moveTo>
                    <a:pt x="893" y="49"/>
                  </a:moveTo>
                  <a:lnTo>
                    <a:pt x="1018" y="49"/>
                  </a:lnTo>
                  <a:lnTo>
                    <a:pt x="1018" y="86"/>
                  </a:lnTo>
                  <a:lnTo>
                    <a:pt x="975" y="86"/>
                  </a:lnTo>
                  <a:lnTo>
                    <a:pt x="975" y="305"/>
                  </a:lnTo>
                  <a:lnTo>
                    <a:pt x="935" y="305"/>
                  </a:lnTo>
                  <a:lnTo>
                    <a:pt x="935" y="86"/>
                  </a:lnTo>
                  <a:lnTo>
                    <a:pt x="893" y="86"/>
                  </a:lnTo>
                  <a:lnTo>
                    <a:pt x="893" y="49"/>
                  </a:lnTo>
                  <a:close/>
                  <a:moveTo>
                    <a:pt x="854" y="0"/>
                  </a:moveTo>
                  <a:lnTo>
                    <a:pt x="854" y="35"/>
                  </a:lnTo>
                  <a:lnTo>
                    <a:pt x="819" y="35"/>
                  </a:lnTo>
                  <a:lnTo>
                    <a:pt x="819" y="0"/>
                  </a:lnTo>
                  <a:lnTo>
                    <a:pt x="854" y="0"/>
                  </a:lnTo>
                  <a:close/>
                  <a:moveTo>
                    <a:pt x="788" y="245"/>
                  </a:moveTo>
                  <a:lnTo>
                    <a:pt x="788" y="252"/>
                  </a:lnTo>
                  <a:lnTo>
                    <a:pt x="789" y="257"/>
                  </a:lnTo>
                  <a:lnTo>
                    <a:pt x="790" y="259"/>
                  </a:lnTo>
                  <a:lnTo>
                    <a:pt x="791" y="261"/>
                  </a:lnTo>
                  <a:lnTo>
                    <a:pt x="794" y="265"/>
                  </a:lnTo>
                  <a:lnTo>
                    <a:pt x="797" y="268"/>
                  </a:lnTo>
                  <a:lnTo>
                    <a:pt x="800" y="270"/>
                  </a:lnTo>
                  <a:lnTo>
                    <a:pt x="804" y="271"/>
                  </a:lnTo>
                  <a:lnTo>
                    <a:pt x="809" y="271"/>
                  </a:lnTo>
                  <a:lnTo>
                    <a:pt x="814" y="271"/>
                  </a:lnTo>
                  <a:lnTo>
                    <a:pt x="818" y="270"/>
                  </a:lnTo>
                  <a:lnTo>
                    <a:pt x="821" y="268"/>
                  </a:lnTo>
                  <a:lnTo>
                    <a:pt x="824" y="265"/>
                  </a:lnTo>
                  <a:lnTo>
                    <a:pt x="826" y="261"/>
                  </a:lnTo>
                  <a:lnTo>
                    <a:pt x="828" y="257"/>
                  </a:lnTo>
                  <a:lnTo>
                    <a:pt x="829" y="252"/>
                  </a:lnTo>
                  <a:lnTo>
                    <a:pt x="829" y="245"/>
                  </a:lnTo>
                  <a:lnTo>
                    <a:pt x="829" y="108"/>
                  </a:lnTo>
                  <a:lnTo>
                    <a:pt x="829" y="102"/>
                  </a:lnTo>
                  <a:lnTo>
                    <a:pt x="828" y="96"/>
                  </a:lnTo>
                  <a:lnTo>
                    <a:pt x="827" y="93"/>
                  </a:lnTo>
                  <a:lnTo>
                    <a:pt x="826" y="91"/>
                  </a:lnTo>
                  <a:lnTo>
                    <a:pt x="824" y="88"/>
                  </a:lnTo>
                  <a:lnTo>
                    <a:pt x="821" y="86"/>
                  </a:lnTo>
                  <a:lnTo>
                    <a:pt x="818" y="84"/>
                  </a:lnTo>
                  <a:lnTo>
                    <a:pt x="814" y="82"/>
                  </a:lnTo>
                  <a:lnTo>
                    <a:pt x="809" y="82"/>
                  </a:lnTo>
                  <a:lnTo>
                    <a:pt x="804" y="82"/>
                  </a:lnTo>
                  <a:lnTo>
                    <a:pt x="800" y="84"/>
                  </a:lnTo>
                  <a:lnTo>
                    <a:pt x="797" y="86"/>
                  </a:lnTo>
                  <a:lnTo>
                    <a:pt x="794" y="88"/>
                  </a:lnTo>
                  <a:lnTo>
                    <a:pt x="791" y="91"/>
                  </a:lnTo>
                  <a:lnTo>
                    <a:pt x="789" y="96"/>
                  </a:lnTo>
                  <a:lnTo>
                    <a:pt x="788" y="102"/>
                  </a:lnTo>
                  <a:lnTo>
                    <a:pt x="788" y="108"/>
                  </a:lnTo>
                  <a:lnTo>
                    <a:pt x="788" y="245"/>
                  </a:lnTo>
                  <a:close/>
                  <a:moveTo>
                    <a:pt x="799" y="0"/>
                  </a:moveTo>
                  <a:lnTo>
                    <a:pt x="799" y="35"/>
                  </a:lnTo>
                  <a:lnTo>
                    <a:pt x="764" y="35"/>
                  </a:lnTo>
                  <a:lnTo>
                    <a:pt x="764" y="0"/>
                  </a:lnTo>
                  <a:lnTo>
                    <a:pt x="799" y="0"/>
                  </a:lnTo>
                  <a:close/>
                  <a:moveTo>
                    <a:pt x="748" y="110"/>
                  </a:moveTo>
                  <a:lnTo>
                    <a:pt x="748" y="103"/>
                  </a:lnTo>
                  <a:lnTo>
                    <a:pt x="749" y="95"/>
                  </a:lnTo>
                  <a:lnTo>
                    <a:pt x="750" y="89"/>
                  </a:lnTo>
                  <a:lnTo>
                    <a:pt x="752" y="82"/>
                  </a:lnTo>
                  <a:lnTo>
                    <a:pt x="754" y="77"/>
                  </a:lnTo>
                  <a:lnTo>
                    <a:pt x="757" y="72"/>
                  </a:lnTo>
                  <a:lnTo>
                    <a:pt x="760" y="67"/>
                  </a:lnTo>
                  <a:lnTo>
                    <a:pt x="764" y="62"/>
                  </a:lnTo>
                  <a:lnTo>
                    <a:pt x="768" y="58"/>
                  </a:lnTo>
                  <a:lnTo>
                    <a:pt x="772" y="55"/>
                  </a:lnTo>
                  <a:lnTo>
                    <a:pt x="778" y="53"/>
                  </a:lnTo>
                  <a:lnTo>
                    <a:pt x="783" y="50"/>
                  </a:lnTo>
                  <a:lnTo>
                    <a:pt x="788" y="48"/>
                  </a:lnTo>
                  <a:lnTo>
                    <a:pt x="795" y="47"/>
                  </a:lnTo>
                  <a:lnTo>
                    <a:pt x="802" y="45"/>
                  </a:lnTo>
                  <a:lnTo>
                    <a:pt x="809" y="45"/>
                  </a:lnTo>
                  <a:lnTo>
                    <a:pt x="816" y="45"/>
                  </a:lnTo>
                  <a:lnTo>
                    <a:pt x="823" y="47"/>
                  </a:lnTo>
                  <a:lnTo>
                    <a:pt x="829" y="48"/>
                  </a:lnTo>
                  <a:lnTo>
                    <a:pt x="835" y="50"/>
                  </a:lnTo>
                  <a:lnTo>
                    <a:pt x="840" y="53"/>
                  </a:lnTo>
                  <a:lnTo>
                    <a:pt x="845" y="55"/>
                  </a:lnTo>
                  <a:lnTo>
                    <a:pt x="851" y="58"/>
                  </a:lnTo>
                  <a:lnTo>
                    <a:pt x="854" y="62"/>
                  </a:lnTo>
                  <a:lnTo>
                    <a:pt x="858" y="67"/>
                  </a:lnTo>
                  <a:lnTo>
                    <a:pt x="861" y="72"/>
                  </a:lnTo>
                  <a:lnTo>
                    <a:pt x="863" y="77"/>
                  </a:lnTo>
                  <a:lnTo>
                    <a:pt x="867" y="82"/>
                  </a:lnTo>
                  <a:lnTo>
                    <a:pt x="868" y="89"/>
                  </a:lnTo>
                  <a:lnTo>
                    <a:pt x="869" y="95"/>
                  </a:lnTo>
                  <a:lnTo>
                    <a:pt x="870" y="103"/>
                  </a:lnTo>
                  <a:lnTo>
                    <a:pt x="870" y="110"/>
                  </a:lnTo>
                  <a:lnTo>
                    <a:pt x="870" y="243"/>
                  </a:lnTo>
                  <a:lnTo>
                    <a:pt x="870" y="251"/>
                  </a:lnTo>
                  <a:lnTo>
                    <a:pt x="869" y="257"/>
                  </a:lnTo>
                  <a:lnTo>
                    <a:pt x="868" y="264"/>
                  </a:lnTo>
                  <a:lnTo>
                    <a:pt x="867" y="271"/>
                  </a:lnTo>
                  <a:lnTo>
                    <a:pt x="863" y="276"/>
                  </a:lnTo>
                  <a:lnTo>
                    <a:pt x="861" y="281"/>
                  </a:lnTo>
                  <a:lnTo>
                    <a:pt x="858" y="287"/>
                  </a:lnTo>
                  <a:lnTo>
                    <a:pt x="854" y="291"/>
                  </a:lnTo>
                  <a:lnTo>
                    <a:pt x="851" y="294"/>
                  </a:lnTo>
                  <a:lnTo>
                    <a:pt x="845" y="298"/>
                  </a:lnTo>
                  <a:lnTo>
                    <a:pt x="840" y="300"/>
                  </a:lnTo>
                  <a:lnTo>
                    <a:pt x="835" y="302"/>
                  </a:lnTo>
                  <a:lnTo>
                    <a:pt x="829" y="305"/>
                  </a:lnTo>
                  <a:lnTo>
                    <a:pt x="823" y="307"/>
                  </a:lnTo>
                  <a:lnTo>
                    <a:pt x="816" y="307"/>
                  </a:lnTo>
                  <a:lnTo>
                    <a:pt x="809" y="308"/>
                  </a:lnTo>
                  <a:lnTo>
                    <a:pt x="802" y="307"/>
                  </a:lnTo>
                  <a:lnTo>
                    <a:pt x="795" y="307"/>
                  </a:lnTo>
                  <a:lnTo>
                    <a:pt x="788" y="305"/>
                  </a:lnTo>
                  <a:lnTo>
                    <a:pt x="783" y="302"/>
                  </a:lnTo>
                  <a:lnTo>
                    <a:pt x="778" y="300"/>
                  </a:lnTo>
                  <a:lnTo>
                    <a:pt x="772" y="298"/>
                  </a:lnTo>
                  <a:lnTo>
                    <a:pt x="768" y="294"/>
                  </a:lnTo>
                  <a:lnTo>
                    <a:pt x="764" y="291"/>
                  </a:lnTo>
                  <a:lnTo>
                    <a:pt x="760" y="287"/>
                  </a:lnTo>
                  <a:lnTo>
                    <a:pt x="757" y="281"/>
                  </a:lnTo>
                  <a:lnTo>
                    <a:pt x="754" y="276"/>
                  </a:lnTo>
                  <a:lnTo>
                    <a:pt x="752" y="271"/>
                  </a:lnTo>
                  <a:lnTo>
                    <a:pt x="750" y="264"/>
                  </a:lnTo>
                  <a:lnTo>
                    <a:pt x="749" y="257"/>
                  </a:lnTo>
                  <a:lnTo>
                    <a:pt x="748" y="251"/>
                  </a:lnTo>
                  <a:lnTo>
                    <a:pt x="748" y="243"/>
                  </a:lnTo>
                  <a:lnTo>
                    <a:pt x="748" y="110"/>
                  </a:lnTo>
                  <a:close/>
                  <a:moveTo>
                    <a:pt x="600" y="49"/>
                  </a:moveTo>
                  <a:lnTo>
                    <a:pt x="725" y="49"/>
                  </a:lnTo>
                  <a:lnTo>
                    <a:pt x="725" y="86"/>
                  </a:lnTo>
                  <a:lnTo>
                    <a:pt x="682" y="86"/>
                  </a:lnTo>
                  <a:lnTo>
                    <a:pt x="682" y="305"/>
                  </a:lnTo>
                  <a:lnTo>
                    <a:pt x="642" y="305"/>
                  </a:lnTo>
                  <a:lnTo>
                    <a:pt x="642" y="86"/>
                  </a:lnTo>
                  <a:lnTo>
                    <a:pt x="600" y="86"/>
                  </a:lnTo>
                  <a:lnTo>
                    <a:pt x="600" y="49"/>
                  </a:lnTo>
                  <a:close/>
                  <a:moveTo>
                    <a:pt x="461" y="49"/>
                  </a:moveTo>
                  <a:lnTo>
                    <a:pt x="585" y="49"/>
                  </a:lnTo>
                  <a:lnTo>
                    <a:pt x="585" y="86"/>
                  </a:lnTo>
                  <a:lnTo>
                    <a:pt x="543" y="86"/>
                  </a:lnTo>
                  <a:lnTo>
                    <a:pt x="543" y="305"/>
                  </a:lnTo>
                  <a:lnTo>
                    <a:pt x="503" y="305"/>
                  </a:lnTo>
                  <a:lnTo>
                    <a:pt x="503" y="86"/>
                  </a:lnTo>
                  <a:lnTo>
                    <a:pt x="461" y="86"/>
                  </a:lnTo>
                  <a:lnTo>
                    <a:pt x="461" y="49"/>
                  </a:lnTo>
                  <a:close/>
                  <a:moveTo>
                    <a:pt x="357" y="220"/>
                  </a:moveTo>
                  <a:lnTo>
                    <a:pt x="306" y="49"/>
                  </a:lnTo>
                  <a:lnTo>
                    <a:pt x="348" y="49"/>
                  </a:lnTo>
                  <a:lnTo>
                    <a:pt x="379" y="165"/>
                  </a:lnTo>
                  <a:lnTo>
                    <a:pt x="410" y="49"/>
                  </a:lnTo>
                  <a:lnTo>
                    <a:pt x="448" y="49"/>
                  </a:lnTo>
                  <a:lnTo>
                    <a:pt x="397" y="220"/>
                  </a:lnTo>
                  <a:lnTo>
                    <a:pt x="397" y="305"/>
                  </a:lnTo>
                  <a:lnTo>
                    <a:pt x="357" y="305"/>
                  </a:lnTo>
                  <a:lnTo>
                    <a:pt x="357" y="220"/>
                  </a:lnTo>
                  <a:close/>
                  <a:moveTo>
                    <a:pt x="266" y="0"/>
                  </a:moveTo>
                  <a:lnTo>
                    <a:pt x="266" y="35"/>
                  </a:lnTo>
                  <a:lnTo>
                    <a:pt x="231" y="35"/>
                  </a:lnTo>
                  <a:lnTo>
                    <a:pt x="231" y="0"/>
                  </a:lnTo>
                  <a:lnTo>
                    <a:pt x="266" y="0"/>
                  </a:lnTo>
                  <a:close/>
                  <a:moveTo>
                    <a:pt x="199" y="223"/>
                  </a:moveTo>
                  <a:lnTo>
                    <a:pt x="238" y="223"/>
                  </a:lnTo>
                  <a:lnTo>
                    <a:pt x="219" y="94"/>
                  </a:lnTo>
                  <a:lnTo>
                    <a:pt x="199" y="223"/>
                  </a:lnTo>
                  <a:close/>
                  <a:moveTo>
                    <a:pt x="211" y="0"/>
                  </a:moveTo>
                  <a:lnTo>
                    <a:pt x="211" y="35"/>
                  </a:lnTo>
                  <a:lnTo>
                    <a:pt x="175" y="35"/>
                  </a:lnTo>
                  <a:lnTo>
                    <a:pt x="175" y="0"/>
                  </a:lnTo>
                  <a:lnTo>
                    <a:pt x="211" y="0"/>
                  </a:lnTo>
                  <a:close/>
                  <a:moveTo>
                    <a:pt x="291" y="305"/>
                  </a:moveTo>
                  <a:lnTo>
                    <a:pt x="251" y="305"/>
                  </a:lnTo>
                  <a:lnTo>
                    <a:pt x="244" y="258"/>
                  </a:lnTo>
                  <a:lnTo>
                    <a:pt x="194" y="258"/>
                  </a:lnTo>
                  <a:lnTo>
                    <a:pt x="188" y="305"/>
                  </a:lnTo>
                  <a:lnTo>
                    <a:pt x="151" y="305"/>
                  </a:lnTo>
                  <a:lnTo>
                    <a:pt x="192" y="49"/>
                  </a:lnTo>
                  <a:lnTo>
                    <a:pt x="250" y="49"/>
                  </a:lnTo>
                  <a:lnTo>
                    <a:pt x="291" y="305"/>
                  </a:lnTo>
                  <a:close/>
                  <a:moveTo>
                    <a:pt x="53" y="202"/>
                  </a:moveTo>
                  <a:lnTo>
                    <a:pt x="41" y="226"/>
                  </a:lnTo>
                  <a:lnTo>
                    <a:pt x="41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41" y="49"/>
                  </a:lnTo>
                  <a:lnTo>
                    <a:pt x="41" y="160"/>
                  </a:lnTo>
                  <a:lnTo>
                    <a:pt x="93" y="49"/>
                  </a:lnTo>
                  <a:lnTo>
                    <a:pt x="134" y="49"/>
                  </a:lnTo>
                  <a:lnTo>
                    <a:pt x="78" y="163"/>
                  </a:lnTo>
                  <a:lnTo>
                    <a:pt x="134" y="305"/>
                  </a:lnTo>
                  <a:lnTo>
                    <a:pt x="92" y="305"/>
                  </a:lnTo>
                  <a:lnTo>
                    <a:pt x="5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6580275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637117-F234-4708-9CC5-ABC8EDB3E350}" type="datetime1">
              <a:rPr lang="fi-FI" smtClean="0"/>
              <a:t>28.2.2018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74027829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0AB4D-0676-4D48-9203-0F1766BC6B14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24"/>
            <p:cNvSpPr>
              <a:spLocks noEditPoints="1"/>
            </p:cNvSpPr>
            <p:nvPr userDrawn="1"/>
          </p:nvSpPr>
          <p:spPr bwMode="auto">
            <a:xfrm>
              <a:off x="9011200" y="6428428"/>
              <a:ext cx="1668858" cy="290400"/>
            </a:xfrm>
            <a:custGeom>
              <a:avLst/>
              <a:gdLst>
                <a:gd name="T0" fmla="*/ 1770 w 1770"/>
                <a:gd name="T1" fmla="*/ 305 h 308"/>
                <a:gd name="T2" fmla="*/ 1629 w 1770"/>
                <a:gd name="T3" fmla="*/ 305 h 308"/>
                <a:gd name="T4" fmla="*/ 1524 w 1770"/>
                <a:gd name="T5" fmla="*/ 164 h 308"/>
                <a:gd name="T6" fmla="*/ 1557 w 1770"/>
                <a:gd name="T7" fmla="*/ 158 h 308"/>
                <a:gd name="T8" fmla="*/ 1563 w 1770"/>
                <a:gd name="T9" fmla="*/ 111 h 308"/>
                <a:gd name="T10" fmla="*/ 1559 w 1770"/>
                <a:gd name="T11" fmla="*/ 91 h 308"/>
                <a:gd name="T12" fmla="*/ 1524 w 1770"/>
                <a:gd name="T13" fmla="*/ 86 h 308"/>
                <a:gd name="T14" fmla="*/ 1564 w 1770"/>
                <a:gd name="T15" fmla="*/ 273 h 308"/>
                <a:gd name="T16" fmla="*/ 1558 w 1770"/>
                <a:gd name="T17" fmla="*/ 207 h 308"/>
                <a:gd name="T18" fmla="*/ 1538 w 1770"/>
                <a:gd name="T19" fmla="*/ 200 h 308"/>
                <a:gd name="T20" fmla="*/ 1544 w 1770"/>
                <a:gd name="T21" fmla="*/ 49 h 308"/>
                <a:gd name="T22" fmla="*/ 1577 w 1770"/>
                <a:gd name="T23" fmla="*/ 54 h 308"/>
                <a:gd name="T24" fmla="*/ 1596 w 1770"/>
                <a:gd name="T25" fmla="*/ 72 h 308"/>
                <a:gd name="T26" fmla="*/ 1604 w 1770"/>
                <a:gd name="T27" fmla="*/ 100 h 308"/>
                <a:gd name="T28" fmla="*/ 1600 w 1770"/>
                <a:gd name="T29" fmla="*/ 153 h 308"/>
                <a:gd name="T30" fmla="*/ 1578 w 1770"/>
                <a:gd name="T31" fmla="*/ 180 h 308"/>
                <a:gd name="T32" fmla="*/ 1593 w 1770"/>
                <a:gd name="T33" fmla="*/ 190 h 308"/>
                <a:gd name="T34" fmla="*/ 1604 w 1770"/>
                <a:gd name="T35" fmla="*/ 224 h 308"/>
                <a:gd name="T36" fmla="*/ 1607 w 1770"/>
                <a:gd name="T37" fmla="*/ 297 h 308"/>
                <a:gd name="T38" fmla="*/ 1384 w 1770"/>
                <a:gd name="T39" fmla="*/ 94 h 308"/>
                <a:gd name="T40" fmla="*/ 1359 w 1770"/>
                <a:gd name="T41" fmla="*/ 258 h 308"/>
                <a:gd name="T42" fmla="*/ 1456 w 1770"/>
                <a:gd name="T43" fmla="*/ 305 h 308"/>
                <a:gd name="T44" fmla="*/ 1208 w 1770"/>
                <a:gd name="T45" fmla="*/ 305 h 308"/>
                <a:gd name="T46" fmla="*/ 1108 w 1770"/>
                <a:gd name="T47" fmla="*/ 223 h 308"/>
                <a:gd name="T48" fmla="*/ 1113 w 1770"/>
                <a:gd name="T49" fmla="*/ 258 h 308"/>
                <a:gd name="T50" fmla="*/ 1119 w 1770"/>
                <a:gd name="T51" fmla="*/ 49 h 308"/>
                <a:gd name="T52" fmla="*/ 975 w 1770"/>
                <a:gd name="T53" fmla="*/ 86 h 308"/>
                <a:gd name="T54" fmla="*/ 893 w 1770"/>
                <a:gd name="T55" fmla="*/ 49 h 308"/>
                <a:gd name="T56" fmla="*/ 854 w 1770"/>
                <a:gd name="T57" fmla="*/ 0 h 308"/>
                <a:gd name="T58" fmla="*/ 791 w 1770"/>
                <a:gd name="T59" fmla="*/ 261 h 308"/>
                <a:gd name="T60" fmla="*/ 809 w 1770"/>
                <a:gd name="T61" fmla="*/ 271 h 308"/>
                <a:gd name="T62" fmla="*/ 826 w 1770"/>
                <a:gd name="T63" fmla="*/ 261 h 308"/>
                <a:gd name="T64" fmla="*/ 829 w 1770"/>
                <a:gd name="T65" fmla="*/ 102 h 308"/>
                <a:gd name="T66" fmla="*/ 821 w 1770"/>
                <a:gd name="T67" fmla="*/ 86 h 308"/>
                <a:gd name="T68" fmla="*/ 800 w 1770"/>
                <a:gd name="T69" fmla="*/ 84 h 308"/>
                <a:gd name="T70" fmla="*/ 788 w 1770"/>
                <a:gd name="T71" fmla="*/ 102 h 308"/>
                <a:gd name="T72" fmla="*/ 764 w 1770"/>
                <a:gd name="T73" fmla="*/ 35 h 308"/>
                <a:gd name="T74" fmla="*/ 749 w 1770"/>
                <a:gd name="T75" fmla="*/ 95 h 308"/>
                <a:gd name="T76" fmla="*/ 760 w 1770"/>
                <a:gd name="T77" fmla="*/ 67 h 308"/>
                <a:gd name="T78" fmla="*/ 783 w 1770"/>
                <a:gd name="T79" fmla="*/ 50 h 308"/>
                <a:gd name="T80" fmla="*/ 816 w 1770"/>
                <a:gd name="T81" fmla="*/ 45 h 308"/>
                <a:gd name="T82" fmla="*/ 845 w 1770"/>
                <a:gd name="T83" fmla="*/ 55 h 308"/>
                <a:gd name="T84" fmla="*/ 863 w 1770"/>
                <a:gd name="T85" fmla="*/ 77 h 308"/>
                <a:gd name="T86" fmla="*/ 870 w 1770"/>
                <a:gd name="T87" fmla="*/ 110 h 308"/>
                <a:gd name="T88" fmla="*/ 867 w 1770"/>
                <a:gd name="T89" fmla="*/ 271 h 308"/>
                <a:gd name="T90" fmla="*/ 851 w 1770"/>
                <a:gd name="T91" fmla="*/ 294 h 308"/>
                <a:gd name="T92" fmla="*/ 823 w 1770"/>
                <a:gd name="T93" fmla="*/ 307 h 308"/>
                <a:gd name="T94" fmla="*/ 788 w 1770"/>
                <a:gd name="T95" fmla="*/ 305 h 308"/>
                <a:gd name="T96" fmla="*/ 764 w 1770"/>
                <a:gd name="T97" fmla="*/ 291 h 308"/>
                <a:gd name="T98" fmla="*/ 750 w 1770"/>
                <a:gd name="T99" fmla="*/ 264 h 308"/>
                <a:gd name="T100" fmla="*/ 600 w 1770"/>
                <a:gd name="T101" fmla="*/ 49 h 308"/>
                <a:gd name="T102" fmla="*/ 642 w 1770"/>
                <a:gd name="T103" fmla="*/ 305 h 308"/>
                <a:gd name="T104" fmla="*/ 585 w 1770"/>
                <a:gd name="T105" fmla="*/ 49 h 308"/>
                <a:gd name="T106" fmla="*/ 503 w 1770"/>
                <a:gd name="T107" fmla="*/ 86 h 308"/>
                <a:gd name="T108" fmla="*/ 348 w 1770"/>
                <a:gd name="T109" fmla="*/ 49 h 308"/>
                <a:gd name="T110" fmla="*/ 397 w 1770"/>
                <a:gd name="T111" fmla="*/ 305 h 308"/>
                <a:gd name="T112" fmla="*/ 231 w 1770"/>
                <a:gd name="T113" fmla="*/ 35 h 308"/>
                <a:gd name="T114" fmla="*/ 219 w 1770"/>
                <a:gd name="T115" fmla="*/ 94 h 308"/>
                <a:gd name="T116" fmla="*/ 175 w 1770"/>
                <a:gd name="T117" fmla="*/ 0 h 308"/>
                <a:gd name="T118" fmla="*/ 194 w 1770"/>
                <a:gd name="T119" fmla="*/ 258 h 308"/>
                <a:gd name="T120" fmla="*/ 291 w 1770"/>
                <a:gd name="T121" fmla="*/ 305 h 308"/>
                <a:gd name="T122" fmla="*/ 0 w 1770"/>
                <a:gd name="T123" fmla="*/ 49 h 308"/>
                <a:gd name="T124" fmla="*/ 78 w 1770"/>
                <a:gd name="T125" fmla="*/ 16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0" h="308">
                  <a:moveTo>
                    <a:pt x="1679" y="223"/>
                  </a:moveTo>
                  <a:lnTo>
                    <a:pt x="1717" y="223"/>
                  </a:lnTo>
                  <a:lnTo>
                    <a:pt x="1698" y="94"/>
                  </a:lnTo>
                  <a:lnTo>
                    <a:pt x="1679" y="223"/>
                  </a:lnTo>
                  <a:close/>
                  <a:moveTo>
                    <a:pt x="1770" y="305"/>
                  </a:moveTo>
                  <a:lnTo>
                    <a:pt x="1729" y="305"/>
                  </a:lnTo>
                  <a:lnTo>
                    <a:pt x="1722" y="258"/>
                  </a:lnTo>
                  <a:lnTo>
                    <a:pt x="1673" y="258"/>
                  </a:lnTo>
                  <a:lnTo>
                    <a:pt x="1666" y="305"/>
                  </a:lnTo>
                  <a:lnTo>
                    <a:pt x="1629" y="305"/>
                  </a:lnTo>
                  <a:lnTo>
                    <a:pt x="1670" y="49"/>
                  </a:lnTo>
                  <a:lnTo>
                    <a:pt x="1729" y="49"/>
                  </a:lnTo>
                  <a:lnTo>
                    <a:pt x="1770" y="305"/>
                  </a:lnTo>
                  <a:close/>
                  <a:moveTo>
                    <a:pt x="1524" y="86"/>
                  </a:moveTo>
                  <a:lnTo>
                    <a:pt x="1524" y="164"/>
                  </a:lnTo>
                  <a:lnTo>
                    <a:pt x="1540" y="164"/>
                  </a:lnTo>
                  <a:lnTo>
                    <a:pt x="1545" y="163"/>
                  </a:lnTo>
                  <a:lnTo>
                    <a:pt x="1550" y="163"/>
                  </a:lnTo>
                  <a:lnTo>
                    <a:pt x="1554" y="161"/>
                  </a:lnTo>
                  <a:lnTo>
                    <a:pt x="1557" y="158"/>
                  </a:lnTo>
                  <a:lnTo>
                    <a:pt x="1560" y="154"/>
                  </a:lnTo>
                  <a:lnTo>
                    <a:pt x="1562" y="149"/>
                  </a:lnTo>
                  <a:lnTo>
                    <a:pt x="1563" y="144"/>
                  </a:lnTo>
                  <a:lnTo>
                    <a:pt x="1563" y="136"/>
                  </a:lnTo>
                  <a:lnTo>
                    <a:pt x="1563" y="111"/>
                  </a:lnTo>
                  <a:lnTo>
                    <a:pt x="1563" y="105"/>
                  </a:lnTo>
                  <a:lnTo>
                    <a:pt x="1562" y="99"/>
                  </a:lnTo>
                  <a:lnTo>
                    <a:pt x="1562" y="97"/>
                  </a:lnTo>
                  <a:lnTo>
                    <a:pt x="1561" y="95"/>
                  </a:lnTo>
                  <a:lnTo>
                    <a:pt x="1559" y="91"/>
                  </a:lnTo>
                  <a:lnTo>
                    <a:pt x="1556" y="89"/>
                  </a:lnTo>
                  <a:lnTo>
                    <a:pt x="1553" y="87"/>
                  </a:lnTo>
                  <a:lnTo>
                    <a:pt x="1549" y="86"/>
                  </a:lnTo>
                  <a:lnTo>
                    <a:pt x="1543" y="86"/>
                  </a:lnTo>
                  <a:lnTo>
                    <a:pt x="1524" y="86"/>
                  </a:lnTo>
                  <a:close/>
                  <a:moveTo>
                    <a:pt x="1568" y="305"/>
                  </a:moveTo>
                  <a:lnTo>
                    <a:pt x="1567" y="299"/>
                  </a:lnTo>
                  <a:lnTo>
                    <a:pt x="1566" y="294"/>
                  </a:lnTo>
                  <a:lnTo>
                    <a:pt x="1564" y="286"/>
                  </a:lnTo>
                  <a:lnTo>
                    <a:pt x="1564" y="273"/>
                  </a:lnTo>
                  <a:lnTo>
                    <a:pt x="1564" y="233"/>
                  </a:lnTo>
                  <a:lnTo>
                    <a:pt x="1563" y="224"/>
                  </a:lnTo>
                  <a:lnTo>
                    <a:pt x="1562" y="218"/>
                  </a:lnTo>
                  <a:lnTo>
                    <a:pt x="1560" y="212"/>
                  </a:lnTo>
                  <a:lnTo>
                    <a:pt x="1558" y="207"/>
                  </a:lnTo>
                  <a:lnTo>
                    <a:pt x="1554" y="204"/>
                  </a:lnTo>
                  <a:lnTo>
                    <a:pt x="1552" y="203"/>
                  </a:lnTo>
                  <a:lnTo>
                    <a:pt x="1550" y="202"/>
                  </a:lnTo>
                  <a:lnTo>
                    <a:pt x="1544" y="201"/>
                  </a:lnTo>
                  <a:lnTo>
                    <a:pt x="1538" y="200"/>
                  </a:lnTo>
                  <a:lnTo>
                    <a:pt x="1524" y="200"/>
                  </a:lnTo>
                  <a:lnTo>
                    <a:pt x="1524" y="305"/>
                  </a:lnTo>
                  <a:lnTo>
                    <a:pt x="1484" y="305"/>
                  </a:lnTo>
                  <a:lnTo>
                    <a:pt x="1484" y="49"/>
                  </a:lnTo>
                  <a:lnTo>
                    <a:pt x="1544" y="49"/>
                  </a:lnTo>
                  <a:lnTo>
                    <a:pt x="1552" y="49"/>
                  </a:lnTo>
                  <a:lnTo>
                    <a:pt x="1559" y="50"/>
                  </a:lnTo>
                  <a:lnTo>
                    <a:pt x="1566" y="51"/>
                  </a:lnTo>
                  <a:lnTo>
                    <a:pt x="1572" y="52"/>
                  </a:lnTo>
                  <a:lnTo>
                    <a:pt x="1577" y="54"/>
                  </a:lnTo>
                  <a:lnTo>
                    <a:pt x="1581" y="57"/>
                  </a:lnTo>
                  <a:lnTo>
                    <a:pt x="1586" y="60"/>
                  </a:lnTo>
                  <a:lnTo>
                    <a:pt x="1590" y="63"/>
                  </a:lnTo>
                  <a:lnTo>
                    <a:pt x="1593" y="67"/>
                  </a:lnTo>
                  <a:lnTo>
                    <a:pt x="1596" y="72"/>
                  </a:lnTo>
                  <a:lnTo>
                    <a:pt x="1598" y="76"/>
                  </a:lnTo>
                  <a:lnTo>
                    <a:pt x="1600" y="81"/>
                  </a:lnTo>
                  <a:lnTo>
                    <a:pt x="1603" y="88"/>
                  </a:lnTo>
                  <a:lnTo>
                    <a:pt x="1604" y="93"/>
                  </a:lnTo>
                  <a:lnTo>
                    <a:pt x="1604" y="100"/>
                  </a:lnTo>
                  <a:lnTo>
                    <a:pt x="1604" y="108"/>
                  </a:lnTo>
                  <a:lnTo>
                    <a:pt x="1604" y="128"/>
                  </a:lnTo>
                  <a:lnTo>
                    <a:pt x="1604" y="137"/>
                  </a:lnTo>
                  <a:lnTo>
                    <a:pt x="1603" y="146"/>
                  </a:lnTo>
                  <a:lnTo>
                    <a:pt x="1600" y="153"/>
                  </a:lnTo>
                  <a:lnTo>
                    <a:pt x="1597" y="160"/>
                  </a:lnTo>
                  <a:lnTo>
                    <a:pt x="1594" y="166"/>
                  </a:lnTo>
                  <a:lnTo>
                    <a:pt x="1590" y="171"/>
                  </a:lnTo>
                  <a:lnTo>
                    <a:pt x="1584" y="176"/>
                  </a:lnTo>
                  <a:lnTo>
                    <a:pt x="1578" y="180"/>
                  </a:lnTo>
                  <a:lnTo>
                    <a:pt x="1581" y="181"/>
                  </a:lnTo>
                  <a:lnTo>
                    <a:pt x="1585" y="183"/>
                  </a:lnTo>
                  <a:lnTo>
                    <a:pt x="1588" y="185"/>
                  </a:lnTo>
                  <a:lnTo>
                    <a:pt x="1590" y="187"/>
                  </a:lnTo>
                  <a:lnTo>
                    <a:pt x="1593" y="190"/>
                  </a:lnTo>
                  <a:lnTo>
                    <a:pt x="1595" y="194"/>
                  </a:lnTo>
                  <a:lnTo>
                    <a:pt x="1598" y="200"/>
                  </a:lnTo>
                  <a:lnTo>
                    <a:pt x="1601" y="207"/>
                  </a:lnTo>
                  <a:lnTo>
                    <a:pt x="1603" y="216"/>
                  </a:lnTo>
                  <a:lnTo>
                    <a:pt x="1604" y="224"/>
                  </a:lnTo>
                  <a:lnTo>
                    <a:pt x="1605" y="234"/>
                  </a:lnTo>
                  <a:lnTo>
                    <a:pt x="1605" y="273"/>
                  </a:lnTo>
                  <a:lnTo>
                    <a:pt x="1605" y="282"/>
                  </a:lnTo>
                  <a:lnTo>
                    <a:pt x="1605" y="290"/>
                  </a:lnTo>
                  <a:lnTo>
                    <a:pt x="1607" y="297"/>
                  </a:lnTo>
                  <a:lnTo>
                    <a:pt x="1609" y="305"/>
                  </a:lnTo>
                  <a:lnTo>
                    <a:pt x="1568" y="305"/>
                  </a:lnTo>
                  <a:close/>
                  <a:moveTo>
                    <a:pt x="1365" y="223"/>
                  </a:moveTo>
                  <a:lnTo>
                    <a:pt x="1403" y="223"/>
                  </a:lnTo>
                  <a:lnTo>
                    <a:pt x="1384" y="94"/>
                  </a:lnTo>
                  <a:lnTo>
                    <a:pt x="1365" y="223"/>
                  </a:lnTo>
                  <a:close/>
                  <a:moveTo>
                    <a:pt x="1456" y="305"/>
                  </a:moveTo>
                  <a:lnTo>
                    <a:pt x="1415" y="305"/>
                  </a:lnTo>
                  <a:lnTo>
                    <a:pt x="1409" y="258"/>
                  </a:lnTo>
                  <a:lnTo>
                    <a:pt x="1359" y="258"/>
                  </a:lnTo>
                  <a:lnTo>
                    <a:pt x="1352" y="305"/>
                  </a:lnTo>
                  <a:lnTo>
                    <a:pt x="1315" y="305"/>
                  </a:lnTo>
                  <a:lnTo>
                    <a:pt x="1356" y="49"/>
                  </a:lnTo>
                  <a:lnTo>
                    <a:pt x="1415" y="49"/>
                  </a:lnTo>
                  <a:lnTo>
                    <a:pt x="1456" y="305"/>
                  </a:lnTo>
                  <a:close/>
                  <a:moveTo>
                    <a:pt x="1240" y="257"/>
                  </a:moveTo>
                  <a:lnTo>
                    <a:pt x="1270" y="49"/>
                  </a:lnTo>
                  <a:lnTo>
                    <a:pt x="1307" y="49"/>
                  </a:lnTo>
                  <a:lnTo>
                    <a:pt x="1268" y="305"/>
                  </a:lnTo>
                  <a:lnTo>
                    <a:pt x="1208" y="305"/>
                  </a:lnTo>
                  <a:lnTo>
                    <a:pt x="1169" y="49"/>
                  </a:lnTo>
                  <a:lnTo>
                    <a:pt x="1209" y="49"/>
                  </a:lnTo>
                  <a:lnTo>
                    <a:pt x="1240" y="257"/>
                  </a:lnTo>
                  <a:close/>
                  <a:moveTo>
                    <a:pt x="1068" y="223"/>
                  </a:moveTo>
                  <a:lnTo>
                    <a:pt x="1108" y="223"/>
                  </a:lnTo>
                  <a:lnTo>
                    <a:pt x="1089" y="94"/>
                  </a:lnTo>
                  <a:lnTo>
                    <a:pt x="1068" y="223"/>
                  </a:lnTo>
                  <a:close/>
                  <a:moveTo>
                    <a:pt x="1160" y="305"/>
                  </a:moveTo>
                  <a:lnTo>
                    <a:pt x="1120" y="305"/>
                  </a:lnTo>
                  <a:lnTo>
                    <a:pt x="1113" y="258"/>
                  </a:lnTo>
                  <a:lnTo>
                    <a:pt x="1063" y="258"/>
                  </a:lnTo>
                  <a:lnTo>
                    <a:pt x="1057" y="305"/>
                  </a:lnTo>
                  <a:lnTo>
                    <a:pt x="1020" y="305"/>
                  </a:lnTo>
                  <a:lnTo>
                    <a:pt x="1061" y="49"/>
                  </a:lnTo>
                  <a:lnTo>
                    <a:pt x="1119" y="49"/>
                  </a:lnTo>
                  <a:lnTo>
                    <a:pt x="1160" y="305"/>
                  </a:lnTo>
                  <a:close/>
                  <a:moveTo>
                    <a:pt x="893" y="49"/>
                  </a:moveTo>
                  <a:lnTo>
                    <a:pt x="1018" y="49"/>
                  </a:lnTo>
                  <a:lnTo>
                    <a:pt x="1018" y="86"/>
                  </a:lnTo>
                  <a:lnTo>
                    <a:pt x="975" y="86"/>
                  </a:lnTo>
                  <a:lnTo>
                    <a:pt x="975" y="305"/>
                  </a:lnTo>
                  <a:lnTo>
                    <a:pt x="935" y="305"/>
                  </a:lnTo>
                  <a:lnTo>
                    <a:pt x="935" y="86"/>
                  </a:lnTo>
                  <a:lnTo>
                    <a:pt x="893" y="86"/>
                  </a:lnTo>
                  <a:lnTo>
                    <a:pt x="893" y="49"/>
                  </a:lnTo>
                  <a:close/>
                  <a:moveTo>
                    <a:pt x="854" y="0"/>
                  </a:moveTo>
                  <a:lnTo>
                    <a:pt x="854" y="35"/>
                  </a:lnTo>
                  <a:lnTo>
                    <a:pt x="819" y="35"/>
                  </a:lnTo>
                  <a:lnTo>
                    <a:pt x="819" y="0"/>
                  </a:lnTo>
                  <a:lnTo>
                    <a:pt x="854" y="0"/>
                  </a:lnTo>
                  <a:close/>
                  <a:moveTo>
                    <a:pt x="788" y="245"/>
                  </a:moveTo>
                  <a:lnTo>
                    <a:pt x="788" y="252"/>
                  </a:lnTo>
                  <a:lnTo>
                    <a:pt x="789" y="257"/>
                  </a:lnTo>
                  <a:lnTo>
                    <a:pt x="790" y="259"/>
                  </a:lnTo>
                  <a:lnTo>
                    <a:pt x="791" y="261"/>
                  </a:lnTo>
                  <a:lnTo>
                    <a:pt x="794" y="265"/>
                  </a:lnTo>
                  <a:lnTo>
                    <a:pt x="797" y="268"/>
                  </a:lnTo>
                  <a:lnTo>
                    <a:pt x="800" y="270"/>
                  </a:lnTo>
                  <a:lnTo>
                    <a:pt x="804" y="271"/>
                  </a:lnTo>
                  <a:lnTo>
                    <a:pt x="809" y="271"/>
                  </a:lnTo>
                  <a:lnTo>
                    <a:pt x="814" y="271"/>
                  </a:lnTo>
                  <a:lnTo>
                    <a:pt x="818" y="270"/>
                  </a:lnTo>
                  <a:lnTo>
                    <a:pt x="821" y="268"/>
                  </a:lnTo>
                  <a:lnTo>
                    <a:pt x="824" y="265"/>
                  </a:lnTo>
                  <a:lnTo>
                    <a:pt x="826" y="261"/>
                  </a:lnTo>
                  <a:lnTo>
                    <a:pt x="828" y="257"/>
                  </a:lnTo>
                  <a:lnTo>
                    <a:pt x="829" y="252"/>
                  </a:lnTo>
                  <a:lnTo>
                    <a:pt x="829" y="245"/>
                  </a:lnTo>
                  <a:lnTo>
                    <a:pt x="829" y="108"/>
                  </a:lnTo>
                  <a:lnTo>
                    <a:pt x="829" y="102"/>
                  </a:lnTo>
                  <a:lnTo>
                    <a:pt x="828" y="96"/>
                  </a:lnTo>
                  <a:lnTo>
                    <a:pt x="827" y="93"/>
                  </a:lnTo>
                  <a:lnTo>
                    <a:pt x="826" y="91"/>
                  </a:lnTo>
                  <a:lnTo>
                    <a:pt x="824" y="88"/>
                  </a:lnTo>
                  <a:lnTo>
                    <a:pt x="821" y="86"/>
                  </a:lnTo>
                  <a:lnTo>
                    <a:pt x="818" y="84"/>
                  </a:lnTo>
                  <a:lnTo>
                    <a:pt x="814" y="82"/>
                  </a:lnTo>
                  <a:lnTo>
                    <a:pt x="809" y="82"/>
                  </a:lnTo>
                  <a:lnTo>
                    <a:pt x="804" y="82"/>
                  </a:lnTo>
                  <a:lnTo>
                    <a:pt x="800" y="84"/>
                  </a:lnTo>
                  <a:lnTo>
                    <a:pt x="797" y="86"/>
                  </a:lnTo>
                  <a:lnTo>
                    <a:pt x="794" y="88"/>
                  </a:lnTo>
                  <a:lnTo>
                    <a:pt x="791" y="91"/>
                  </a:lnTo>
                  <a:lnTo>
                    <a:pt x="789" y="96"/>
                  </a:lnTo>
                  <a:lnTo>
                    <a:pt x="788" y="102"/>
                  </a:lnTo>
                  <a:lnTo>
                    <a:pt x="788" y="108"/>
                  </a:lnTo>
                  <a:lnTo>
                    <a:pt x="788" y="245"/>
                  </a:lnTo>
                  <a:close/>
                  <a:moveTo>
                    <a:pt x="799" y="0"/>
                  </a:moveTo>
                  <a:lnTo>
                    <a:pt x="799" y="35"/>
                  </a:lnTo>
                  <a:lnTo>
                    <a:pt x="764" y="35"/>
                  </a:lnTo>
                  <a:lnTo>
                    <a:pt x="764" y="0"/>
                  </a:lnTo>
                  <a:lnTo>
                    <a:pt x="799" y="0"/>
                  </a:lnTo>
                  <a:close/>
                  <a:moveTo>
                    <a:pt x="748" y="110"/>
                  </a:moveTo>
                  <a:lnTo>
                    <a:pt x="748" y="103"/>
                  </a:lnTo>
                  <a:lnTo>
                    <a:pt x="749" y="95"/>
                  </a:lnTo>
                  <a:lnTo>
                    <a:pt x="750" y="89"/>
                  </a:lnTo>
                  <a:lnTo>
                    <a:pt x="752" y="82"/>
                  </a:lnTo>
                  <a:lnTo>
                    <a:pt x="754" y="77"/>
                  </a:lnTo>
                  <a:lnTo>
                    <a:pt x="757" y="72"/>
                  </a:lnTo>
                  <a:lnTo>
                    <a:pt x="760" y="67"/>
                  </a:lnTo>
                  <a:lnTo>
                    <a:pt x="764" y="62"/>
                  </a:lnTo>
                  <a:lnTo>
                    <a:pt x="768" y="58"/>
                  </a:lnTo>
                  <a:lnTo>
                    <a:pt x="772" y="55"/>
                  </a:lnTo>
                  <a:lnTo>
                    <a:pt x="778" y="53"/>
                  </a:lnTo>
                  <a:lnTo>
                    <a:pt x="783" y="50"/>
                  </a:lnTo>
                  <a:lnTo>
                    <a:pt x="788" y="48"/>
                  </a:lnTo>
                  <a:lnTo>
                    <a:pt x="795" y="47"/>
                  </a:lnTo>
                  <a:lnTo>
                    <a:pt x="802" y="45"/>
                  </a:lnTo>
                  <a:lnTo>
                    <a:pt x="809" y="45"/>
                  </a:lnTo>
                  <a:lnTo>
                    <a:pt x="816" y="45"/>
                  </a:lnTo>
                  <a:lnTo>
                    <a:pt x="823" y="47"/>
                  </a:lnTo>
                  <a:lnTo>
                    <a:pt x="829" y="48"/>
                  </a:lnTo>
                  <a:lnTo>
                    <a:pt x="835" y="50"/>
                  </a:lnTo>
                  <a:lnTo>
                    <a:pt x="840" y="53"/>
                  </a:lnTo>
                  <a:lnTo>
                    <a:pt x="845" y="55"/>
                  </a:lnTo>
                  <a:lnTo>
                    <a:pt x="851" y="58"/>
                  </a:lnTo>
                  <a:lnTo>
                    <a:pt x="854" y="62"/>
                  </a:lnTo>
                  <a:lnTo>
                    <a:pt x="858" y="67"/>
                  </a:lnTo>
                  <a:lnTo>
                    <a:pt x="861" y="72"/>
                  </a:lnTo>
                  <a:lnTo>
                    <a:pt x="863" y="77"/>
                  </a:lnTo>
                  <a:lnTo>
                    <a:pt x="867" y="82"/>
                  </a:lnTo>
                  <a:lnTo>
                    <a:pt x="868" y="89"/>
                  </a:lnTo>
                  <a:lnTo>
                    <a:pt x="869" y="95"/>
                  </a:lnTo>
                  <a:lnTo>
                    <a:pt x="870" y="103"/>
                  </a:lnTo>
                  <a:lnTo>
                    <a:pt x="870" y="110"/>
                  </a:lnTo>
                  <a:lnTo>
                    <a:pt x="870" y="243"/>
                  </a:lnTo>
                  <a:lnTo>
                    <a:pt x="870" y="251"/>
                  </a:lnTo>
                  <a:lnTo>
                    <a:pt x="869" y="257"/>
                  </a:lnTo>
                  <a:lnTo>
                    <a:pt x="868" y="264"/>
                  </a:lnTo>
                  <a:lnTo>
                    <a:pt x="867" y="271"/>
                  </a:lnTo>
                  <a:lnTo>
                    <a:pt x="863" y="276"/>
                  </a:lnTo>
                  <a:lnTo>
                    <a:pt x="861" y="281"/>
                  </a:lnTo>
                  <a:lnTo>
                    <a:pt x="858" y="287"/>
                  </a:lnTo>
                  <a:lnTo>
                    <a:pt x="854" y="291"/>
                  </a:lnTo>
                  <a:lnTo>
                    <a:pt x="851" y="294"/>
                  </a:lnTo>
                  <a:lnTo>
                    <a:pt x="845" y="298"/>
                  </a:lnTo>
                  <a:lnTo>
                    <a:pt x="840" y="300"/>
                  </a:lnTo>
                  <a:lnTo>
                    <a:pt x="835" y="302"/>
                  </a:lnTo>
                  <a:lnTo>
                    <a:pt x="829" y="305"/>
                  </a:lnTo>
                  <a:lnTo>
                    <a:pt x="823" y="307"/>
                  </a:lnTo>
                  <a:lnTo>
                    <a:pt x="816" y="307"/>
                  </a:lnTo>
                  <a:lnTo>
                    <a:pt x="809" y="308"/>
                  </a:lnTo>
                  <a:lnTo>
                    <a:pt x="802" y="307"/>
                  </a:lnTo>
                  <a:lnTo>
                    <a:pt x="795" y="307"/>
                  </a:lnTo>
                  <a:lnTo>
                    <a:pt x="788" y="305"/>
                  </a:lnTo>
                  <a:lnTo>
                    <a:pt x="783" y="302"/>
                  </a:lnTo>
                  <a:lnTo>
                    <a:pt x="778" y="300"/>
                  </a:lnTo>
                  <a:lnTo>
                    <a:pt x="772" y="298"/>
                  </a:lnTo>
                  <a:lnTo>
                    <a:pt x="768" y="294"/>
                  </a:lnTo>
                  <a:lnTo>
                    <a:pt x="764" y="291"/>
                  </a:lnTo>
                  <a:lnTo>
                    <a:pt x="760" y="287"/>
                  </a:lnTo>
                  <a:lnTo>
                    <a:pt x="757" y="281"/>
                  </a:lnTo>
                  <a:lnTo>
                    <a:pt x="754" y="276"/>
                  </a:lnTo>
                  <a:lnTo>
                    <a:pt x="752" y="271"/>
                  </a:lnTo>
                  <a:lnTo>
                    <a:pt x="750" y="264"/>
                  </a:lnTo>
                  <a:lnTo>
                    <a:pt x="749" y="257"/>
                  </a:lnTo>
                  <a:lnTo>
                    <a:pt x="748" y="251"/>
                  </a:lnTo>
                  <a:lnTo>
                    <a:pt x="748" y="243"/>
                  </a:lnTo>
                  <a:lnTo>
                    <a:pt x="748" y="110"/>
                  </a:lnTo>
                  <a:close/>
                  <a:moveTo>
                    <a:pt x="600" y="49"/>
                  </a:moveTo>
                  <a:lnTo>
                    <a:pt x="725" y="49"/>
                  </a:lnTo>
                  <a:lnTo>
                    <a:pt x="725" y="86"/>
                  </a:lnTo>
                  <a:lnTo>
                    <a:pt x="682" y="86"/>
                  </a:lnTo>
                  <a:lnTo>
                    <a:pt x="682" y="305"/>
                  </a:lnTo>
                  <a:lnTo>
                    <a:pt x="642" y="305"/>
                  </a:lnTo>
                  <a:lnTo>
                    <a:pt x="642" y="86"/>
                  </a:lnTo>
                  <a:lnTo>
                    <a:pt x="600" y="86"/>
                  </a:lnTo>
                  <a:lnTo>
                    <a:pt x="600" y="49"/>
                  </a:lnTo>
                  <a:close/>
                  <a:moveTo>
                    <a:pt x="461" y="49"/>
                  </a:moveTo>
                  <a:lnTo>
                    <a:pt x="585" y="49"/>
                  </a:lnTo>
                  <a:lnTo>
                    <a:pt x="585" y="86"/>
                  </a:lnTo>
                  <a:lnTo>
                    <a:pt x="543" y="86"/>
                  </a:lnTo>
                  <a:lnTo>
                    <a:pt x="543" y="305"/>
                  </a:lnTo>
                  <a:lnTo>
                    <a:pt x="503" y="305"/>
                  </a:lnTo>
                  <a:lnTo>
                    <a:pt x="503" y="86"/>
                  </a:lnTo>
                  <a:lnTo>
                    <a:pt x="461" y="86"/>
                  </a:lnTo>
                  <a:lnTo>
                    <a:pt x="461" y="49"/>
                  </a:lnTo>
                  <a:close/>
                  <a:moveTo>
                    <a:pt x="357" y="220"/>
                  </a:moveTo>
                  <a:lnTo>
                    <a:pt x="306" y="49"/>
                  </a:lnTo>
                  <a:lnTo>
                    <a:pt x="348" y="49"/>
                  </a:lnTo>
                  <a:lnTo>
                    <a:pt x="379" y="165"/>
                  </a:lnTo>
                  <a:lnTo>
                    <a:pt x="410" y="49"/>
                  </a:lnTo>
                  <a:lnTo>
                    <a:pt x="448" y="49"/>
                  </a:lnTo>
                  <a:lnTo>
                    <a:pt x="397" y="220"/>
                  </a:lnTo>
                  <a:lnTo>
                    <a:pt x="397" y="305"/>
                  </a:lnTo>
                  <a:lnTo>
                    <a:pt x="357" y="305"/>
                  </a:lnTo>
                  <a:lnTo>
                    <a:pt x="357" y="220"/>
                  </a:lnTo>
                  <a:close/>
                  <a:moveTo>
                    <a:pt x="266" y="0"/>
                  </a:moveTo>
                  <a:lnTo>
                    <a:pt x="266" y="35"/>
                  </a:lnTo>
                  <a:lnTo>
                    <a:pt x="231" y="35"/>
                  </a:lnTo>
                  <a:lnTo>
                    <a:pt x="231" y="0"/>
                  </a:lnTo>
                  <a:lnTo>
                    <a:pt x="266" y="0"/>
                  </a:lnTo>
                  <a:close/>
                  <a:moveTo>
                    <a:pt x="199" y="223"/>
                  </a:moveTo>
                  <a:lnTo>
                    <a:pt x="238" y="223"/>
                  </a:lnTo>
                  <a:lnTo>
                    <a:pt x="219" y="94"/>
                  </a:lnTo>
                  <a:lnTo>
                    <a:pt x="199" y="223"/>
                  </a:lnTo>
                  <a:close/>
                  <a:moveTo>
                    <a:pt x="211" y="0"/>
                  </a:moveTo>
                  <a:lnTo>
                    <a:pt x="211" y="35"/>
                  </a:lnTo>
                  <a:lnTo>
                    <a:pt x="175" y="35"/>
                  </a:lnTo>
                  <a:lnTo>
                    <a:pt x="175" y="0"/>
                  </a:lnTo>
                  <a:lnTo>
                    <a:pt x="211" y="0"/>
                  </a:lnTo>
                  <a:close/>
                  <a:moveTo>
                    <a:pt x="291" y="305"/>
                  </a:moveTo>
                  <a:lnTo>
                    <a:pt x="251" y="305"/>
                  </a:lnTo>
                  <a:lnTo>
                    <a:pt x="244" y="258"/>
                  </a:lnTo>
                  <a:lnTo>
                    <a:pt x="194" y="258"/>
                  </a:lnTo>
                  <a:lnTo>
                    <a:pt x="188" y="305"/>
                  </a:lnTo>
                  <a:lnTo>
                    <a:pt x="151" y="305"/>
                  </a:lnTo>
                  <a:lnTo>
                    <a:pt x="192" y="49"/>
                  </a:lnTo>
                  <a:lnTo>
                    <a:pt x="250" y="49"/>
                  </a:lnTo>
                  <a:lnTo>
                    <a:pt x="291" y="305"/>
                  </a:lnTo>
                  <a:close/>
                  <a:moveTo>
                    <a:pt x="53" y="202"/>
                  </a:moveTo>
                  <a:lnTo>
                    <a:pt x="41" y="226"/>
                  </a:lnTo>
                  <a:lnTo>
                    <a:pt x="41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41" y="49"/>
                  </a:lnTo>
                  <a:lnTo>
                    <a:pt x="41" y="160"/>
                  </a:lnTo>
                  <a:lnTo>
                    <a:pt x="93" y="49"/>
                  </a:lnTo>
                  <a:lnTo>
                    <a:pt x="134" y="49"/>
                  </a:lnTo>
                  <a:lnTo>
                    <a:pt x="78" y="163"/>
                  </a:lnTo>
                  <a:lnTo>
                    <a:pt x="134" y="305"/>
                  </a:lnTo>
                  <a:lnTo>
                    <a:pt x="92" y="305"/>
                  </a:lnTo>
                  <a:lnTo>
                    <a:pt x="5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32740917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469D9FFB-B6B0-4B30-B3F5-8B866AB9C92D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49389338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DAF2F3-5B4F-4C8B-9697-0213CEE6828F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93548272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D489FB-B0C1-45A3-A2AB-7E75D34D60FD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6349903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790663-8FA7-4C87-9CB1-D11C085BE570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4302714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55D9F-C328-4643-8B7A-D584A958F528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30838626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E92833-FCDC-42A6-A788-75C8B16CAB7E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46382249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341515C3-42CA-4B89-B146-7AC0DF9BFB6D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24"/>
            <p:cNvSpPr>
              <a:spLocks noEditPoints="1"/>
            </p:cNvSpPr>
            <p:nvPr userDrawn="1"/>
          </p:nvSpPr>
          <p:spPr bwMode="auto">
            <a:xfrm>
              <a:off x="9011200" y="6428428"/>
              <a:ext cx="1668858" cy="290400"/>
            </a:xfrm>
            <a:custGeom>
              <a:avLst/>
              <a:gdLst>
                <a:gd name="T0" fmla="*/ 1770 w 1770"/>
                <a:gd name="T1" fmla="*/ 305 h 308"/>
                <a:gd name="T2" fmla="*/ 1629 w 1770"/>
                <a:gd name="T3" fmla="*/ 305 h 308"/>
                <a:gd name="T4" fmla="*/ 1524 w 1770"/>
                <a:gd name="T5" fmla="*/ 164 h 308"/>
                <a:gd name="T6" fmla="*/ 1557 w 1770"/>
                <a:gd name="T7" fmla="*/ 158 h 308"/>
                <a:gd name="T8" fmla="*/ 1563 w 1770"/>
                <a:gd name="T9" fmla="*/ 111 h 308"/>
                <a:gd name="T10" fmla="*/ 1559 w 1770"/>
                <a:gd name="T11" fmla="*/ 91 h 308"/>
                <a:gd name="T12" fmla="*/ 1524 w 1770"/>
                <a:gd name="T13" fmla="*/ 86 h 308"/>
                <a:gd name="T14" fmla="*/ 1564 w 1770"/>
                <a:gd name="T15" fmla="*/ 273 h 308"/>
                <a:gd name="T16" fmla="*/ 1558 w 1770"/>
                <a:gd name="T17" fmla="*/ 207 h 308"/>
                <a:gd name="T18" fmla="*/ 1538 w 1770"/>
                <a:gd name="T19" fmla="*/ 200 h 308"/>
                <a:gd name="T20" fmla="*/ 1544 w 1770"/>
                <a:gd name="T21" fmla="*/ 49 h 308"/>
                <a:gd name="T22" fmla="*/ 1577 w 1770"/>
                <a:gd name="T23" fmla="*/ 54 h 308"/>
                <a:gd name="T24" fmla="*/ 1596 w 1770"/>
                <a:gd name="T25" fmla="*/ 72 h 308"/>
                <a:gd name="T26" fmla="*/ 1604 w 1770"/>
                <a:gd name="T27" fmla="*/ 100 h 308"/>
                <a:gd name="T28" fmla="*/ 1600 w 1770"/>
                <a:gd name="T29" fmla="*/ 153 h 308"/>
                <a:gd name="T30" fmla="*/ 1578 w 1770"/>
                <a:gd name="T31" fmla="*/ 180 h 308"/>
                <a:gd name="T32" fmla="*/ 1593 w 1770"/>
                <a:gd name="T33" fmla="*/ 190 h 308"/>
                <a:gd name="T34" fmla="*/ 1604 w 1770"/>
                <a:gd name="T35" fmla="*/ 224 h 308"/>
                <a:gd name="T36" fmla="*/ 1607 w 1770"/>
                <a:gd name="T37" fmla="*/ 297 h 308"/>
                <a:gd name="T38" fmla="*/ 1384 w 1770"/>
                <a:gd name="T39" fmla="*/ 94 h 308"/>
                <a:gd name="T40" fmla="*/ 1359 w 1770"/>
                <a:gd name="T41" fmla="*/ 258 h 308"/>
                <a:gd name="T42" fmla="*/ 1456 w 1770"/>
                <a:gd name="T43" fmla="*/ 305 h 308"/>
                <a:gd name="T44" fmla="*/ 1208 w 1770"/>
                <a:gd name="T45" fmla="*/ 305 h 308"/>
                <a:gd name="T46" fmla="*/ 1108 w 1770"/>
                <a:gd name="T47" fmla="*/ 223 h 308"/>
                <a:gd name="T48" fmla="*/ 1113 w 1770"/>
                <a:gd name="T49" fmla="*/ 258 h 308"/>
                <a:gd name="T50" fmla="*/ 1119 w 1770"/>
                <a:gd name="T51" fmla="*/ 49 h 308"/>
                <a:gd name="T52" fmla="*/ 975 w 1770"/>
                <a:gd name="T53" fmla="*/ 86 h 308"/>
                <a:gd name="T54" fmla="*/ 893 w 1770"/>
                <a:gd name="T55" fmla="*/ 49 h 308"/>
                <a:gd name="T56" fmla="*/ 854 w 1770"/>
                <a:gd name="T57" fmla="*/ 0 h 308"/>
                <a:gd name="T58" fmla="*/ 791 w 1770"/>
                <a:gd name="T59" fmla="*/ 261 h 308"/>
                <a:gd name="T60" fmla="*/ 809 w 1770"/>
                <a:gd name="T61" fmla="*/ 271 h 308"/>
                <a:gd name="T62" fmla="*/ 826 w 1770"/>
                <a:gd name="T63" fmla="*/ 261 h 308"/>
                <a:gd name="T64" fmla="*/ 829 w 1770"/>
                <a:gd name="T65" fmla="*/ 102 h 308"/>
                <a:gd name="T66" fmla="*/ 821 w 1770"/>
                <a:gd name="T67" fmla="*/ 86 h 308"/>
                <a:gd name="T68" fmla="*/ 800 w 1770"/>
                <a:gd name="T69" fmla="*/ 84 h 308"/>
                <a:gd name="T70" fmla="*/ 788 w 1770"/>
                <a:gd name="T71" fmla="*/ 102 h 308"/>
                <a:gd name="T72" fmla="*/ 764 w 1770"/>
                <a:gd name="T73" fmla="*/ 35 h 308"/>
                <a:gd name="T74" fmla="*/ 749 w 1770"/>
                <a:gd name="T75" fmla="*/ 95 h 308"/>
                <a:gd name="T76" fmla="*/ 760 w 1770"/>
                <a:gd name="T77" fmla="*/ 67 h 308"/>
                <a:gd name="T78" fmla="*/ 783 w 1770"/>
                <a:gd name="T79" fmla="*/ 50 h 308"/>
                <a:gd name="T80" fmla="*/ 816 w 1770"/>
                <a:gd name="T81" fmla="*/ 45 h 308"/>
                <a:gd name="T82" fmla="*/ 845 w 1770"/>
                <a:gd name="T83" fmla="*/ 55 h 308"/>
                <a:gd name="T84" fmla="*/ 863 w 1770"/>
                <a:gd name="T85" fmla="*/ 77 h 308"/>
                <a:gd name="T86" fmla="*/ 870 w 1770"/>
                <a:gd name="T87" fmla="*/ 110 h 308"/>
                <a:gd name="T88" fmla="*/ 867 w 1770"/>
                <a:gd name="T89" fmla="*/ 271 h 308"/>
                <a:gd name="T90" fmla="*/ 851 w 1770"/>
                <a:gd name="T91" fmla="*/ 294 h 308"/>
                <a:gd name="T92" fmla="*/ 823 w 1770"/>
                <a:gd name="T93" fmla="*/ 307 h 308"/>
                <a:gd name="T94" fmla="*/ 788 w 1770"/>
                <a:gd name="T95" fmla="*/ 305 h 308"/>
                <a:gd name="T96" fmla="*/ 764 w 1770"/>
                <a:gd name="T97" fmla="*/ 291 h 308"/>
                <a:gd name="T98" fmla="*/ 750 w 1770"/>
                <a:gd name="T99" fmla="*/ 264 h 308"/>
                <a:gd name="T100" fmla="*/ 600 w 1770"/>
                <a:gd name="T101" fmla="*/ 49 h 308"/>
                <a:gd name="T102" fmla="*/ 642 w 1770"/>
                <a:gd name="T103" fmla="*/ 305 h 308"/>
                <a:gd name="T104" fmla="*/ 585 w 1770"/>
                <a:gd name="T105" fmla="*/ 49 h 308"/>
                <a:gd name="T106" fmla="*/ 503 w 1770"/>
                <a:gd name="T107" fmla="*/ 86 h 308"/>
                <a:gd name="T108" fmla="*/ 348 w 1770"/>
                <a:gd name="T109" fmla="*/ 49 h 308"/>
                <a:gd name="T110" fmla="*/ 397 w 1770"/>
                <a:gd name="T111" fmla="*/ 305 h 308"/>
                <a:gd name="T112" fmla="*/ 231 w 1770"/>
                <a:gd name="T113" fmla="*/ 35 h 308"/>
                <a:gd name="T114" fmla="*/ 219 w 1770"/>
                <a:gd name="T115" fmla="*/ 94 h 308"/>
                <a:gd name="T116" fmla="*/ 175 w 1770"/>
                <a:gd name="T117" fmla="*/ 0 h 308"/>
                <a:gd name="T118" fmla="*/ 194 w 1770"/>
                <a:gd name="T119" fmla="*/ 258 h 308"/>
                <a:gd name="T120" fmla="*/ 291 w 1770"/>
                <a:gd name="T121" fmla="*/ 305 h 308"/>
                <a:gd name="T122" fmla="*/ 0 w 1770"/>
                <a:gd name="T123" fmla="*/ 49 h 308"/>
                <a:gd name="T124" fmla="*/ 78 w 1770"/>
                <a:gd name="T125" fmla="*/ 16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0" h="308">
                  <a:moveTo>
                    <a:pt x="1679" y="223"/>
                  </a:moveTo>
                  <a:lnTo>
                    <a:pt x="1717" y="223"/>
                  </a:lnTo>
                  <a:lnTo>
                    <a:pt x="1698" y="94"/>
                  </a:lnTo>
                  <a:lnTo>
                    <a:pt x="1679" y="223"/>
                  </a:lnTo>
                  <a:close/>
                  <a:moveTo>
                    <a:pt x="1770" y="305"/>
                  </a:moveTo>
                  <a:lnTo>
                    <a:pt x="1729" y="305"/>
                  </a:lnTo>
                  <a:lnTo>
                    <a:pt x="1722" y="258"/>
                  </a:lnTo>
                  <a:lnTo>
                    <a:pt x="1673" y="258"/>
                  </a:lnTo>
                  <a:lnTo>
                    <a:pt x="1666" y="305"/>
                  </a:lnTo>
                  <a:lnTo>
                    <a:pt x="1629" y="305"/>
                  </a:lnTo>
                  <a:lnTo>
                    <a:pt x="1670" y="49"/>
                  </a:lnTo>
                  <a:lnTo>
                    <a:pt x="1729" y="49"/>
                  </a:lnTo>
                  <a:lnTo>
                    <a:pt x="1770" y="305"/>
                  </a:lnTo>
                  <a:close/>
                  <a:moveTo>
                    <a:pt x="1524" y="86"/>
                  </a:moveTo>
                  <a:lnTo>
                    <a:pt x="1524" y="164"/>
                  </a:lnTo>
                  <a:lnTo>
                    <a:pt x="1540" y="164"/>
                  </a:lnTo>
                  <a:lnTo>
                    <a:pt x="1545" y="163"/>
                  </a:lnTo>
                  <a:lnTo>
                    <a:pt x="1550" y="163"/>
                  </a:lnTo>
                  <a:lnTo>
                    <a:pt x="1554" y="161"/>
                  </a:lnTo>
                  <a:lnTo>
                    <a:pt x="1557" y="158"/>
                  </a:lnTo>
                  <a:lnTo>
                    <a:pt x="1560" y="154"/>
                  </a:lnTo>
                  <a:lnTo>
                    <a:pt x="1562" y="149"/>
                  </a:lnTo>
                  <a:lnTo>
                    <a:pt x="1563" y="144"/>
                  </a:lnTo>
                  <a:lnTo>
                    <a:pt x="1563" y="136"/>
                  </a:lnTo>
                  <a:lnTo>
                    <a:pt x="1563" y="111"/>
                  </a:lnTo>
                  <a:lnTo>
                    <a:pt x="1563" y="105"/>
                  </a:lnTo>
                  <a:lnTo>
                    <a:pt x="1562" y="99"/>
                  </a:lnTo>
                  <a:lnTo>
                    <a:pt x="1562" y="97"/>
                  </a:lnTo>
                  <a:lnTo>
                    <a:pt x="1561" y="95"/>
                  </a:lnTo>
                  <a:lnTo>
                    <a:pt x="1559" y="91"/>
                  </a:lnTo>
                  <a:lnTo>
                    <a:pt x="1556" y="89"/>
                  </a:lnTo>
                  <a:lnTo>
                    <a:pt x="1553" y="87"/>
                  </a:lnTo>
                  <a:lnTo>
                    <a:pt x="1549" y="86"/>
                  </a:lnTo>
                  <a:lnTo>
                    <a:pt x="1543" y="86"/>
                  </a:lnTo>
                  <a:lnTo>
                    <a:pt x="1524" y="86"/>
                  </a:lnTo>
                  <a:close/>
                  <a:moveTo>
                    <a:pt x="1568" y="305"/>
                  </a:moveTo>
                  <a:lnTo>
                    <a:pt x="1567" y="299"/>
                  </a:lnTo>
                  <a:lnTo>
                    <a:pt x="1566" y="294"/>
                  </a:lnTo>
                  <a:lnTo>
                    <a:pt x="1564" y="286"/>
                  </a:lnTo>
                  <a:lnTo>
                    <a:pt x="1564" y="273"/>
                  </a:lnTo>
                  <a:lnTo>
                    <a:pt x="1564" y="233"/>
                  </a:lnTo>
                  <a:lnTo>
                    <a:pt x="1563" y="224"/>
                  </a:lnTo>
                  <a:lnTo>
                    <a:pt x="1562" y="218"/>
                  </a:lnTo>
                  <a:lnTo>
                    <a:pt x="1560" y="212"/>
                  </a:lnTo>
                  <a:lnTo>
                    <a:pt x="1558" y="207"/>
                  </a:lnTo>
                  <a:lnTo>
                    <a:pt x="1554" y="204"/>
                  </a:lnTo>
                  <a:lnTo>
                    <a:pt x="1552" y="203"/>
                  </a:lnTo>
                  <a:lnTo>
                    <a:pt x="1550" y="202"/>
                  </a:lnTo>
                  <a:lnTo>
                    <a:pt x="1544" y="201"/>
                  </a:lnTo>
                  <a:lnTo>
                    <a:pt x="1538" y="200"/>
                  </a:lnTo>
                  <a:lnTo>
                    <a:pt x="1524" y="200"/>
                  </a:lnTo>
                  <a:lnTo>
                    <a:pt x="1524" y="305"/>
                  </a:lnTo>
                  <a:lnTo>
                    <a:pt x="1484" y="305"/>
                  </a:lnTo>
                  <a:lnTo>
                    <a:pt x="1484" y="49"/>
                  </a:lnTo>
                  <a:lnTo>
                    <a:pt x="1544" y="49"/>
                  </a:lnTo>
                  <a:lnTo>
                    <a:pt x="1552" y="49"/>
                  </a:lnTo>
                  <a:lnTo>
                    <a:pt x="1559" y="50"/>
                  </a:lnTo>
                  <a:lnTo>
                    <a:pt x="1566" y="51"/>
                  </a:lnTo>
                  <a:lnTo>
                    <a:pt x="1572" y="52"/>
                  </a:lnTo>
                  <a:lnTo>
                    <a:pt x="1577" y="54"/>
                  </a:lnTo>
                  <a:lnTo>
                    <a:pt x="1581" y="57"/>
                  </a:lnTo>
                  <a:lnTo>
                    <a:pt x="1586" y="60"/>
                  </a:lnTo>
                  <a:lnTo>
                    <a:pt x="1590" y="63"/>
                  </a:lnTo>
                  <a:lnTo>
                    <a:pt x="1593" y="67"/>
                  </a:lnTo>
                  <a:lnTo>
                    <a:pt x="1596" y="72"/>
                  </a:lnTo>
                  <a:lnTo>
                    <a:pt x="1598" y="76"/>
                  </a:lnTo>
                  <a:lnTo>
                    <a:pt x="1600" y="81"/>
                  </a:lnTo>
                  <a:lnTo>
                    <a:pt x="1603" y="88"/>
                  </a:lnTo>
                  <a:lnTo>
                    <a:pt x="1604" y="93"/>
                  </a:lnTo>
                  <a:lnTo>
                    <a:pt x="1604" y="100"/>
                  </a:lnTo>
                  <a:lnTo>
                    <a:pt x="1604" y="108"/>
                  </a:lnTo>
                  <a:lnTo>
                    <a:pt x="1604" y="128"/>
                  </a:lnTo>
                  <a:lnTo>
                    <a:pt x="1604" y="137"/>
                  </a:lnTo>
                  <a:lnTo>
                    <a:pt x="1603" y="146"/>
                  </a:lnTo>
                  <a:lnTo>
                    <a:pt x="1600" y="153"/>
                  </a:lnTo>
                  <a:lnTo>
                    <a:pt x="1597" y="160"/>
                  </a:lnTo>
                  <a:lnTo>
                    <a:pt x="1594" y="166"/>
                  </a:lnTo>
                  <a:lnTo>
                    <a:pt x="1590" y="171"/>
                  </a:lnTo>
                  <a:lnTo>
                    <a:pt x="1584" y="176"/>
                  </a:lnTo>
                  <a:lnTo>
                    <a:pt x="1578" y="180"/>
                  </a:lnTo>
                  <a:lnTo>
                    <a:pt x="1581" y="181"/>
                  </a:lnTo>
                  <a:lnTo>
                    <a:pt x="1585" y="183"/>
                  </a:lnTo>
                  <a:lnTo>
                    <a:pt x="1588" y="185"/>
                  </a:lnTo>
                  <a:lnTo>
                    <a:pt x="1590" y="187"/>
                  </a:lnTo>
                  <a:lnTo>
                    <a:pt x="1593" y="190"/>
                  </a:lnTo>
                  <a:lnTo>
                    <a:pt x="1595" y="194"/>
                  </a:lnTo>
                  <a:lnTo>
                    <a:pt x="1598" y="200"/>
                  </a:lnTo>
                  <a:lnTo>
                    <a:pt x="1601" y="207"/>
                  </a:lnTo>
                  <a:lnTo>
                    <a:pt x="1603" y="216"/>
                  </a:lnTo>
                  <a:lnTo>
                    <a:pt x="1604" y="224"/>
                  </a:lnTo>
                  <a:lnTo>
                    <a:pt x="1605" y="234"/>
                  </a:lnTo>
                  <a:lnTo>
                    <a:pt x="1605" y="273"/>
                  </a:lnTo>
                  <a:lnTo>
                    <a:pt x="1605" y="282"/>
                  </a:lnTo>
                  <a:lnTo>
                    <a:pt x="1605" y="290"/>
                  </a:lnTo>
                  <a:lnTo>
                    <a:pt x="1607" y="297"/>
                  </a:lnTo>
                  <a:lnTo>
                    <a:pt x="1609" y="305"/>
                  </a:lnTo>
                  <a:lnTo>
                    <a:pt x="1568" y="305"/>
                  </a:lnTo>
                  <a:close/>
                  <a:moveTo>
                    <a:pt x="1365" y="223"/>
                  </a:moveTo>
                  <a:lnTo>
                    <a:pt x="1403" y="223"/>
                  </a:lnTo>
                  <a:lnTo>
                    <a:pt x="1384" y="94"/>
                  </a:lnTo>
                  <a:lnTo>
                    <a:pt x="1365" y="223"/>
                  </a:lnTo>
                  <a:close/>
                  <a:moveTo>
                    <a:pt x="1456" y="305"/>
                  </a:moveTo>
                  <a:lnTo>
                    <a:pt x="1415" y="305"/>
                  </a:lnTo>
                  <a:lnTo>
                    <a:pt x="1409" y="258"/>
                  </a:lnTo>
                  <a:lnTo>
                    <a:pt x="1359" y="258"/>
                  </a:lnTo>
                  <a:lnTo>
                    <a:pt x="1352" y="305"/>
                  </a:lnTo>
                  <a:lnTo>
                    <a:pt x="1315" y="305"/>
                  </a:lnTo>
                  <a:lnTo>
                    <a:pt x="1356" y="49"/>
                  </a:lnTo>
                  <a:lnTo>
                    <a:pt x="1415" y="49"/>
                  </a:lnTo>
                  <a:lnTo>
                    <a:pt x="1456" y="305"/>
                  </a:lnTo>
                  <a:close/>
                  <a:moveTo>
                    <a:pt x="1240" y="257"/>
                  </a:moveTo>
                  <a:lnTo>
                    <a:pt x="1270" y="49"/>
                  </a:lnTo>
                  <a:lnTo>
                    <a:pt x="1307" y="49"/>
                  </a:lnTo>
                  <a:lnTo>
                    <a:pt x="1268" y="305"/>
                  </a:lnTo>
                  <a:lnTo>
                    <a:pt x="1208" y="305"/>
                  </a:lnTo>
                  <a:lnTo>
                    <a:pt x="1169" y="49"/>
                  </a:lnTo>
                  <a:lnTo>
                    <a:pt x="1209" y="49"/>
                  </a:lnTo>
                  <a:lnTo>
                    <a:pt x="1240" y="257"/>
                  </a:lnTo>
                  <a:close/>
                  <a:moveTo>
                    <a:pt x="1068" y="223"/>
                  </a:moveTo>
                  <a:lnTo>
                    <a:pt x="1108" y="223"/>
                  </a:lnTo>
                  <a:lnTo>
                    <a:pt x="1089" y="94"/>
                  </a:lnTo>
                  <a:lnTo>
                    <a:pt x="1068" y="223"/>
                  </a:lnTo>
                  <a:close/>
                  <a:moveTo>
                    <a:pt x="1160" y="305"/>
                  </a:moveTo>
                  <a:lnTo>
                    <a:pt x="1120" y="305"/>
                  </a:lnTo>
                  <a:lnTo>
                    <a:pt x="1113" y="258"/>
                  </a:lnTo>
                  <a:lnTo>
                    <a:pt x="1063" y="258"/>
                  </a:lnTo>
                  <a:lnTo>
                    <a:pt x="1057" y="305"/>
                  </a:lnTo>
                  <a:lnTo>
                    <a:pt x="1020" y="305"/>
                  </a:lnTo>
                  <a:lnTo>
                    <a:pt x="1061" y="49"/>
                  </a:lnTo>
                  <a:lnTo>
                    <a:pt x="1119" y="49"/>
                  </a:lnTo>
                  <a:lnTo>
                    <a:pt x="1160" y="305"/>
                  </a:lnTo>
                  <a:close/>
                  <a:moveTo>
                    <a:pt x="893" y="49"/>
                  </a:moveTo>
                  <a:lnTo>
                    <a:pt x="1018" y="49"/>
                  </a:lnTo>
                  <a:lnTo>
                    <a:pt x="1018" y="86"/>
                  </a:lnTo>
                  <a:lnTo>
                    <a:pt x="975" y="86"/>
                  </a:lnTo>
                  <a:lnTo>
                    <a:pt x="975" y="305"/>
                  </a:lnTo>
                  <a:lnTo>
                    <a:pt x="935" y="305"/>
                  </a:lnTo>
                  <a:lnTo>
                    <a:pt x="935" y="86"/>
                  </a:lnTo>
                  <a:lnTo>
                    <a:pt x="893" y="86"/>
                  </a:lnTo>
                  <a:lnTo>
                    <a:pt x="893" y="49"/>
                  </a:lnTo>
                  <a:close/>
                  <a:moveTo>
                    <a:pt x="854" y="0"/>
                  </a:moveTo>
                  <a:lnTo>
                    <a:pt x="854" y="35"/>
                  </a:lnTo>
                  <a:lnTo>
                    <a:pt x="819" y="35"/>
                  </a:lnTo>
                  <a:lnTo>
                    <a:pt x="819" y="0"/>
                  </a:lnTo>
                  <a:lnTo>
                    <a:pt x="854" y="0"/>
                  </a:lnTo>
                  <a:close/>
                  <a:moveTo>
                    <a:pt x="788" y="245"/>
                  </a:moveTo>
                  <a:lnTo>
                    <a:pt x="788" y="252"/>
                  </a:lnTo>
                  <a:lnTo>
                    <a:pt x="789" y="257"/>
                  </a:lnTo>
                  <a:lnTo>
                    <a:pt x="790" y="259"/>
                  </a:lnTo>
                  <a:lnTo>
                    <a:pt x="791" y="261"/>
                  </a:lnTo>
                  <a:lnTo>
                    <a:pt x="794" y="265"/>
                  </a:lnTo>
                  <a:lnTo>
                    <a:pt x="797" y="268"/>
                  </a:lnTo>
                  <a:lnTo>
                    <a:pt x="800" y="270"/>
                  </a:lnTo>
                  <a:lnTo>
                    <a:pt x="804" y="271"/>
                  </a:lnTo>
                  <a:lnTo>
                    <a:pt x="809" y="271"/>
                  </a:lnTo>
                  <a:lnTo>
                    <a:pt x="814" y="271"/>
                  </a:lnTo>
                  <a:lnTo>
                    <a:pt x="818" y="270"/>
                  </a:lnTo>
                  <a:lnTo>
                    <a:pt x="821" y="268"/>
                  </a:lnTo>
                  <a:lnTo>
                    <a:pt x="824" y="265"/>
                  </a:lnTo>
                  <a:lnTo>
                    <a:pt x="826" y="261"/>
                  </a:lnTo>
                  <a:lnTo>
                    <a:pt x="828" y="257"/>
                  </a:lnTo>
                  <a:lnTo>
                    <a:pt x="829" y="252"/>
                  </a:lnTo>
                  <a:lnTo>
                    <a:pt x="829" y="245"/>
                  </a:lnTo>
                  <a:lnTo>
                    <a:pt x="829" y="108"/>
                  </a:lnTo>
                  <a:lnTo>
                    <a:pt x="829" y="102"/>
                  </a:lnTo>
                  <a:lnTo>
                    <a:pt x="828" y="96"/>
                  </a:lnTo>
                  <a:lnTo>
                    <a:pt x="827" y="93"/>
                  </a:lnTo>
                  <a:lnTo>
                    <a:pt x="826" y="91"/>
                  </a:lnTo>
                  <a:lnTo>
                    <a:pt x="824" y="88"/>
                  </a:lnTo>
                  <a:lnTo>
                    <a:pt x="821" y="86"/>
                  </a:lnTo>
                  <a:lnTo>
                    <a:pt x="818" y="84"/>
                  </a:lnTo>
                  <a:lnTo>
                    <a:pt x="814" y="82"/>
                  </a:lnTo>
                  <a:lnTo>
                    <a:pt x="809" y="82"/>
                  </a:lnTo>
                  <a:lnTo>
                    <a:pt x="804" y="82"/>
                  </a:lnTo>
                  <a:lnTo>
                    <a:pt x="800" y="84"/>
                  </a:lnTo>
                  <a:lnTo>
                    <a:pt x="797" y="86"/>
                  </a:lnTo>
                  <a:lnTo>
                    <a:pt x="794" y="88"/>
                  </a:lnTo>
                  <a:lnTo>
                    <a:pt x="791" y="91"/>
                  </a:lnTo>
                  <a:lnTo>
                    <a:pt x="789" y="96"/>
                  </a:lnTo>
                  <a:lnTo>
                    <a:pt x="788" y="102"/>
                  </a:lnTo>
                  <a:lnTo>
                    <a:pt x="788" y="108"/>
                  </a:lnTo>
                  <a:lnTo>
                    <a:pt x="788" y="245"/>
                  </a:lnTo>
                  <a:close/>
                  <a:moveTo>
                    <a:pt x="799" y="0"/>
                  </a:moveTo>
                  <a:lnTo>
                    <a:pt x="799" y="35"/>
                  </a:lnTo>
                  <a:lnTo>
                    <a:pt x="764" y="35"/>
                  </a:lnTo>
                  <a:lnTo>
                    <a:pt x="764" y="0"/>
                  </a:lnTo>
                  <a:lnTo>
                    <a:pt x="799" y="0"/>
                  </a:lnTo>
                  <a:close/>
                  <a:moveTo>
                    <a:pt x="748" y="110"/>
                  </a:moveTo>
                  <a:lnTo>
                    <a:pt x="748" y="103"/>
                  </a:lnTo>
                  <a:lnTo>
                    <a:pt x="749" y="95"/>
                  </a:lnTo>
                  <a:lnTo>
                    <a:pt x="750" y="89"/>
                  </a:lnTo>
                  <a:lnTo>
                    <a:pt x="752" y="82"/>
                  </a:lnTo>
                  <a:lnTo>
                    <a:pt x="754" y="77"/>
                  </a:lnTo>
                  <a:lnTo>
                    <a:pt x="757" y="72"/>
                  </a:lnTo>
                  <a:lnTo>
                    <a:pt x="760" y="67"/>
                  </a:lnTo>
                  <a:lnTo>
                    <a:pt x="764" y="62"/>
                  </a:lnTo>
                  <a:lnTo>
                    <a:pt x="768" y="58"/>
                  </a:lnTo>
                  <a:lnTo>
                    <a:pt x="772" y="55"/>
                  </a:lnTo>
                  <a:lnTo>
                    <a:pt x="778" y="53"/>
                  </a:lnTo>
                  <a:lnTo>
                    <a:pt x="783" y="50"/>
                  </a:lnTo>
                  <a:lnTo>
                    <a:pt x="788" y="48"/>
                  </a:lnTo>
                  <a:lnTo>
                    <a:pt x="795" y="47"/>
                  </a:lnTo>
                  <a:lnTo>
                    <a:pt x="802" y="45"/>
                  </a:lnTo>
                  <a:lnTo>
                    <a:pt x="809" y="45"/>
                  </a:lnTo>
                  <a:lnTo>
                    <a:pt x="816" y="45"/>
                  </a:lnTo>
                  <a:lnTo>
                    <a:pt x="823" y="47"/>
                  </a:lnTo>
                  <a:lnTo>
                    <a:pt x="829" y="48"/>
                  </a:lnTo>
                  <a:lnTo>
                    <a:pt x="835" y="50"/>
                  </a:lnTo>
                  <a:lnTo>
                    <a:pt x="840" y="53"/>
                  </a:lnTo>
                  <a:lnTo>
                    <a:pt x="845" y="55"/>
                  </a:lnTo>
                  <a:lnTo>
                    <a:pt x="851" y="58"/>
                  </a:lnTo>
                  <a:lnTo>
                    <a:pt x="854" y="62"/>
                  </a:lnTo>
                  <a:lnTo>
                    <a:pt x="858" y="67"/>
                  </a:lnTo>
                  <a:lnTo>
                    <a:pt x="861" y="72"/>
                  </a:lnTo>
                  <a:lnTo>
                    <a:pt x="863" y="77"/>
                  </a:lnTo>
                  <a:lnTo>
                    <a:pt x="867" y="82"/>
                  </a:lnTo>
                  <a:lnTo>
                    <a:pt x="868" y="89"/>
                  </a:lnTo>
                  <a:lnTo>
                    <a:pt x="869" y="95"/>
                  </a:lnTo>
                  <a:lnTo>
                    <a:pt x="870" y="103"/>
                  </a:lnTo>
                  <a:lnTo>
                    <a:pt x="870" y="110"/>
                  </a:lnTo>
                  <a:lnTo>
                    <a:pt x="870" y="243"/>
                  </a:lnTo>
                  <a:lnTo>
                    <a:pt x="870" y="251"/>
                  </a:lnTo>
                  <a:lnTo>
                    <a:pt x="869" y="257"/>
                  </a:lnTo>
                  <a:lnTo>
                    <a:pt x="868" y="264"/>
                  </a:lnTo>
                  <a:lnTo>
                    <a:pt x="867" y="271"/>
                  </a:lnTo>
                  <a:lnTo>
                    <a:pt x="863" y="276"/>
                  </a:lnTo>
                  <a:lnTo>
                    <a:pt x="861" y="281"/>
                  </a:lnTo>
                  <a:lnTo>
                    <a:pt x="858" y="287"/>
                  </a:lnTo>
                  <a:lnTo>
                    <a:pt x="854" y="291"/>
                  </a:lnTo>
                  <a:lnTo>
                    <a:pt x="851" y="294"/>
                  </a:lnTo>
                  <a:lnTo>
                    <a:pt x="845" y="298"/>
                  </a:lnTo>
                  <a:lnTo>
                    <a:pt x="840" y="300"/>
                  </a:lnTo>
                  <a:lnTo>
                    <a:pt x="835" y="302"/>
                  </a:lnTo>
                  <a:lnTo>
                    <a:pt x="829" y="305"/>
                  </a:lnTo>
                  <a:lnTo>
                    <a:pt x="823" y="307"/>
                  </a:lnTo>
                  <a:lnTo>
                    <a:pt x="816" y="307"/>
                  </a:lnTo>
                  <a:lnTo>
                    <a:pt x="809" y="308"/>
                  </a:lnTo>
                  <a:lnTo>
                    <a:pt x="802" y="307"/>
                  </a:lnTo>
                  <a:lnTo>
                    <a:pt x="795" y="307"/>
                  </a:lnTo>
                  <a:lnTo>
                    <a:pt x="788" y="305"/>
                  </a:lnTo>
                  <a:lnTo>
                    <a:pt x="783" y="302"/>
                  </a:lnTo>
                  <a:lnTo>
                    <a:pt x="778" y="300"/>
                  </a:lnTo>
                  <a:lnTo>
                    <a:pt x="772" y="298"/>
                  </a:lnTo>
                  <a:lnTo>
                    <a:pt x="768" y="294"/>
                  </a:lnTo>
                  <a:lnTo>
                    <a:pt x="764" y="291"/>
                  </a:lnTo>
                  <a:lnTo>
                    <a:pt x="760" y="287"/>
                  </a:lnTo>
                  <a:lnTo>
                    <a:pt x="757" y="281"/>
                  </a:lnTo>
                  <a:lnTo>
                    <a:pt x="754" y="276"/>
                  </a:lnTo>
                  <a:lnTo>
                    <a:pt x="752" y="271"/>
                  </a:lnTo>
                  <a:lnTo>
                    <a:pt x="750" y="264"/>
                  </a:lnTo>
                  <a:lnTo>
                    <a:pt x="749" y="257"/>
                  </a:lnTo>
                  <a:lnTo>
                    <a:pt x="748" y="251"/>
                  </a:lnTo>
                  <a:lnTo>
                    <a:pt x="748" y="243"/>
                  </a:lnTo>
                  <a:lnTo>
                    <a:pt x="748" y="110"/>
                  </a:lnTo>
                  <a:close/>
                  <a:moveTo>
                    <a:pt x="600" y="49"/>
                  </a:moveTo>
                  <a:lnTo>
                    <a:pt x="725" y="49"/>
                  </a:lnTo>
                  <a:lnTo>
                    <a:pt x="725" y="86"/>
                  </a:lnTo>
                  <a:lnTo>
                    <a:pt x="682" y="86"/>
                  </a:lnTo>
                  <a:lnTo>
                    <a:pt x="682" y="305"/>
                  </a:lnTo>
                  <a:lnTo>
                    <a:pt x="642" y="305"/>
                  </a:lnTo>
                  <a:lnTo>
                    <a:pt x="642" y="86"/>
                  </a:lnTo>
                  <a:lnTo>
                    <a:pt x="600" y="86"/>
                  </a:lnTo>
                  <a:lnTo>
                    <a:pt x="600" y="49"/>
                  </a:lnTo>
                  <a:close/>
                  <a:moveTo>
                    <a:pt x="461" y="49"/>
                  </a:moveTo>
                  <a:lnTo>
                    <a:pt x="585" y="49"/>
                  </a:lnTo>
                  <a:lnTo>
                    <a:pt x="585" y="86"/>
                  </a:lnTo>
                  <a:lnTo>
                    <a:pt x="543" y="86"/>
                  </a:lnTo>
                  <a:lnTo>
                    <a:pt x="543" y="305"/>
                  </a:lnTo>
                  <a:lnTo>
                    <a:pt x="503" y="305"/>
                  </a:lnTo>
                  <a:lnTo>
                    <a:pt x="503" y="86"/>
                  </a:lnTo>
                  <a:lnTo>
                    <a:pt x="461" y="86"/>
                  </a:lnTo>
                  <a:lnTo>
                    <a:pt x="461" y="49"/>
                  </a:lnTo>
                  <a:close/>
                  <a:moveTo>
                    <a:pt x="357" y="220"/>
                  </a:moveTo>
                  <a:lnTo>
                    <a:pt x="306" y="49"/>
                  </a:lnTo>
                  <a:lnTo>
                    <a:pt x="348" y="49"/>
                  </a:lnTo>
                  <a:lnTo>
                    <a:pt x="379" y="165"/>
                  </a:lnTo>
                  <a:lnTo>
                    <a:pt x="410" y="49"/>
                  </a:lnTo>
                  <a:lnTo>
                    <a:pt x="448" y="49"/>
                  </a:lnTo>
                  <a:lnTo>
                    <a:pt x="397" y="220"/>
                  </a:lnTo>
                  <a:lnTo>
                    <a:pt x="397" y="305"/>
                  </a:lnTo>
                  <a:lnTo>
                    <a:pt x="357" y="305"/>
                  </a:lnTo>
                  <a:lnTo>
                    <a:pt x="357" y="220"/>
                  </a:lnTo>
                  <a:close/>
                  <a:moveTo>
                    <a:pt x="266" y="0"/>
                  </a:moveTo>
                  <a:lnTo>
                    <a:pt x="266" y="35"/>
                  </a:lnTo>
                  <a:lnTo>
                    <a:pt x="231" y="35"/>
                  </a:lnTo>
                  <a:lnTo>
                    <a:pt x="231" y="0"/>
                  </a:lnTo>
                  <a:lnTo>
                    <a:pt x="266" y="0"/>
                  </a:lnTo>
                  <a:close/>
                  <a:moveTo>
                    <a:pt x="199" y="223"/>
                  </a:moveTo>
                  <a:lnTo>
                    <a:pt x="238" y="223"/>
                  </a:lnTo>
                  <a:lnTo>
                    <a:pt x="219" y="94"/>
                  </a:lnTo>
                  <a:lnTo>
                    <a:pt x="199" y="223"/>
                  </a:lnTo>
                  <a:close/>
                  <a:moveTo>
                    <a:pt x="211" y="0"/>
                  </a:moveTo>
                  <a:lnTo>
                    <a:pt x="211" y="35"/>
                  </a:lnTo>
                  <a:lnTo>
                    <a:pt x="175" y="35"/>
                  </a:lnTo>
                  <a:lnTo>
                    <a:pt x="175" y="0"/>
                  </a:lnTo>
                  <a:lnTo>
                    <a:pt x="211" y="0"/>
                  </a:lnTo>
                  <a:close/>
                  <a:moveTo>
                    <a:pt x="291" y="305"/>
                  </a:moveTo>
                  <a:lnTo>
                    <a:pt x="251" y="305"/>
                  </a:lnTo>
                  <a:lnTo>
                    <a:pt x="244" y="258"/>
                  </a:lnTo>
                  <a:lnTo>
                    <a:pt x="194" y="258"/>
                  </a:lnTo>
                  <a:lnTo>
                    <a:pt x="188" y="305"/>
                  </a:lnTo>
                  <a:lnTo>
                    <a:pt x="151" y="305"/>
                  </a:lnTo>
                  <a:lnTo>
                    <a:pt x="192" y="49"/>
                  </a:lnTo>
                  <a:lnTo>
                    <a:pt x="250" y="49"/>
                  </a:lnTo>
                  <a:lnTo>
                    <a:pt x="291" y="305"/>
                  </a:lnTo>
                  <a:close/>
                  <a:moveTo>
                    <a:pt x="53" y="202"/>
                  </a:moveTo>
                  <a:lnTo>
                    <a:pt x="41" y="226"/>
                  </a:lnTo>
                  <a:lnTo>
                    <a:pt x="41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41" y="49"/>
                  </a:lnTo>
                  <a:lnTo>
                    <a:pt x="41" y="160"/>
                  </a:lnTo>
                  <a:lnTo>
                    <a:pt x="93" y="49"/>
                  </a:lnTo>
                  <a:lnTo>
                    <a:pt x="134" y="49"/>
                  </a:lnTo>
                  <a:lnTo>
                    <a:pt x="78" y="163"/>
                  </a:lnTo>
                  <a:lnTo>
                    <a:pt x="134" y="305"/>
                  </a:lnTo>
                  <a:lnTo>
                    <a:pt x="92" y="305"/>
                  </a:lnTo>
                  <a:lnTo>
                    <a:pt x="5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395889249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A02A0CC-E3FC-45DD-B8B0-34028B13C12C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24"/>
            <p:cNvSpPr>
              <a:spLocks noEditPoints="1"/>
            </p:cNvSpPr>
            <p:nvPr userDrawn="1"/>
          </p:nvSpPr>
          <p:spPr bwMode="auto">
            <a:xfrm>
              <a:off x="9011200" y="6428428"/>
              <a:ext cx="1668858" cy="290400"/>
            </a:xfrm>
            <a:custGeom>
              <a:avLst/>
              <a:gdLst>
                <a:gd name="T0" fmla="*/ 1770 w 1770"/>
                <a:gd name="T1" fmla="*/ 305 h 308"/>
                <a:gd name="T2" fmla="*/ 1629 w 1770"/>
                <a:gd name="T3" fmla="*/ 305 h 308"/>
                <a:gd name="T4" fmla="*/ 1524 w 1770"/>
                <a:gd name="T5" fmla="*/ 164 h 308"/>
                <a:gd name="T6" fmla="*/ 1557 w 1770"/>
                <a:gd name="T7" fmla="*/ 158 h 308"/>
                <a:gd name="T8" fmla="*/ 1563 w 1770"/>
                <a:gd name="T9" fmla="*/ 111 h 308"/>
                <a:gd name="T10" fmla="*/ 1559 w 1770"/>
                <a:gd name="T11" fmla="*/ 91 h 308"/>
                <a:gd name="T12" fmla="*/ 1524 w 1770"/>
                <a:gd name="T13" fmla="*/ 86 h 308"/>
                <a:gd name="T14" fmla="*/ 1564 w 1770"/>
                <a:gd name="T15" fmla="*/ 273 h 308"/>
                <a:gd name="T16" fmla="*/ 1558 w 1770"/>
                <a:gd name="T17" fmla="*/ 207 h 308"/>
                <a:gd name="T18" fmla="*/ 1538 w 1770"/>
                <a:gd name="T19" fmla="*/ 200 h 308"/>
                <a:gd name="T20" fmla="*/ 1544 w 1770"/>
                <a:gd name="T21" fmla="*/ 49 h 308"/>
                <a:gd name="T22" fmla="*/ 1577 w 1770"/>
                <a:gd name="T23" fmla="*/ 54 h 308"/>
                <a:gd name="T24" fmla="*/ 1596 w 1770"/>
                <a:gd name="T25" fmla="*/ 72 h 308"/>
                <a:gd name="T26" fmla="*/ 1604 w 1770"/>
                <a:gd name="T27" fmla="*/ 100 h 308"/>
                <a:gd name="T28" fmla="*/ 1600 w 1770"/>
                <a:gd name="T29" fmla="*/ 153 h 308"/>
                <a:gd name="T30" fmla="*/ 1578 w 1770"/>
                <a:gd name="T31" fmla="*/ 180 h 308"/>
                <a:gd name="T32" fmla="*/ 1593 w 1770"/>
                <a:gd name="T33" fmla="*/ 190 h 308"/>
                <a:gd name="T34" fmla="*/ 1604 w 1770"/>
                <a:gd name="T35" fmla="*/ 224 h 308"/>
                <a:gd name="T36" fmla="*/ 1607 w 1770"/>
                <a:gd name="T37" fmla="*/ 297 h 308"/>
                <a:gd name="T38" fmla="*/ 1384 w 1770"/>
                <a:gd name="T39" fmla="*/ 94 h 308"/>
                <a:gd name="T40" fmla="*/ 1359 w 1770"/>
                <a:gd name="T41" fmla="*/ 258 h 308"/>
                <a:gd name="T42" fmla="*/ 1456 w 1770"/>
                <a:gd name="T43" fmla="*/ 305 h 308"/>
                <a:gd name="T44" fmla="*/ 1208 w 1770"/>
                <a:gd name="T45" fmla="*/ 305 h 308"/>
                <a:gd name="T46" fmla="*/ 1108 w 1770"/>
                <a:gd name="T47" fmla="*/ 223 h 308"/>
                <a:gd name="T48" fmla="*/ 1113 w 1770"/>
                <a:gd name="T49" fmla="*/ 258 h 308"/>
                <a:gd name="T50" fmla="*/ 1119 w 1770"/>
                <a:gd name="T51" fmla="*/ 49 h 308"/>
                <a:gd name="T52" fmla="*/ 975 w 1770"/>
                <a:gd name="T53" fmla="*/ 86 h 308"/>
                <a:gd name="T54" fmla="*/ 893 w 1770"/>
                <a:gd name="T55" fmla="*/ 49 h 308"/>
                <a:gd name="T56" fmla="*/ 854 w 1770"/>
                <a:gd name="T57" fmla="*/ 0 h 308"/>
                <a:gd name="T58" fmla="*/ 791 w 1770"/>
                <a:gd name="T59" fmla="*/ 261 h 308"/>
                <a:gd name="T60" fmla="*/ 809 w 1770"/>
                <a:gd name="T61" fmla="*/ 271 h 308"/>
                <a:gd name="T62" fmla="*/ 826 w 1770"/>
                <a:gd name="T63" fmla="*/ 261 h 308"/>
                <a:gd name="T64" fmla="*/ 829 w 1770"/>
                <a:gd name="T65" fmla="*/ 102 h 308"/>
                <a:gd name="T66" fmla="*/ 821 w 1770"/>
                <a:gd name="T67" fmla="*/ 86 h 308"/>
                <a:gd name="T68" fmla="*/ 800 w 1770"/>
                <a:gd name="T69" fmla="*/ 84 h 308"/>
                <a:gd name="T70" fmla="*/ 788 w 1770"/>
                <a:gd name="T71" fmla="*/ 102 h 308"/>
                <a:gd name="T72" fmla="*/ 764 w 1770"/>
                <a:gd name="T73" fmla="*/ 35 h 308"/>
                <a:gd name="T74" fmla="*/ 749 w 1770"/>
                <a:gd name="T75" fmla="*/ 95 h 308"/>
                <a:gd name="T76" fmla="*/ 760 w 1770"/>
                <a:gd name="T77" fmla="*/ 67 h 308"/>
                <a:gd name="T78" fmla="*/ 783 w 1770"/>
                <a:gd name="T79" fmla="*/ 50 h 308"/>
                <a:gd name="T80" fmla="*/ 816 w 1770"/>
                <a:gd name="T81" fmla="*/ 45 h 308"/>
                <a:gd name="T82" fmla="*/ 845 w 1770"/>
                <a:gd name="T83" fmla="*/ 55 h 308"/>
                <a:gd name="T84" fmla="*/ 863 w 1770"/>
                <a:gd name="T85" fmla="*/ 77 h 308"/>
                <a:gd name="T86" fmla="*/ 870 w 1770"/>
                <a:gd name="T87" fmla="*/ 110 h 308"/>
                <a:gd name="T88" fmla="*/ 867 w 1770"/>
                <a:gd name="T89" fmla="*/ 271 h 308"/>
                <a:gd name="T90" fmla="*/ 851 w 1770"/>
                <a:gd name="T91" fmla="*/ 294 h 308"/>
                <a:gd name="T92" fmla="*/ 823 w 1770"/>
                <a:gd name="T93" fmla="*/ 307 h 308"/>
                <a:gd name="T94" fmla="*/ 788 w 1770"/>
                <a:gd name="T95" fmla="*/ 305 h 308"/>
                <a:gd name="T96" fmla="*/ 764 w 1770"/>
                <a:gd name="T97" fmla="*/ 291 h 308"/>
                <a:gd name="T98" fmla="*/ 750 w 1770"/>
                <a:gd name="T99" fmla="*/ 264 h 308"/>
                <a:gd name="T100" fmla="*/ 600 w 1770"/>
                <a:gd name="T101" fmla="*/ 49 h 308"/>
                <a:gd name="T102" fmla="*/ 642 w 1770"/>
                <a:gd name="T103" fmla="*/ 305 h 308"/>
                <a:gd name="T104" fmla="*/ 585 w 1770"/>
                <a:gd name="T105" fmla="*/ 49 h 308"/>
                <a:gd name="T106" fmla="*/ 503 w 1770"/>
                <a:gd name="T107" fmla="*/ 86 h 308"/>
                <a:gd name="T108" fmla="*/ 348 w 1770"/>
                <a:gd name="T109" fmla="*/ 49 h 308"/>
                <a:gd name="T110" fmla="*/ 397 w 1770"/>
                <a:gd name="T111" fmla="*/ 305 h 308"/>
                <a:gd name="T112" fmla="*/ 231 w 1770"/>
                <a:gd name="T113" fmla="*/ 35 h 308"/>
                <a:gd name="T114" fmla="*/ 219 w 1770"/>
                <a:gd name="T115" fmla="*/ 94 h 308"/>
                <a:gd name="T116" fmla="*/ 175 w 1770"/>
                <a:gd name="T117" fmla="*/ 0 h 308"/>
                <a:gd name="T118" fmla="*/ 194 w 1770"/>
                <a:gd name="T119" fmla="*/ 258 h 308"/>
                <a:gd name="T120" fmla="*/ 291 w 1770"/>
                <a:gd name="T121" fmla="*/ 305 h 308"/>
                <a:gd name="T122" fmla="*/ 0 w 1770"/>
                <a:gd name="T123" fmla="*/ 49 h 308"/>
                <a:gd name="T124" fmla="*/ 78 w 1770"/>
                <a:gd name="T125" fmla="*/ 16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0" h="308">
                  <a:moveTo>
                    <a:pt x="1679" y="223"/>
                  </a:moveTo>
                  <a:lnTo>
                    <a:pt x="1717" y="223"/>
                  </a:lnTo>
                  <a:lnTo>
                    <a:pt x="1698" y="94"/>
                  </a:lnTo>
                  <a:lnTo>
                    <a:pt x="1679" y="223"/>
                  </a:lnTo>
                  <a:close/>
                  <a:moveTo>
                    <a:pt x="1770" y="305"/>
                  </a:moveTo>
                  <a:lnTo>
                    <a:pt x="1729" y="305"/>
                  </a:lnTo>
                  <a:lnTo>
                    <a:pt x="1722" y="258"/>
                  </a:lnTo>
                  <a:lnTo>
                    <a:pt x="1673" y="258"/>
                  </a:lnTo>
                  <a:lnTo>
                    <a:pt x="1666" y="305"/>
                  </a:lnTo>
                  <a:lnTo>
                    <a:pt x="1629" y="305"/>
                  </a:lnTo>
                  <a:lnTo>
                    <a:pt x="1670" y="49"/>
                  </a:lnTo>
                  <a:lnTo>
                    <a:pt x="1729" y="49"/>
                  </a:lnTo>
                  <a:lnTo>
                    <a:pt x="1770" y="305"/>
                  </a:lnTo>
                  <a:close/>
                  <a:moveTo>
                    <a:pt x="1524" y="86"/>
                  </a:moveTo>
                  <a:lnTo>
                    <a:pt x="1524" y="164"/>
                  </a:lnTo>
                  <a:lnTo>
                    <a:pt x="1540" y="164"/>
                  </a:lnTo>
                  <a:lnTo>
                    <a:pt x="1545" y="163"/>
                  </a:lnTo>
                  <a:lnTo>
                    <a:pt x="1550" y="163"/>
                  </a:lnTo>
                  <a:lnTo>
                    <a:pt x="1554" y="161"/>
                  </a:lnTo>
                  <a:lnTo>
                    <a:pt x="1557" y="158"/>
                  </a:lnTo>
                  <a:lnTo>
                    <a:pt x="1560" y="154"/>
                  </a:lnTo>
                  <a:lnTo>
                    <a:pt x="1562" y="149"/>
                  </a:lnTo>
                  <a:lnTo>
                    <a:pt x="1563" y="144"/>
                  </a:lnTo>
                  <a:lnTo>
                    <a:pt x="1563" y="136"/>
                  </a:lnTo>
                  <a:lnTo>
                    <a:pt x="1563" y="111"/>
                  </a:lnTo>
                  <a:lnTo>
                    <a:pt x="1563" y="105"/>
                  </a:lnTo>
                  <a:lnTo>
                    <a:pt x="1562" y="99"/>
                  </a:lnTo>
                  <a:lnTo>
                    <a:pt x="1562" y="97"/>
                  </a:lnTo>
                  <a:lnTo>
                    <a:pt x="1561" y="95"/>
                  </a:lnTo>
                  <a:lnTo>
                    <a:pt x="1559" y="91"/>
                  </a:lnTo>
                  <a:lnTo>
                    <a:pt x="1556" y="89"/>
                  </a:lnTo>
                  <a:lnTo>
                    <a:pt x="1553" y="87"/>
                  </a:lnTo>
                  <a:lnTo>
                    <a:pt x="1549" y="86"/>
                  </a:lnTo>
                  <a:lnTo>
                    <a:pt x="1543" y="86"/>
                  </a:lnTo>
                  <a:lnTo>
                    <a:pt x="1524" y="86"/>
                  </a:lnTo>
                  <a:close/>
                  <a:moveTo>
                    <a:pt x="1568" y="305"/>
                  </a:moveTo>
                  <a:lnTo>
                    <a:pt x="1567" y="299"/>
                  </a:lnTo>
                  <a:lnTo>
                    <a:pt x="1566" y="294"/>
                  </a:lnTo>
                  <a:lnTo>
                    <a:pt x="1564" y="286"/>
                  </a:lnTo>
                  <a:lnTo>
                    <a:pt x="1564" y="273"/>
                  </a:lnTo>
                  <a:lnTo>
                    <a:pt x="1564" y="233"/>
                  </a:lnTo>
                  <a:lnTo>
                    <a:pt x="1563" y="224"/>
                  </a:lnTo>
                  <a:lnTo>
                    <a:pt x="1562" y="218"/>
                  </a:lnTo>
                  <a:lnTo>
                    <a:pt x="1560" y="212"/>
                  </a:lnTo>
                  <a:lnTo>
                    <a:pt x="1558" y="207"/>
                  </a:lnTo>
                  <a:lnTo>
                    <a:pt x="1554" y="204"/>
                  </a:lnTo>
                  <a:lnTo>
                    <a:pt x="1552" y="203"/>
                  </a:lnTo>
                  <a:lnTo>
                    <a:pt x="1550" y="202"/>
                  </a:lnTo>
                  <a:lnTo>
                    <a:pt x="1544" y="201"/>
                  </a:lnTo>
                  <a:lnTo>
                    <a:pt x="1538" y="200"/>
                  </a:lnTo>
                  <a:lnTo>
                    <a:pt x="1524" y="200"/>
                  </a:lnTo>
                  <a:lnTo>
                    <a:pt x="1524" y="305"/>
                  </a:lnTo>
                  <a:lnTo>
                    <a:pt x="1484" y="305"/>
                  </a:lnTo>
                  <a:lnTo>
                    <a:pt x="1484" y="49"/>
                  </a:lnTo>
                  <a:lnTo>
                    <a:pt x="1544" y="49"/>
                  </a:lnTo>
                  <a:lnTo>
                    <a:pt x="1552" y="49"/>
                  </a:lnTo>
                  <a:lnTo>
                    <a:pt x="1559" y="50"/>
                  </a:lnTo>
                  <a:lnTo>
                    <a:pt x="1566" y="51"/>
                  </a:lnTo>
                  <a:lnTo>
                    <a:pt x="1572" y="52"/>
                  </a:lnTo>
                  <a:lnTo>
                    <a:pt x="1577" y="54"/>
                  </a:lnTo>
                  <a:lnTo>
                    <a:pt x="1581" y="57"/>
                  </a:lnTo>
                  <a:lnTo>
                    <a:pt x="1586" y="60"/>
                  </a:lnTo>
                  <a:lnTo>
                    <a:pt x="1590" y="63"/>
                  </a:lnTo>
                  <a:lnTo>
                    <a:pt x="1593" y="67"/>
                  </a:lnTo>
                  <a:lnTo>
                    <a:pt x="1596" y="72"/>
                  </a:lnTo>
                  <a:lnTo>
                    <a:pt x="1598" y="76"/>
                  </a:lnTo>
                  <a:lnTo>
                    <a:pt x="1600" y="81"/>
                  </a:lnTo>
                  <a:lnTo>
                    <a:pt x="1603" y="88"/>
                  </a:lnTo>
                  <a:lnTo>
                    <a:pt x="1604" y="93"/>
                  </a:lnTo>
                  <a:lnTo>
                    <a:pt x="1604" y="100"/>
                  </a:lnTo>
                  <a:lnTo>
                    <a:pt x="1604" y="108"/>
                  </a:lnTo>
                  <a:lnTo>
                    <a:pt x="1604" y="128"/>
                  </a:lnTo>
                  <a:lnTo>
                    <a:pt x="1604" y="137"/>
                  </a:lnTo>
                  <a:lnTo>
                    <a:pt x="1603" y="146"/>
                  </a:lnTo>
                  <a:lnTo>
                    <a:pt x="1600" y="153"/>
                  </a:lnTo>
                  <a:lnTo>
                    <a:pt x="1597" y="160"/>
                  </a:lnTo>
                  <a:lnTo>
                    <a:pt x="1594" y="166"/>
                  </a:lnTo>
                  <a:lnTo>
                    <a:pt x="1590" y="171"/>
                  </a:lnTo>
                  <a:lnTo>
                    <a:pt x="1584" y="176"/>
                  </a:lnTo>
                  <a:lnTo>
                    <a:pt x="1578" y="180"/>
                  </a:lnTo>
                  <a:lnTo>
                    <a:pt x="1581" y="181"/>
                  </a:lnTo>
                  <a:lnTo>
                    <a:pt x="1585" y="183"/>
                  </a:lnTo>
                  <a:lnTo>
                    <a:pt x="1588" y="185"/>
                  </a:lnTo>
                  <a:lnTo>
                    <a:pt x="1590" y="187"/>
                  </a:lnTo>
                  <a:lnTo>
                    <a:pt x="1593" y="190"/>
                  </a:lnTo>
                  <a:lnTo>
                    <a:pt x="1595" y="194"/>
                  </a:lnTo>
                  <a:lnTo>
                    <a:pt x="1598" y="200"/>
                  </a:lnTo>
                  <a:lnTo>
                    <a:pt x="1601" y="207"/>
                  </a:lnTo>
                  <a:lnTo>
                    <a:pt x="1603" y="216"/>
                  </a:lnTo>
                  <a:lnTo>
                    <a:pt x="1604" y="224"/>
                  </a:lnTo>
                  <a:lnTo>
                    <a:pt x="1605" y="234"/>
                  </a:lnTo>
                  <a:lnTo>
                    <a:pt x="1605" y="273"/>
                  </a:lnTo>
                  <a:lnTo>
                    <a:pt x="1605" y="282"/>
                  </a:lnTo>
                  <a:lnTo>
                    <a:pt x="1605" y="290"/>
                  </a:lnTo>
                  <a:lnTo>
                    <a:pt x="1607" y="297"/>
                  </a:lnTo>
                  <a:lnTo>
                    <a:pt x="1609" y="305"/>
                  </a:lnTo>
                  <a:lnTo>
                    <a:pt x="1568" y="305"/>
                  </a:lnTo>
                  <a:close/>
                  <a:moveTo>
                    <a:pt x="1365" y="223"/>
                  </a:moveTo>
                  <a:lnTo>
                    <a:pt x="1403" y="223"/>
                  </a:lnTo>
                  <a:lnTo>
                    <a:pt x="1384" y="94"/>
                  </a:lnTo>
                  <a:lnTo>
                    <a:pt x="1365" y="223"/>
                  </a:lnTo>
                  <a:close/>
                  <a:moveTo>
                    <a:pt x="1456" y="305"/>
                  </a:moveTo>
                  <a:lnTo>
                    <a:pt x="1415" y="305"/>
                  </a:lnTo>
                  <a:lnTo>
                    <a:pt x="1409" y="258"/>
                  </a:lnTo>
                  <a:lnTo>
                    <a:pt x="1359" y="258"/>
                  </a:lnTo>
                  <a:lnTo>
                    <a:pt x="1352" y="305"/>
                  </a:lnTo>
                  <a:lnTo>
                    <a:pt x="1315" y="305"/>
                  </a:lnTo>
                  <a:lnTo>
                    <a:pt x="1356" y="49"/>
                  </a:lnTo>
                  <a:lnTo>
                    <a:pt x="1415" y="49"/>
                  </a:lnTo>
                  <a:lnTo>
                    <a:pt x="1456" y="305"/>
                  </a:lnTo>
                  <a:close/>
                  <a:moveTo>
                    <a:pt x="1240" y="257"/>
                  </a:moveTo>
                  <a:lnTo>
                    <a:pt x="1270" y="49"/>
                  </a:lnTo>
                  <a:lnTo>
                    <a:pt x="1307" y="49"/>
                  </a:lnTo>
                  <a:lnTo>
                    <a:pt x="1268" y="305"/>
                  </a:lnTo>
                  <a:lnTo>
                    <a:pt x="1208" y="305"/>
                  </a:lnTo>
                  <a:lnTo>
                    <a:pt x="1169" y="49"/>
                  </a:lnTo>
                  <a:lnTo>
                    <a:pt x="1209" y="49"/>
                  </a:lnTo>
                  <a:lnTo>
                    <a:pt x="1240" y="257"/>
                  </a:lnTo>
                  <a:close/>
                  <a:moveTo>
                    <a:pt x="1068" y="223"/>
                  </a:moveTo>
                  <a:lnTo>
                    <a:pt x="1108" y="223"/>
                  </a:lnTo>
                  <a:lnTo>
                    <a:pt x="1089" y="94"/>
                  </a:lnTo>
                  <a:lnTo>
                    <a:pt x="1068" y="223"/>
                  </a:lnTo>
                  <a:close/>
                  <a:moveTo>
                    <a:pt x="1160" y="305"/>
                  </a:moveTo>
                  <a:lnTo>
                    <a:pt x="1120" y="305"/>
                  </a:lnTo>
                  <a:lnTo>
                    <a:pt x="1113" y="258"/>
                  </a:lnTo>
                  <a:lnTo>
                    <a:pt x="1063" y="258"/>
                  </a:lnTo>
                  <a:lnTo>
                    <a:pt x="1057" y="305"/>
                  </a:lnTo>
                  <a:lnTo>
                    <a:pt x="1020" y="305"/>
                  </a:lnTo>
                  <a:lnTo>
                    <a:pt x="1061" y="49"/>
                  </a:lnTo>
                  <a:lnTo>
                    <a:pt x="1119" y="49"/>
                  </a:lnTo>
                  <a:lnTo>
                    <a:pt x="1160" y="305"/>
                  </a:lnTo>
                  <a:close/>
                  <a:moveTo>
                    <a:pt x="893" y="49"/>
                  </a:moveTo>
                  <a:lnTo>
                    <a:pt x="1018" y="49"/>
                  </a:lnTo>
                  <a:lnTo>
                    <a:pt x="1018" y="86"/>
                  </a:lnTo>
                  <a:lnTo>
                    <a:pt x="975" y="86"/>
                  </a:lnTo>
                  <a:lnTo>
                    <a:pt x="975" y="305"/>
                  </a:lnTo>
                  <a:lnTo>
                    <a:pt x="935" y="305"/>
                  </a:lnTo>
                  <a:lnTo>
                    <a:pt x="935" y="86"/>
                  </a:lnTo>
                  <a:lnTo>
                    <a:pt x="893" y="86"/>
                  </a:lnTo>
                  <a:lnTo>
                    <a:pt x="893" y="49"/>
                  </a:lnTo>
                  <a:close/>
                  <a:moveTo>
                    <a:pt x="854" y="0"/>
                  </a:moveTo>
                  <a:lnTo>
                    <a:pt x="854" y="35"/>
                  </a:lnTo>
                  <a:lnTo>
                    <a:pt x="819" y="35"/>
                  </a:lnTo>
                  <a:lnTo>
                    <a:pt x="819" y="0"/>
                  </a:lnTo>
                  <a:lnTo>
                    <a:pt x="854" y="0"/>
                  </a:lnTo>
                  <a:close/>
                  <a:moveTo>
                    <a:pt x="788" y="245"/>
                  </a:moveTo>
                  <a:lnTo>
                    <a:pt x="788" y="252"/>
                  </a:lnTo>
                  <a:lnTo>
                    <a:pt x="789" y="257"/>
                  </a:lnTo>
                  <a:lnTo>
                    <a:pt x="790" y="259"/>
                  </a:lnTo>
                  <a:lnTo>
                    <a:pt x="791" y="261"/>
                  </a:lnTo>
                  <a:lnTo>
                    <a:pt x="794" y="265"/>
                  </a:lnTo>
                  <a:lnTo>
                    <a:pt x="797" y="268"/>
                  </a:lnTo>
                  <a:lnTo>
                    <a:pt x="800" y="270"/>
                  </a:lnTo>
                  <a:lnTo>
                    <a:pt x="804" y="271"/>
                  </a:lnTo>
                  <a:lnTo>
                    <a:pt x="809" y="271"/>
                  </a:lnTo>
                  <a:lnTo>
                    <a:pt x="814" y="271"/>
                  </a:lnTo>
                  <a:lnTo>
                    <a:pt x="818" y="270"/>
                  </a:lnTo>
                  <a:lnTo>
                    <a:pt x="821" y="268"/>
                  </a:lnTo>
                  <a:lnTo>
                    <a:pt x="824" y="265"/>
                  </a:lnTo>
                  <a:lnTo>
                    <a:pt x="826" y="261"/>
                  </a:lnTo>
                  <a:lnTo>
                    <a:pt x="828" y="257"/>
                  </a:lnTo>
                  <a:lnTo>
                    <a:pt x="829" y="252"/>
                  </a:lnTo>
                  <a:lnTo>
                    <a:pt x="829" y="245"/>
                  </a:lnTo>
                  <a:lnTo>
                    <a:pt x="829" y="108"/>
                  </a:lnTo>
                  <a:lnTo>
                    <a:pt x="829" y="102"/>
                  </a:lnTo>
                  <a:lnTo>
                    <a:pt x="828" y="96"/>
                  </a:lnTo>
                  <a:lnTo>
                    <a:pt x="827" y="93"/>
                  </a:lnTo>
                  <a:lnTo>
                    <a:pt x="826" y="91"/>
                  </a:lnTo>
                  <a:lnTo>
                    <a:pt x="824" y="88"/>
                  </a:lnTo>
                  <a:lnTo>
                    <a:pt x="821" y="86"/>
                  </a:lnTo>
                  <a:lnTo>
                    <a:pt x="818" y="84"/>
                  </a:lnTo>
                  <a:lnTo>
                    <a:pt x="814" y="82"/>
                  </a:lnTo>
                  <a:lnTo>
                    <a:pt x="809" y="82"/>
                  </a:lnTo>
                  <a:lnTo>
                    <a:pt x="804" y="82"/>
                  </a:lnTo>
                  <a:lnTo>
                    <a:pt x="800" y="84"/>
                  </a:lnTo>
                  <a:lnTo>
                    <a:pt x="797" y="86"/>
                  </a:lnTo>
                  <a:lnTo>
                    <a:pt x="794" y="88"/>
                  </a:lnTo>
                  <a:lnTo>
                    <a:pt x="791" y="91"/>
                  </a:lnTo>
                  <a:lnTo>
                    <a:pt x="789" y="96"/>
                  </a:lnTo>
                  <a:lnTo>
                    <a:pt x="788" y="102"/>
                  </a:lnTo>
                  <a:lnTo>
                    <a:pt x="788" y="108"/>
                  </a:lnTo>
                  <a:lnTo>
                    <a:pt x="788" y="245"/>
                  </a:lnTo>
                  <a:close/>
                  <a:moveTo>
                    <a:pt x="799" y="0"/>
                  </a:moveTo>
                  <a:lnTo>
                    <a:pt x="799" y="35"/>
                  </a:lnTo>
                  <a:lnTo>
                    <a:pt x="764" y="35"/>
                  </a:lnTo>
                  <a:lnTo>
                    <a:pt x="764" y="0"/>
                  </a:lnTo>
                  <a:lnTo>
                    <a:pt x="799" y="0"/>
                  </a:lnTo>
                  <a:close/>
                  <a:moveTo>
                    <a:pt x="748" y="110"/>
                  </a:moveTo>
                  <a:lnTo>
                    <a:pt x="748" y="103"/>
                  </a:lnTo>
                  <a:lnTo>
                    <a:pt x="749" y="95"/>
                  </a:lnTo>
                  <a:lnTo>
                    <a:pt x="750" y="89"/>
                  </a:lnTo>
                  <a:lnTo>
                    <a:pt x="752" y="82"/>
                  </a:lnTo>
                  <a:lnTo>
                    <a:pt x="754" y="77"/>
                  </a:lnTo>
                  <a:lnTo>
                    <a:pt x="757" y="72"/>
                  </a:lnTo>
                  <a:lnTo>
                    <a:pt x="760" y="67"/>
                  </a:lnTo>
                  <a:lnTo>
                    <a:pt x="764" y="62"/>
                  </a:lnTo>
                  <a:lnTo>
                    <a:pt x="768" y="58"/>
                  </a:lnTo>
                  <a:lnTo>
                    <a:pt x="772" y="55"/>
                  </a:lnTo>
                  <a:lnTo>
                    <a:pt x="778" y="53"/>
                  </a:lnTo>
                  <a:lnTo>
                    <a:pt x="783" y="50"/>
                  </a:lnTo>
                  <a:lnTo>
                    <a:pt x="788" y="48"/>
                  </a:lnTo>
                  <a:lnTo>
                    <a:pt x="795" y="47"/>
                  </a:lnTo>
                  <a:lnTo>
                    <a:pt x="802" y="45"/>
                  </a:lnTo>
                  <a:lnTo>
                    <a:pt x="809" y="45"/>
                  </a:lnTo>
                  <a:lnTo>
                    <a:pt x="816" y="45"/>
                  </a:lnTo>
                  <a:lnTo>
                    <a:pt x="823" y="47"/>
                  </a:lnTo>
                  <a:lnTo>
                    <a:pt x="829" y="48"/>
                  </a:lnTo>
                  <a:lnTo>
                    <a:pt x="835" y="50"/>
                  </a:lnTo>
                  <a:lnTo>
                    <a:pt x="840" y="53"/>
                  </a:lnTo>
                  <a:lnTo>
                    <a:pt x="845" y="55"/>
                  </a:lnTo>
                  <a:lnTo>
                    <a:pt x="851" y="58"/>
                  </a:lnTo>
                  <a:lnTo>
                    <a:pt x="854" y="62"/>
                  </a:lnTo>
                  <a:lnTo>
                    <a:pt x="858" y="67"/>
                  </a:lnTo>
                  <a:lnTo>
                    <a:pt x="861" y="72"/>
                  </a:lnTo>
                  <a:lnTo>
                    <a:pt x="863" y="77"/>
                  </a:lnTo>
                  <a:lnTo>
                    <a:pt x="867" y="82"/>
                  </a:lnTo>
                  <a:lnTo>
                    <a:pt x="868" y="89"/>
                  </a:lnTo>
                  <a:lnTo>
                    <a:pt x="869" y="95"/>
                  </a:lnTo>
                  <a:lnTo>
                    <a:pt x="870" y="103"/>
                  </a:lnTo>
                  <a:lnTo>
                    <a:pt x="870" y="110"/>
                  </a:lnTo>
                  <a:lnTo>
                    <a:pt x="870" y="243"/>
                  </a:lnTo>
                  <a:lnTo>
                    <a:pt x="870" y="251"/>
                  </a:lnTo>
                  <a:lnTo>
                    <a:pt x="869" y="257"/>
                  </a:lnTo>
                  <a:lnTo>
                    <a:pt x="868" y="264"/>
                  </a:lnTo>
                  <a:lnTo>
                    <a:pt x="867" y="271"/>
                  </a:lnTo>
                  <a:lnTo>
                    <a:pt x="863" y="276"/>
                  </a:lnTo>
                  <a:lnTo>
                    <a:pt x="861" y="281"/>
                  </a:lnTo>
                  <a:lnTo>
                    <a:pt x="858" y="287"/>
                  </a:lnTo>
                  <a:lnTo>
                    <a:pt x="854" y="291"/>
                  </a:lnTo>
                  <a:lnTo>
                    <a:pt x="851" y="294"/>
                  </a:lnTo>
                  <a:lnTo>
                    <a:pt x="845" y="298"/>
                  </a:lnTo>
                  <a:lnTo>
                    <a:pt x="840" y="300"/>
                  </a:lnTo>
                  <a:lnTo>
                    <a:pt x="835" y="302"/>
                  </a:lnTo>
                  <a:lnTo>
                    <a:pt x="829" y="305"/>
                  </a:lnTo>
                  <a:lnTo>
                    <a:pt x="823" y="307"/>
                  </a:lnTo>
                  <a:lnTo>
                    <a:pt x="816" y="307"/>
                  </a:lnTo>
                  <a:lnTo>
                    <a:pt x="809" y="308"/>
                  </a:lnTo>
                  <a:lnTo>
                    <a:pt x="802" y="307"/>
                  </a:lnTo>
                  <a:lnTo>
                    <a:pt x="795" y="307"/>
                  </a:lnTo>
                  <a:lnTo>
                    <a:pt x="788" y="305"/>
                  </a:lnTo>
                  <a:lnTo>
                    <a:pt x="783" y="302"/>
                  </a:lnTo>
                  <a:lnTo>
                    <a:pt x="778" y="300"/>
                  </a:lnTo>
                  <a:lnTo>
                    <a:pt x="772" y="298"/>
                  </a:lnTo>
                  <a:lnTo>
                    <a:pt x="768" y="294"/>
                  </a:lnTo>
                  <a:lnTo>
                    <a:pt x="764" y="291"/>
                  </a:lnTo>
                  <a:lnTo>
                    <a:pt x="760" y="287"/>
                  </a:lnTo>
                  <a:lnTo>
                    <a:pt x="757" y="281"/>
                  </a:lnTo>
                  <a:lnTo>
                    <a:pt x="754" y="276"/>
                  </a:lnTo>
                  <a:lnTo>
                    <a:pt x="752" y="271"/>
                  </a:lnTo>
                  <a:lnTo>
                    <a:pt x="750" y="264"/>
                  </a:lnTo>
                  <a:lnTo>
                    <a:pt x="749" y="257"/>
                  </a:lnTo>
                  <a:lnTo>
                    <a:pt x="748" y="251"/>
                  </a:lnTo>
                  <a:lnTo>
                    <a:pt x="748" y="243"/>
                  </a:lnTo>
                  <a:lnTo>
                    <a:pt x="748" y="110"/>
                  </a:lnTo>
                  <a:close/>
                  <a:moveTo>
                    <a:pt x="600" y="49"/>
                  </a:moveTo>
                  <a:lnTo>
                    <a:pt x="725" y="49"/>
                  </a:lnTo>
                  <a:lnTo>
                    <a:pt x="725" y="86"/>
                  </a:lnTo>
                  <a:lnTo>
                    <a:pt x="682" y="86"/>
                  </a:lnTo>
                  <a:lnTo>
                    <a:pt x="682" y="305"/>
                  </a:lnTo>
                  <a:lnTo>
                    <a:pt x="642" y="305"/>
                  </a:lnTo>
                  <a:lnTo>
                    <a:pt x="642" y="86"/>
                  </a:lnTo>
                  <a:lnTo>
                    <a:pt x="600" y="86"/>
                  </a:lnTo>
                  <a:lnTo>
                    <a:pt x="600" y="49"/>
                  </a:lnTo>
                  <a:close/>
                  <a:moveTo>
                    <a:pt x="461" y="49"/>
                  </a:moveTo>
                  <a:lnTo>
                    <a:pt x="585" y="49"/>
                  </a:lnTo>
                  <a:lnTo>
                    <a:pt x="585" y="86"/>
                  </a:lnTo>
                  <a:lnTo>
                    <a:pt x="543" y="86"/>
                  </a:lnTo>
                  <a:lnTo>
                    <a:pt x="543" y="305"/>
                  </a:lnTo>
                  <a:lnTo>
                    <a:pt x="503" y="305"/>
                  </a:lnTo>
                  <a:lnTo>
                    <a:pt x="503" y="86"/>
                  </a:lnTo>
                  <a:lnTo>
                    <a:pt x="461" y="86"/>
                  </a:lnTo>
                  <a:lnTo>
                    <a:pt x="461" y="49"/>
                  </a:lnTo>
                  <a:close/>
                  <a:moveTo>
                    <a:pt x="357" y="220"/>
                  </a:moveTo>
                  <a:lnTo>
                    <a:pt x="306" y="49"/>
                  </a:lnTo>
                  <a:lnTo>
                    <a:pt x="348" y="49"/>
                  </a:lnTo>
                  <a:lnTo>
                    <a:pt x="379" y="165"/>
                  </a:lnTo>
                  <a:lnTo>
                    <a:pt x="410" y="49"/>
                  </a:lnTo>
                  <a:lnTo>
                    <a:pt x="448" y="49"/>
                  </a:lnTo>
                  <a:lnTo>
                    <a:pt x="397" y="220"/>
                  </a:lnTo>
                  <a:lnTo>
                    <a:pt x="397" y="305"/>
                  </a:lnTo>
                  <a:lnTo>
                    <a:pt x="357" y="305"/>
                  </a:lnTo>
                  <a:lnTo>
                    <a:pt x="357" y="220"/>
                  </a:lnTo>
                  <a:close/>
                  <a:moveTo>
                    <a:pt x="266" y="0"/>
                  </a:moveTo>
                  <a:lnTo>
                    <a:pt x="266" y="35"/>
                  </a:lnTo>
                  <a:lnTo>
                    <a:pt x="231" y="35"/>
                  </a:lnTo>
                  <a:lnTo>
                    <a:pt x="231" y="0"/>
                  </a:lnTo>
                  <a:lnTo>
                    <a:pt x="266" y="0"/>
                  </a:lnTo>
                  <a:close/>
                  <a:moveTo>
                    <a:pt x="199" y="223"/>
                  </a:moveTo>
                  <a:lnTo>
                    <a:pt x="238" y="223"/>
                  </a:lnTo>
                  <a:lnTo>
                    <a:pt x="219" y="94"/>
                  </a:lnTo>
                  <a:lnTo>
                    <a:pt x="199" y="223"/>
                  </a:lnTo>
                  <a:close/>
                  <a:moveTo>
                    <a:pt x="211" y="0"/>
                  </a:moveTo>
                  <a:lnTo>
                    <a:pt x="211" y="35"/>
                  </a:lnTo>
                  <a:lnTo>
                    <a:pt x="175" y="35"/>
                  </a:lnTo>
                  <a:lnTo>
                    <a:pt x="175" y="0"/>
                  </a:lnTo>
                  <a:lnTo>
                    <a:pt x="211" y="0"/>
                  </a:lnTo>
                  <a:close/>
                  <a:moveTo>
                    <a:pt x="291" y="305"/>
                  </a:moveTo>
                  <a:lnTo>
                    <a:pt x="251" y="305"/>
                  </a:lnTo>
                  <a:lnTo>
                    <a:pt x="244" y="258"/>
                  </a:lnTo>
                  <a:lnTo>
                    <a:pt x="194" y="258"/>
                  </a:lnTo>
                  <a:lnTo>
                    <a:pt x="188" y="305"/>
                  </a:lnTo>
                  <a:lnTo>
                    <a:pt x="151" y="305"/>
                  </a:lnTo>
                  <a:lnTo>
                    <a:pt x="192" y="49"/>
                  </a:lnTo>
                  <a:lnTo>
                    <a:pt x="250" y="49"/>
                  </a:lnTo>
                  <a:lnTo>
                    <a:pt x="291" y="305"/>
                  </a:lnTo>
                  <a:close/>
                  <a:moveTo>
                    <a:pt x="53" y="202"/>
                  </a:moveTo>
                  <a:lnTo>
                    <a:pt x="41" y="226"/>
                  </a:lnTo>
                  <a:lnTo>
                    <a:pt x="41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41" y="49"/>
                  </a:lnTo>
                  <a:lnTo>
                    <a:pt x="41" y="160"/>
                  </a:lnTo>
                  <a:lnTo>
                    <a:pt x="93" y="49"/>
                  </a:lnTo>
                  <a:lnTo>
                    <a:pt x="134" y="49"/>
                  </a:lnTo>
                  <a:lnTo>
                    <a:pt x="78" y="163"/>
                  </a:lnTo>
                  <a:lnTo>
                    <a:pt x="134" y="305"/>
                  </a:lnTo>
                  <a:lnTo>
                    <a:pt x="92" y="305"/>
                  </a:lnTo>
                  <a:lnTo>
                    <a:pt x="5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964911513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9F6AC5-BFC5-470A-803B-1E29C11A72B2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24"/>
            <p:cNvSpPr>
              <a:spLocks noEditPoints="1"/>
            </p:cNvSpPr>
            <p:nvPr userDrawn="1"/>
          </p:nvSpPr>
          <p:spPr bwMode="auto">
            <a:xfrm>
              <a:off x="9011200" y="6428428"/>
              <a:ext cx="1668858" cy="290400"/>
            </a:xfrm>
            <a:custGeom>
              <a:avLst/>
              <a:gdLst>
                <a:gd name="T0" fmla="*/ 1770 w 1770"/>
                <a:gd name="T1" fmla="*/ 305 h 308"/>
                <a:gd name="T2" fmla="*/ 1629 w 1770"/>
                <a:gd name="T3" fmla="*/ 305 h 308"/>
                <a:gd name="T4" fmla="*/ 1524 w 1770"/>
                <a:gd name="T5" fmla="*/ 164 h 308"/>
                <a:gd name="T6" fmla="*/ 1557 w 1770"/>
                <a:gd name="T7" fmla="*/ 158 h 308"/>
                <a:gd name="T8" fmla="*/ 1563 w 1770"/>
                <a:gd name="T9" fmla="*/ 111 h 308"/>
                <a:gd name="T10" fmla="*/ 1559 w 1770"/>
                <a:gd name="T11" fmla="*/ 91 h 308"/>
                <a:gd name="T12" fmla="*/ 1524 w 1770"/>
                <a:gd name="T13" fmla="*/ 86 h 308"/>
                <a:gd name="T14" fmla="*/ 1564 w 1770"/>
                <a:gd name="T15" fmla="*/ 273 h 308"/>
                <a:gd name="T16" fmla="*/ 1558 w 1770"/>
                <a:gd name="T17" fmla="*/ 207 h 308"/>
                <a:gd name="T18" fmla="*/ 1538 w 1770"/>
                <a:gd name="T19" fmla="*/ 200 h 308"/>
                <a:gd name="T20" fmla="*/ 1544 w 1770"/>
                <a:gd name="T21" fmla="*/ 49 h 308"/>
                <a:gd name="T22" fmla="*/ 1577 w 1770"/>
                <a:gd name="T23" fmla="*/ 54 h 308"/>
                <a:gd name="T24" fmla="*/ 1596 w 1770"/>
                <a:gd name="T25" fmla="*/ 72 h 308"/>
                <a:gd name="T26" fmla="*/ 1604 w 1770"/>
                <a:gd name="T27" fmla="*/ 100 h 308"/>
                <a:gd name="T28" fmla="*/ 1600 w 1770"/>
                <a:gd name="T29" fmla="*/ 153 h 308"/>
                <a:gd name="T30" fmla="*/ 1578 w 1770"/>
                <a:gd name="T31" fmla="*/ 180 h 308"/>
                <a:gd name="T32" fmla="*/ 1593 w 1770"/>
                <a:gd name="T33" fmla="*/ 190 h 308"/>
                <a:gd name="T34" fmla="*/ 1604 w 1770"/>
                <a:gd name="T35" fmla="*/ 224 h 308"/>
                <a:gd name="T36" fmla="*/ 1607 w 1770"/>
                <a:gd name="T37" fmla="*/ 297 h 308"/>
                <a:gd name="T38" fmla="*/ 1384 w 1770"/>
                <a:gd name="T39" fmla="*/ 94 h 308"/>
                <a:gd name="T40" fmla="*/ 1359 w 1770"/>
                <a:gd name="T41" fmla="*/ 258 h 308"/>
                <a:gd name="T42" fmla="*/ 1456 w 1770"/>
                <a:gd name="T43" fmla="*/ 305 h 308"/>
                <a:gd name="T44" fmla="*/ 1208 w 1770"/>
                <a:gd name="T45" fmla="*/ 305 h 308"/>
                <a:gd name="T46" fmla="*/ 1108 w 1770"/>
                <a:gd name="T47" fmla="*/ 223 h 308"/>
                <a:gd name="T48" fmla="*/ 1113 w 1770"/>
                <a:gd name="T49" fmla="*/ 258 h 308"/>
                <a:gd name="T50" fmla="*/ 1119 w 1770"/>
                <a:gd name="T51" fmla="*/ 49 h 308"/>
                <a:gd name="T52" fmla="*/ 975 w 1770"/>
                <a:gd name="T53" fmla="*/ 86 h 308"/>
                <a:gd name="T54" fmla="*/ 893 w 1770"/>
                <a:gd name="T55" fmla="*/ 49 h 308"/>
                <a:gd name="T56" fmla="*/ 854 w 1770"/>
                <a:gd name="T57" fmla="*/ 0 h 308"/>
                <a:gd name="T58" fmla="*/ 791 w 1770"/>
                <a:gd name="T59" fmla="*/ 261 h 308"/>
                <a:gd name="T60" fmla="*/ 809 w 1770"/>
                <a:gd name="T61" fmla="*/ 271 h 308"/>
                <a:gd name="T62" fmla="*/ 826 w 1770"/>
                <a:gd name="T63" fmla="*/ 261 h 308"/>
                <a:gd name="T64" fmla="*/ 829 w 1770"/>
                <a:gd name="T65" fmla="*/ 102 h 308"/>
                <a:gd name="T66" fmla="*/ 821 w 1770"/>
                <a:gd name="T67" fmla="*/ 86 h 308"/>
                <a:gd name="T68" fmla="*/ 800 w 1770"/>
                <a:gd name="T69" fmla="*/ 84 h 308"/>
                <a:gd name="T70" fmla="*/ 788 w 1770"/>
                <a:gd name="T71" fmla="*/ 102 h 308"/>
                <a:gd name="T72" fmla="*/ 764 w 1770"/>
                <a:gd name="T73" fmla="*/ 35 h 308"/>
                <a:gd name="T74" fmla="*/ 749 w 1770"/>
                <a:gd name="T75" fmla="*/ 95 h 308"/>
                <a:gd name="T76" fmla="*/ 760 w 1770"/>
                <a:gd name="T77" fmla="*/ 67 h 308"/>
                <a:gd name="T78" fmla="*/ 783 w 1770"/>
                <a:gd name="T79" fmla="*/ 50 h 308"/>
                <a:gd name="T80" fmla="*/ 816 w 1770"/>
                <a:gd name="T81" fmla="*/ 45 h 308"/>
                <a:gd name="T82" fmla="*/ 845 w 1770"/>
                <a:gd name="T83" fmla="*/ 55 h 308"/>
                <a:gd name="T84" fmla="*/ 863 w 1770"/>
                <a:gd name="T85" fmla="*/ 77 h 308"/>
                <a:gd name="T86" fmla="*/ 870 w 1770"/>
                <a:gd name="T87" fmla="*/ 110 h 308"/>
                <a:gd name="T88" fmla="*/ 867 w 1770"/>
                <a:gd name="T89" fmla="*/ 271 h 308"/>
                <a:gd name="T90" fmla="*/ 851 w 1770"/>
                <a:gd name="T91" fmla="*/ 294 h 308"/>
                <a:gd name="T92" fmla="*/ 823 w 1770"/>
                <a:gd name="T93" fmla="*/ 307 h 308"/>
                <a:gd name="T94" fmla="*/ 788 w 1770"/>
                <a:gd name="T95" fmla="*/ 305 h 308"/>
                <a:gd name="T96" fmla="*/ 764 w 1770"/>
                <a:gd name="T97" fmla="*/ 291 h 308"/>
                <a:gd name="T98" fmla="*/ 750 w 1770"/>
                <a:gd name="T99" fmla="*/ 264 h 308"/>
                <a:gd name="T100" fmla="*/ 600 w 1770"/>
                <a:gd name="T101" fmla="*/ 49 h 308"/>
                <a:gd name="T102" fmla="*/ 642 w 1770"/>
                <a:gd name="T103" fmla="*/ 305 h 308"/>
                <a:gd name="T104" fmla="*/ 585 w 1770"/>
                <a:gd name="T105" fmla="*/ 49 h 308"/>
                <a:gd name="T106" fmla="*/ 503 w 1770"/>
                <a:gd name="T107" fmla="*/ 86 h 308"/>
                <a:gd name="T108" fmla="*/ 348 w 1770"/>
                <a:gd name="T109" fmla="*/ 49 h 308"/>
                <a:gd name="T110" fmla="*/ 397 w 1770"/>
                <a:gd name="T111" fmla="*/ 305 h 308"/>
                <a:gd name="T112" fmla="*/ 231 w 1770"/>
                <a:gd name="T113" fmla="*/ 35 h 308"/>
                <a:gd name="T114" fmla="*/ 219 w 1770"/>
                <a:gd name="T115" fmla="*/ 94 h 308"/>
                <a:gd name="T116" fmla="*/ 175 w 1770"/>
                <a:gd name="T117" fmla="*/ 0 h 308"/>
                <a:gd name="T118" fmla="*/ 194 w 1770"/>
                <a:gd name="T119" fmla="*/ 258 h 308"/>
                <a:gd name="T120" fmla="*/ 291 w 1770"/>
                <a:gd name="T121" fmla="*/ 305 h 308"/>
                <a:gd name="T122" fmla="*/ 0 w 1770"/>
                <a:gd name="T123" fmla="*/ 49 h 308"/>
                <a:gd name="T124" fmla="*/ 78 w 1770"/>
                <a:gd name="T125" fmla="*/ 16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0" h="308">
                  <a:moveTo>
                    <a:pt x="1679" y="223"/>
                  </a:moveTo>
                  <a:lnTo>
                    <a:pt x="1717" y="223"/>
                  </a:lnTo>
                  <a:lnTo>
                    <a:pt x="1698" y="94"/>
                  </a:lnTo>
                  <a:lnTo>
                    <a:pt x="1679" y="223"/>
                  </a:lnTo>
                  <a:close/>
                  <a:moveTo>
                    <a:pt x="1770" y="305"/>
                  </a:moveTo>
                  <a:lnTo>
                    <a:pt x="1729" y="305"/>
                  </a:lnTo>
                  <a:lnTo>
                    <a:pt x="1722" y="258"/>
                  </a:lnTo>
                  <a:lnTo>
                    <a:pt x="1673" y="258"/>
                  </a:lnTo>
                  <a:lnTo>
                    <a:pt x="1666" y="305"/>
                  </a:lnTo>
                  <a:lnTo>
                    <a:pt x="1629" y="305"/>
                  </a:lnTo>
                  <a:lnTo>
                    <a:pt x="1670" y="49"/>
                  </a:lnTo>
                  <a:lnTo>
                    <a:pt x="1729" y="49"/>
                  </a:lnTo>
                  <a:lnTo>
                    <a:pt x="1770" y="305"/>
                  </a:lnTo>
                  <a:close/>
                  <a:moveTo>
                    <a:pt x="1524" y="86"/>
                  </a:moveTo>
                  <a:lnTo>
                    <a:pt x="1524" y="164"/>
                  </a:lnTo>
                  <a:lnTo>
                    <a:pt x="1540" y="164"/>
                  </a:lnTo>
                  <a:lnTo>
                    <a:pt x="1545" y="163"/>
                  </a:lnTo>
                  <a:lnTo>
                    <a:pt x="1550" y="163"/>
                  </a:lnTo>
                  <a:lnTo>
                    <a:pt x="1554" y="161"/>
                  </a:lnTo>
                  <a:lnTo>
                    <a:pt x="1557" y="158"/>
                  </a:lnTo>
                  <a:lnTo>
                    <a:pt x="1560" y="154"/>
                  </a:lnTo>
                  <a:lnTo>
                    <a:pt x="1562" y="149"/>
                  </a:lnTo>
                  <a:lnTo>
                    <a:pt x="1563" y="144"/>
                  </a:lnTo>
                  <a:lnTo>
                    <a:pt x="1563" y="136"/>
                  </a:lnTo>
                  <a:lnTo>
                    <a:pt x="1563" y="111"/>
                  </a:lnTo>
                  <a:lnTo>
                    <a:pt x="1563" y="105"/>
                  </a:lnTo>
                  <a:lnTo>
                    <a:pt x="1562" y="99"/>
                  </a:lnTo>
                  <a:lnTo>
                    <a:pt x="1562" y="97"/>
                  </a:lnTo>
                  <a:lnTo>
                    <a:pt x="1561" y="95"/>
                  </a:lnTo>
                  <a:lnTo>
                    <a:pt x="1559" y="91"/>
                  </a:lnTo>
                  <a:lnTo>
                    <a:pt x="1556" y="89"/>
                  </a:lnTo>
                  <a:lnTo>
                    <a:pt x="1553" y="87"/>
                  </a:lnTo>
                  <a:lnTo>
                    <a:pt x="1549" y="86"/>
                  </a:lnTo>
                  <a:lnTo>
                    <a:pt x="1543" y="86"/>
                  </a:lnTo>
                  <a:lnTo>
                    <a:pt x="1524" y="86"/>
                  </a:lnTo>
                  <a:close/>
                  <a:moveTo>
                    <a:pt x="1568" y="305"/>
                  </a:moveTo>
                  <a:lnTo>
                    <a:pt x="1567" y="299"/>
                  </a:lnTo>
                  <a:lnTo>
                    <a:pt x="1566" y="294"/>
                  </a:lnTo>
                  <a:lnTo>
                    <a:pt x="1564" y="286"/>
                  </a:lnTo>
                  <a:lnTo>
                    <a:pt x="1564" y="273"/>
                  </a:lnTo>
                  <a:lnTo>
                    <a:pt x="1564" y="233"/>
                  </a:lnTo>
                  <a:lnTo>
                    <a:pt x="1563" y="224"/>
                  </a:lnTo>
                  <a:lnTo>
                    <a:pt x="1562" y="218"/>
                  </a:lnTo>
                  <a:lnTo>
                    <a:pt x="1560" y="212"/>
                  </a:lnTo>
                  <a:lnTo>
                    <a:pt x="1558" y="207"/>
                  </a:lnTo>
                  <a:lnTo>
                    <a:pt x="1554" y="204"/>
                  </a:lnTo>
                  <a:lnTo>
                    <a:pt x="1552" y="203"/>
                  </a:lnTo>
                  <a:lnTo>
                    <a:pt x="1550" y="202"/>
                  </a:lnTo>
                  <a:lnTo>
                    <a:pt x="1544" y="201"/>
                  </a:lnTo>
                  <a:lnTo>
                    <a:pt x="1538" y="200"/>
                  </a:lnTo>
                  <a:lnTo>
                    <a:pt x="1524" y="200"/>
                  </a:lnTo>
                  <a:lnTo>
                    <a:pt x="1524" y="305"/>
                  </a:lnTo>
                  <a:lnTo>
                    <a:pt x="1484" y="305"/>
                  </a:lnTo>
                  <a:lnTo>
                    <a:pt x="1484" y="49"/>
                  </a:lnTo>
                  <a:lnTo>
                    <a:pt x="1544" y="49"/>
                  </a:lnTo>
                  <a:lnTo>
                    <a:pt x="1552" y="49"/>
                  </a:lnTo>
                  <a:lnTo>
                    <a:pt x="1559" y="50"/>
                  </a:lnTo>
                  <a:lnTo>
                    <a:pt x="1566" y="51"/>
                  </a:lnTo>
                  <a:lnTo>
                    <a:pt x="1572" y="52"/>
                  </a:lnTo>
                  <a:lnTo>
                    <a:pt x="1577" y="54"/>
                  </a:lnTo>
                  <a:lnTo>
                    <a:pt x="1581" y="57"/>
                  </a:lnTo>
                  <a:lnTo>
                    <a:pt x="1586" y="60"/>
                  </a:lnTo>
                  <a:lnTo>
                    <a:pt x="1590" y="63"/>
                  </a:lnTo>
                  <a:lnTo>
                    <a:pt x="1593" y="67"/>
                  </a:lnTo>
                  <a:lnTo>
                    <a:pt x="1596" y="72"/>
                  </a:lnTo>
                  <a:lnTo>
                    <a:pt x="1598" y="76"/>
                  </a:lnTo>
                  <a:lnTo>
                    <a:pt x="1600" y="81"/>
                  </a:lnTo>
                  <a:lnTo>
                    <a:pt x="1603" y="88"/>
                  </a:lnTo>
                  <a:lnTo>
                    <a:pt x="1604" y="93"/>
                  </a:lnTo>
                  <a:lnTo>
                    <a:pt x="1604" y="100"/>
                  </a:lnTo>
                  <a:lnTo>
                    <a:pt x="1604" y="108"/>
                  </a:lnTo>
                  <a:lnTo>
                    <a:pt x="1604" y="128"/>
                  </a:lnTo>
                  <a:lnTo>
                    <a:pt x="1604" y="137"/>
                  </a:lnTo>
                  <a:lnTo>
                    <a:pt x="1603" y="146"/>
                  </a:lnTo>
                  <a:lnTo>
                    <a:pt x="1600" y="153"/>
                  </a:lnTo>
                  <a:lnTo>
                    <a:pt x="1597" y="160"/>
                  </a:lnTo>
                  <a:lnTo>
                    <a:pt x="1594" y="166"/>
                  </a:lnTo>
                  <a:lnTo>
                    <a:pt x="1590" y="171"/>
                  </a:lnTo>
                  <a:lnTo>
                    <a:pt x="1584" y="176"/>
                  </a:lnTo>
                  <a:lnTo>
                    <a:pt x="1578" y="180"/>
                  </a:lnTo>
                  <a:lnTo>
                    <a:pt x="1581" y="181"/>
                  </a:lnTo>
                  <a:lnTo>
                    <a:pt x="1585" y="183"/>
                  </a:lnTo>
                  <a:lnTo>
                    <a:pt x="1588" y="185"/>
                  </a:lnTo>
                  <a:lnTo>
                    <a:pt x="1590" y="187"/>
                  </a:lnTo>
                  <a:lnTo>
                    <a:pt x="1593" y="190"/>
                  </a:lnTo>
                  <a:lnTo>
                    <a:pt x="1595" y="194"/>
                  </a:lnTo>
                  <a:lnTo>
                    <a:pt x="1598" y="200"/>
                  </a:lnTo>
                  <a:lnTo>
                    <a:pt x="1601" y="207"/>
                  </a:lnTo>
                  <a:lnTo>
                    <a:pt x="1603" y="216"/>
                  </a:lnTo>
                  <a:lnTo>
                    <a:pt x="1604" y="224"/>
                  </a:lnTo>
                  <a:lnTo>
                    <a:pt x="1605" y="234"/>
                  </a:lnTo>
                  <a:lnTo>
                    <a:pt x="1605" y="273"/>
                  </a:lnTo>
                  <a:lnTo>
                    <a:pt x="1605" y="282"/>
                  </a:lnTo>
                  <a:lnTo>
                    <a:pt x="1605" y="290"/>
                  </a:lnTo>
                  <a:lnTo>
                    <a:pt x="1607" y="297"/>
                  </a:lnTo>
                  <a:lnTo>
                    <a:pt x="1609" y="305"/>
                  </a:lnTo>
                  <a:lnTo>
                    <a:pt x="1568" y="305"/>
                  </a:lnTo>
                  <a:close/>
                  <a:moveTo>
                    <a:pt x="1365" y="223"/>
                  </a:moveTo>
                  <a:lnTo>
                    <a:pt x="1403" y="223"/>
                  </a:lnTo>
                  <a:lnTo>
                    <a:pt x="1384" y="94"/>
                  </a:lnTo>
                  <a:lnTo>
                    <a:pt x="1365" y="223"/>
                  </a:lnTo>
                  <a:close/>
                  <a:moveTo>
                    <a:pt x="1456" y="305"/>
                  </a:moveTo>
                  <a:lnTo>
                    <a:pt x="1415" y="305"/>
                  </a:lnTo>
                  <a:lnTo>
                    <a:pt x="1409" y="258"/>
                  </a:lnTo>
                  <a:lnTo>
                    <a:pt x="1359" y="258"/>
                  </a:lnTo>
                  <a:lnTo>
                    <a:pt x="1352" y="305"/>
                  </a:lnTo>
                  <a:lnTo>
                    <a:pt x="1315" y="305"/>
                  </a:lnTo>
                  <a:lnTo>
                    <a:pt x="1356" y="49"/>
                  </a:lnTo>
                  <a:lnTo>
                    <a:pt x="1415" y="49"/>
                  </a:lnTo>
                  <a:lnTo>
                    <a:pt x="1456" y="305"/>
                  </a:lnTo>
                  <a:close/>
                  <a:moveTo>
                    <a:pt x="1240" y="257"/>
                  </a:moveTo>
                  <a:lnTo>
                    <a:pt x="1270" y="49"/>
                  </a:lnTo>
                  <a:lnTo>
                    <a:pt x="1307" y="49"/>
                  </a:lnTo>
                  <a:lnTo>
                    <a:pt x="1268" y="305"/>
                  </a:lnTo>
                  <a:lnTo>
                    <a:pt x="1208" y="305"/>
                  </a:lnTo>
                  <a:lnTo>
                    <a:pt x="1169" y="49"/>
                  </a:lnTo>
                  <a:lnTo>
                    <a:pt x="1209" y="49"/>
                  </a:lnTo>
                  <a:lnTo>
                    <a:pt x="1240" y="257"/>
                  </a:lnTo>
                  <a:close/>
                  <a:moveTo>
                    <a:pt x="1068" y="223"/>
                  </a:moveTo>
                  <a:lnTo>
                    <a:pt x="1108" y="223"/>
                  </a:lnTo>
                  <a:lnTo>
                    <a:pt x="1089" y="94"/>
                  </a:lnTo>
                  <a:lnTo>
                    <a:pt x="1068" y="223"/>
                  </a:lnTo>
                  <a:close/>
                  <a:moveTo>
                    <a:pt x="1160" y="305"/>
                  </a:moveTo>
                  <a:lnTo>
                    <a:pt x="1120" y="305"/>
                  </a:lnTo>
                  <a:lnTo>
                    <a:pt x="1113" y="258"/>
                  </a:lnTo>
                  <a:lnTo>
                    <a:pt x="1063" y="258"/>
                  </a:lnTo>
                  <a:lnTo>
                    <a:pt x="1057" y="305"/>
                  </a:lnTo>
                  <a:lnTo>
                    <a:pt x="1020" y="305"/>
                  </a:lnTo>
                  <a:lnTo>
                    <a:pt x="1061" y="49"/>
                  </a:lnTo>
                  <a:lnTo>
                    <a:pt x="1119" y="49"/>
                  </a:lnTo>
                  <a:lnTo>
                    <a:pt x="1160" y="305"/>
                  </a:lnTo>
                  <a:close/>
                  <a:moveTo>
                    <a:pt x="893" y="49"/>
                  </a:moveTo>
                  <a:lnTo>
                    <a:pt x="1018" y="49"/>
                  </a:lnTo>
                  <a:lnTo>
                    <a:pt x="1018" y="86"/>
                  </a:lnTo>
                  <a:lnTo>
                    <a:pt x="975" y="86"/>
                  </a:lnTo>
                  <a:lnTo>
                    <a:pt x="975" y="305"/>
                  </a:lnTo>
                  <a:lnTo>
                    <a:pt x="935" y="305"/>
                  </a:lnTo>
                  <a:lnTo>
                    <a:pt x="935" y="86"/>
                  </a:lnTo>
                  <a:lnTo>
                    <a:pt x="893" y="86"/>
                  </a:lnTo>
                  <a:lnTo>
                    <a:pt x="893" y="49"/>
                  </a:lnTo>
                  <a:close/>
                  <a:moveTo>
                    <a:pt x="854" y="0"/>
                  </a:moveTo>
                  <a:lnTo>
                    <a:pt x="854" y="35"/>
                  </a:lnTo>
                  <a:lnTo>
                    <a:pt x="819" y="35"/>
                  </a:lnTo>
                  <a:lnTo>
                    <a:pt x="819" y="0"/>
                  </a:lnTo>
                  <a:lnTo>
                    <a:pt x="854" y="0"/>
                  </a:lnTo>
                  <a:close/>
                  <a:moveTo>
                    <a:pt x="788" y="245"/>
                  </a:moveTo>
                  <a:lnTo>
                    <a:pt x="788" y="252"/>
                  </a:lnTo>
                  <a:lnTo>
                    <a:pt x="789" y="257"/>
                  </a:lnTo>
                  <a:lnTo>
                    <a:pt x="790" y="259"/>
                  </a:lnTo>
                  <a:lnTo>
                    <a:pt x="791" y="261"/>
                  </a:lnTo>
                  <a:lnTo>
                    <a:pt x="794" y="265"/>
                  </a:lnTo>
                  <a:lnTo>
                    <a:pt x="797" y="268"/>
                  </a:lnTo>
                  <a:lnTo>
                    <a:pt x="800" y="270"/>
                  </a:lnTo>
                  <a:lnTo>
                    <a:pt x="804" y="271"/>
                  </a:lnTo>
                  <a:lnTo>
                    <a:pt x="809" y="271"/>
                  </a:lnTo>
                  <a:lnTo>
                    <a:pt x="814" y="271"/>
                  </a:lnTo>
                  <a:lnTo>
                    <a:pt x="818" y="270"/>
                  </a:lnTo>
                  <a:lnTo>
                    <a:pt x="821" y="268"/>
                  </a:lnTo>
                  <a:lnTo>
                    <a:pt x="824" y="265"/>
                  </a:lnTo>
                  <a:lnTo>
                    <a:pt x="826" y="261"/>
                  </a:lnTo>
                  <a:lnTo>
                    <a:pt x="828" y="257"/>
                  </a:lnTo>
                  <a:lnTo>
                    <a:pt x="829" y="252"/>
                  </a:lnTo>
                  <a:lnTo>
                    <a:pt x="829" y="245"/>
                  </a:lnTo>
                  <a:lnTo>
                    <a:pt x="829" y="108"/>
                  </a:lnTo>
                  <a:lnTo>
                    <a:pt x="829" y="102"/>
                  </a:lnTo>
                  <a:lnTo>
                    <a:pt x="828" y="96"/>
                  </a:lnTo>
                  <a:lnTo>
                    <a:pt x="827" y="93"/>
                  </a:lnTo>
                  <a:lnTo>
                    <a:pt x="826" y="91"/>
                  </a:lnTo>
                  <a:lnTo>
                    <a:pt x="824" y="88"/>
                  </a:lnTo>
                  <a:lnTo>
                    <a:pt x="821" y="86"/>
                  </a:lnTo>
                  <a:lnTo>
                    <a:pt x="818" y="84"/>
                  </a:lnTo>
                  <a:lnTo>
                    <a:pt x="814" y="82"/>
                  </a:lnTo>
                  <a:lnTo>
                    <a:pt x="809" y="82"/>
                  </a:lnTo>
                  <a:lnTo>
                    <a:pt x="804" y="82"/>
                  </a:lnTo>
                  <a:lnTo>
                    <a:pt x="800" y="84"/>
                  </a:lnTo>
                  <a:lnTo>
                    <a:pt x="797" y="86"/>
                  </a:lnTo>
                  <a:lnTo>
                    <a:pt x="794" y="88"/>
                  </a:lnTo>
                  <a:lnTo>
                    <a:pt x="791" y="91"/>
                  </a:lnTo>
                  <a:lnTo>
                    <a:pt x="789" y="96"/>
                  </a:lnTo>
                  <a:lnTo>
                    <a:pt x="788" y="102"/>
                  </a:lnTo>
                  <a:lnTo>
                    <a:pt x="788" y="108"/>
                  </a:lnTo>
                  <a:lnTo>
                    <a:pt x="788" y="245"/>
                  </a:lnTo>
                  <a:close/>
                  <a:moveTo>
                    <a:pt x="799" y="0"/>
                  </a:moveTo>
                  <a:lnTo>
                    <a:pt x="799" y="35"/>
                  </a:lnTo>
                  <a:lnTo>
                    <a:pt x="764" y="35"/>
                  </a:lnTo>
                  <a:lnTo>
                    <a:pt x="764" y="0"/>
                  </a:lnTo>
                  <a:lnTo>
                    <a:pt x="799" y="0"/>
                  </a:lnTo>
                  <a:close/>
                  <a:moveTo>
                    <a:pt x="748" y="110"/>
                  </a:moveTo>
                  <a:lnTo>
                    <a:pt x="748" y="103"/>
                  </a:lnTo>
                  <a:lnTo>
                    <a:pt x="749" y="95"/>
                  </a:lnTo>
                  <a:lnTo>
                    <a:pt x="750" y="89"/>
                  </a:lnTo>
                  <a:lnTo>
                    <a:pt x="752" y="82"/>
                  </a:lnTo>
                  <a:lnTo>
                    <a:pt x="754" y="77"/>
                  </a:lnTo>
                  <a:lnTo>
                    <a:pt x="757" y="72"/>
                  </a:lnTo>
                  <a:lnTo>
                    <a:pt x="760" y="67"/>
                  </a:lnTo>
                  <a:lnTo>
                    <a:pt x="764" y="62"/>
                  </a:lnTo>
                  <a:lnTo>
                    <a:pt x="768" y="58"/>
                  </a:lnTo>
                  <a:lnTo>
                    <a:pt x="772" y="55"/>
                  </a:lnTo>
                  <a:lnTo>
                    <a:pt x="778" y="53"/>
                  </a:lnTo>
                  <a:lnTo>
                    <a:pt x="783" y="50"/>
                  </a:lnTo>
                  <a:lnTo>
                    <a:pt x="788" y="48"/>
                  </a:lnTo>
                  <a:lnTo>
                    <a:pt x="795" y="47"/>
                  </a:lnTo>
                  <a:lnTo>
                    <a:pt x="802" y="45"/>
                  </a:lnTo>
                  <a:lnTo>
                    <a:pt x="809" y="45"/>
                  </a:lnTo>
                  <a:lnTo>
                    <a:pt x="816" y="45"/>
                  </a:lnTo>
                  <a:lnTo>
                    <a:pt x="823" y="47"/>
                  </a:lnTo>
                  <a:lnTo>
                    <a:pt x="829" y="48"/>
                  </a:lnTo>
                  <a:lnTo>
                    <a:pt x="835" y="50"/>
                  </a:lnTo>
                  <a:lnTo>
                    <a:pt x="840" y="53"/>
                  </a:lnTo>
                  <a:lnTo>
                    <a:pt x="845" y="55"/>
                  </a:lnTo>
                  <a:lnTo>
                    <a:pt x="851" y="58"/>
                  </a:lnTo>
                  <a:lnTo>
                    <a:pt x="854" y="62"/>
                  </a:lnTo>
                  <a:lnTo>
                    <a:pt x="858" y="67"/>
                  </a:lnTo>
                  <a:lnTo>
                    <a:pt x="861" y="72"/>
                  </a:lnTo>
                  <a:lnTo>
                    <a:pt x="863" y="77"/>
                  </a:lnTo>
                  <a:lnTo>
                    <a:pt x="867" y="82"/>
                  </a:lnTo>
                  <a:lnTo>
                    <a:pt x="868" y="89"/>
                  </a:lnTo>
                  <a:lnTo>
                    <a:pt x="869" y="95"/>
                  </a:lnTo>
                  <a:lnTo>
                    <a:pt x="870" y="103"/>
                  </a:lnTo>
                  <a:lnTo>
                    <a:pt x="870" y="110"/>
                  </a:lnTo>
                  <a:lnTo>
                    <a:pt x="870" y="243"/>
                  </a:lnTo>
                  <a:lnTo>
                    <a:pt x="870" y="251"/>
                  </a:lnTo>
                  <a:lnTo>
                    <a:pt x="869" y="257"/>
                  </a:lnTo>
                  <a:lnTo>
                    <a:pt x="868" y="264"/>
                  </a:lnTo>
                  <a:lnTo>
                    <a:pt x="867" y="271"/>
                  </a:lnTo>
                  <a:lnTo>
                    <a:pt x="863" y="276"/>
                  </a:lnTo>
                  <a:lnTo>
                    <a:pt x="861" y="281"/>
                  </a:lnTo>
                  <a:lnTo>
                    <a:pt x="858" y="287"/>
                  </a:lnTo>
                  <a:lnTo>
                    <a:pt x="854" y="291"/>
                  </a:lnTo>
                  <a:lnTo>
                    <a:pt x="851" y="294"/>
                  </a:lnTo>
                  <a:lnTo>
                    <a:pt x="845" y="298"/>
                  </a:lnTo>
                  <a:lnTo>
                    <a:pt x="840" y="300"/>
                  </a:lnTo>
                  <a:lnTo>
                    <a:pt x="835" y="302"/>
                  </a:lnTo>
                  <a:lnTo>
                    <a:pt x="829" y="305"/>
                  </a:lnTo>
                  <a:lnTo>
                    <a:pt x="823" y="307"/>
                  </a:lnTo>
                  <a:lnTo>
                    <a:pt x="816" y="307"/>
                  </a:lnTo>
                  <a:lnTo>
                    <a:pt x="809" y="308"/>
                  </a:lnTo>
                  <a:lnTo>
                    <a:pt x="802" y="307"/>
                  </a:lnTo>
                  <a:lnTo>
                    <a:pt x="795" y="307"/>
                  </a:lnTo>
                  <a:lnTo>
                    <a:pt x="788" y="305"/>
                  </a:lnTo>
                  <a:lnTo>
                    <a:pt x="783" y="302"/>
                  </a:lnTo>
                  <a:lnTo>
                    <a:pt x="778" y="300"/>
                  </a:lnTo>
                  <a:lnTo>
                    <a:pt x="772" y="298"/>
                  </a:lnTo>
                  <a:lnTo>
                    <a:pt x="768" y="294"/>
                  </a:lnTo>
                  <a:lnTo>
                    <a:pt x="764" y="291"/>
                  </a:lnTo>
                  <a:lnTo>
                    <a:pt x="760" y="287"/>
                  </a:lnTo>
                  <a:lnTo>
                    <a:pt x="757" y="281"/>
                  </a:lnTo>
                  <a:lnTo>
                    <a:pt x="754" y="276"/>
                  </a:lnTo>
                  <a:lnTo>
                    <a:pt x="752" y="271"/>
                  </a:lnTo>
                  <a:lnTo>
                    <a:pt x="750" y="264"/>
                  </a:lnTo>
                  <a:lnTo>
                    <a:pt x="749" y="257"/>
                  </a:lnTo>
                  <a:lnTo>
                    <a:pt x="748" y="251"/>
                  </a:lnTo>
                  <a:lnTo>
                    <a:pt x="748" y="243"/>
                  </a:lnTo>
                  <a:lnTo>
                    <a:pt x="748" y="110"/>
                  </a:lnTo>
                  <a:close/>
                  <a:moveTo>
                    <a:pt x="600" y="49"/>
                  </a:moveTo>
                  <a:lnTo>
                    <a:pt x="725" y="49"/>
                  </a:lnTo>
                  <a:lnTo>
                    <a:pt x="725" y="86"/>
                  </a:lnTo>
                  <a:lnTo>
                    <a:pt x="682" y="86"/>
                  </a:lnTo>
                  <a:lnTo>
                    <a:pt x="682" y="305"/>
                  </a:lnTo>
                  <a:lnTo>
                    <a:pt x="642" y="305"/>
                  </a:lnTo>
                  <a:lnTo>
                    <a:pt x="642" y="86"/>
                  </a:lnTo>
                  <a:lnTo>
                    <a:pt x="600" y="86"/>
                  </a:lnTo>
                  <a:lnTo>
                    <a:pt x="600" y="49"/>
                  </a:lnTo>
                  <a:close/>
                  <a:moveTo>
                    <a:pt x="461" y="49"/>
                  </a:moveTo>
                  <a:lnTo>
                    <a:pt x="585" y="49"/>
                  </a:lnTo>
                  <a:lnTo>
                    <a:pt x="585" y="86"/>
                  </a:lnTo>
                  <a:lnTo>
                    <a:pt x="543" y="86"/>
                  </a:lnTo>
                  <a:lnTo>
                    <a:pt x="543" y="305"/>
                  </a:lnTo>
                  <a:lnTo>
                    <a:pt x="503" y="305"/>
                  </a:lnTo>
                  <a:lnTo>
                    <a:pt x="503" y="86"/>
                  </a:lnTo>
                  <a:lnTo>
                    <a:pt x="461" y="86"/>
                  </a:lnTo>
                  <a:lnTo>
                    <a:pt x="461" y="49"/>
                  </a:lnTo>
                  <a:close/>
                  <a:moveTo>
                    <a:pt x="357" y="220"/>
                  </a:moveTo>
                  <a:lnTo>
                    <a:pt x="306" y="49"/>
                  </a:lnTo>
                  <a:lnTo>
                    <a:pt x="348" y="49"/>
                  </a:lnTo>
                  <a:lnTo>
                    <a:pt x="379" y="165"/>
                  </a:lnTo>
                  <a:lnTo>
                    <a:pt x="410" y="49"/>
                  </a:lnTo>
                  <a:lnTo>
                    <a:pt x="448" y="49"/>
                  </a:lnTo>
                  <a:lnTo>
                    <a:pt x="397" y="220"/>
                  </a:lnTo>
                  <a:lnTo>
                    <a:pt x="397" y="305"/>
                  </a:lnTo>
                  <a:lnTo>
                    <a:pt x="357" y="305"/>
                  </a:lnTo>
                  <a:lnTo>
                    <a:pt x="357" y="220"/>
                  </a:lnTo>
                  <a:close/>
                  <a:moveTo>
                    <a:pt x="266" y="0"/>
                  </a:moveTo>
                  <a:lnTo>
                    <a:pt x="266" y="35"/>
                  </a:lnTo>
                  <a:lnTo>
                    <a:pt x="231" y="35"/>
                  </a:lnTo>
                  <a:lnTo>
                    <a:pt x="231" y="0"/>
                  </a:lnTo>
                  <a:lnTo>
                    <a:pt x="266" y="0"/>
                  </a:lnTo>
                  <a:close/>
                  <a:moveTo>
                    <a:pt x="199" y="223"/>
                  </a:moveTo>
                  <a:lnTo>
                    <a:pt x="238" y="223"/>
                  </a:lnTo>
                  <a:lnTo>
                    <a:pt x="219" y="94"/>
                  </a:lnTo>
                  <a:lnTo>
                    <a:pt x="199" y="223"/>
                  </a:lnTo>
                  <a:close/>
                  <a:moveTo>
                    <a:pt x="211" y="0"/>
                  </a:moveTo>
                  <a:lnTo>
                    <a:pt x="211" y="35"/>
                  </a:lnTo>
                  <a:lnTo>
                    <a:pt x="175" y="35"/>
                  </a:lnTo>
                  <a:lnTo>
                    <a:pt x="175" y="0"/>
                  </a:lnTo>
                  <a:lnTo>
                    <a:pt x="211" y="0"/>
                  </a:lnTo>
                  <a:close/>
                  <a:moveTo>
                    <a:pt x="291" y="305"/>
                  </a:moveTo>
                  <a:lnTo>
                    <a:pt x="251" y="305"/>
                  </a:lnTo>
                  <a:lnTo>
                    <a:pt x="244" y="258"/>
                  </a:lnTo>
                  <a:lnTo>
                    <a:pt x="194" y="258"/>
                  </a:lnTo>
                  <a:lnTo>
                    <a:pt x="188" y="305"/>
                  </a:lnTo>
                  <a:lnTo>
                    <a:pt x="151" y="305"/>
                  </a:lnTo>
                  <a:lnTo>
                    <a:pt x="192" y="49"/>
                  </a:lnTo>
                  <a:lnTo>
                    <a:pt x="250" y="49"/>
                  </a:lnTo>
                  <a:lnTo>
                    <a:pt x="291" y="305"/>
                  </a:lnTo>
                  <a:close/>
                  <a:moveTo>
                    <a:pt x="53" y="202"/>
                  </a:moveTo>
                  <a:lnTo>
                    <a:pt x="41" y="226"/>
                  </a:lnTo>
                  <a:lnTo>
                    <a:pt x="41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41" y="49"/>
                  </a:lnTo>
                  <a:lnTo>
                    <a:pt x="41" y="160"/>
                  </a:lnTo>
                  <a:lnTo>
                    <a:pt x="93" y="49"/>
                  </a:lnTo>
                  <a:lnTo>
                    <a:pt x="134" y="49"/>
                  </a:lnTo>
                  <a:lnTo>
                    <a:pt x="78" y="163"/>
                  </a:lnTo>
                  <a:lnTo>
                    <a:pt x="134" y="305"/>
                  </a:lnTo>
                  <a:lnTo>
                    <a:pt x="92" y="305"/>
                  </a:lnTo>
                  <a:lnTo>
                    <a:pt x="5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4860639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6B728-FA60-42F4-8075-4FBD6C57D3BD}" type="datetime1">
              <a:rPr lang="fi-FI" smtClean="0"/>
              <a:t>28.2.2018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63544012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5D2F74-51C8-4345-A8C7-F59F75D11047}" type="datetime1">
              <a:rPr lang="fi-FI" smtClean="0"/>
              <a:t>28.2.2018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4"/>
            <p:cNvSpPr>
              <a:spLocks noEditPoints="1"/>
            </p:cNvSpPr>
            <p:nvPr userDrawn="1"/>
          </p:nvSpPr>
          <p:spPr bwMode="auto">
            <a:xfrm>
              <a:off x="9011200" y="6428428"/>
              <a:ext cx="1668858" cy="290400"/>
            </a:xfrm>
            <a:custGeom>
              <a:avLst/>
              <a:gdLst>
                <a:gd name="T0" fmla="*/ 1770 w 1770"/>
                <a:gd name="T1" fmla="*/ 305 h 308"/>
                <a:gd name="T2" fmla="*/ 1629 w 1770"/>
                <a:gd name="T3" fmla="*/ 305 h 308"/>
                <a:gd name="T4" fmla="*/ 1524 w 1770"/>
                <a:gd name="T5" fmla="*/ 164 h 308"/>
                <a:gd name="T6" fmla="*/ 1557 w 1770"/>
                <a:gd name="T7" fmla="*/ 158 h 308"/>
                <a:gd name="T8" fmla="*/ 1563 w 1770"/>
                <a:gd name="T9" fmla="*/ 111 h 308"/>
                <a:gd name="T10" fmla="*/ 1559 w 1770"/>
                <a:gd name="T11" fmla="*/ 91 h 308"/>
                <a:gd name="T12" fmla="*/ 1524 w 1770"/>
                <a:gd name="T13" fmla="*/ 86 h 308"/>
                <a:gd name="T14" fmla="*/ 1564 w 1770"/>
                <a:gd name="T15" fmla="*/ 273 h 308"/>
                <a:gd name="T16" fmla="*/ 1558 w 1770"/>
                <a:gd name="T17" fmla="*/ 207 h 308"/>
                <a:gd name="T18" fmla="*/ 1538 w 1770"/>
                <a:gd name="T19" fmla="*/ 200 h 308"/>
                <a:gd name="T20" fmla="*/ 1544 w 1770"/>
                <a:gd name="T21" fmla="*/ 49 h 308"/>
                <a:gd name="T22" fmla="*/ 1577 w 1770"/>
                <a:gd name="T23" fmla="*/ 54 h 308"/>
                <a:gd name="T24" fmla="*/ 1596 w 1770"/>
                <a:gd name="T25" fmla="*/ 72 h 308"/>
                <a:gd name="T26" fmla="*/ 1604 w 1770"/>
                <a:gd name="T27" fmla="*/ 100 h 308"/>
                <a:gd name="T28" fmla="*/ 1600 w 1770"/>
                <a:gd name="T29" fmla="*/ 153 h 308"/>
                <a:gd name="T30" fmla="*/ 1578 w 1770"/>
                <a:gd name="T31" fmla="*/ 180 h 308"/>
                <a:gd name="T32" fmla="*/ 1593 w 1770"/>
                <a:gd name="T33" fmla="*/ 190 h 308"/>
                <a:gd name="T34" fmla="*/ 1604 w 1770"/>
                <a:gd name="T35" fmla="*/ 224 h 308"/>
                <a:gd name="T36" fmla="*/ 1607 w 1770"/>
                <a:gd name="T37" fmla="*/ 297 h 308"/>
                <a:gd name="T38" fmla="*/ 1384 w 1770"/>
                <a:gd name="T39" fmla="*/ 94 h 308"/>
                <a:gd name="T40" fmla="*/ 1359 w 1770"/>
                <a:gd name="T41" fmla="*/ 258 h 308"/>
                <a:gd name="T42" fmla="*/ 1456 w 1770"/>
                <a:gd name="T43" fmla="*/ 305 h 308"/>
                <a:gd name="T44" fmla="*/ 1208 w 1770"/>
                <a:gd name="T45" fmla="*/ 305 h 308"/>
                <a:gd name="T46" fmla="*/ 1108 w 1770"/>
                <a:gd name="T47" fmla="*/ 223 h 308"/>
                <a:gd name="T48" fmla="*/ 1113 w 1770"/>
                <a:gd name="T49" fmla="*/ 258 h 308"/>
                <a:gd name="T50" fmla="*/ 1119 w 1770"/>
                <a:gd name="T51" fmla="*/ 49 h 308"/>
                <a:gd name="T52" fmla="*/ 975 w 1770"/>
                <a:gd name="T53" fmla="*/ 86 h 308"/>
                <a:gd name="T54" fmla="*/ 893 w 1770"/>
                <a:gd name="T55" fmla="*/ 49 h 308"/>
                <a:gd name="T56" fmla="*/ 854 w 1770"/>
                <a:gd name="T57" fmla="*/ 0 h 308"/>
                <a:gd name="T58" fmla="*/ 791 w 1770"/>
                <a:gd name="T59" fmla="*/ 261 h 308"/>
                <a:gd name="T60" fmla="*/ 809 w 1770"/>
                <a:gd name="T61" fmla="*/ 271 h 308"/>
                <a:gd name="T62" fmla="*/ 826 w 1770"/>
                <a:gd name="T63" fmla="*/ 261 h 308"/>
                <a:gd name="T64" fmla="*/ 829 w 1770"/>
                <a:gd name="T65" fmla="*/ 102 h 308"/>
                <a:gd name="T66" fmla="*/ 821 w 1770"/>
                <a:gd name="T67" fmla="*/ 86 h 308"/>
                <a:gd name="T68" fmla="*/ 800 w 1770"/>
                <a:gd name="T69" fmla="*/ 84 h 308"/>
                <a:gd name="T70" fmla="*/ 788 w 1770"/>
                <a:gd name="T71" fmla="*/ 102 h 308"/>
                <a:gd name="T72" fmla="*/ 764 w 1770"/>
                <a:gd name="T73" fmla="*/ 35 h 308"/>
                <a:gd name="T74" fmla="*/ 749 w 1770"/>
                <a:gd name="T75" fmla="*/ 95 h 308"/>
                <a:gd name="T76" fmla="*/ 760 w 1770"/>
                <a:gd name="T77" fmla="*/ 67 h 308"/>
                <a:gd name="T78" fmla="*/ 783 w 1770"/>
                <a:gd name="T79" fmla="*/ 50 h 308"/>
                <a:gd name="T80" fmla="*/ 816 w 1770"/>
                <a:gd name="T81" fmla="*/ 45 h 308"/>
                <a:gd name="T82" fmla="*/ 845 w 1770"/>
                <a:gd name="T83" fmla="*/ 55 h 308"/>
                <a:gd name="T84" fmla="*/ 863 w 1770"/>
                <a:gd name="T85" fmla="*/ 77 h 308"/>
                <a:gd name="T86" fmla="*/ 870 w 1770"/>
                <a:gd name="T87" fmla="*/ 110 h 308"/>
                <a:gd name="T88" fmla="*/ 867 w 1770"/>
                <a:gd name="T89" fmla="*/ 271 h 308"/>
                <a:gd name="T90" fmla="*/ 851 w 1770"/>
                <a:gd name="T91" fmla="*/ 294 h 308"/>
                <a:gd name="T92" fmla="*/ 823 w 1770"/>
                <a:gd name="T93" fmla="*/ 307 h 308"/>
                <a:gd name="T94" fmla="*/ 788 w 1770"/>
                <a:gd name="T95" fmla="*/ 305 h 308"/>
                <a:gd name="T96" fmla="*/ 764 w 1770"/>
                <a:gd name="T97" fmla="*/ 291 h 308"/>
                <a:gd name="T98" fmla="*/ 750 w 1770"/>
                <a:gd name="T99" fmla="*/ 264 h 308"/>
                <a:gd name="T100" fmla="*/ 600 w 1770"/>
                <a:gd name="T101" fmla="*/ 49 h 308"/>
                <a:gd name="T102" fmla="*/ 642 w 1770"/>
                <a:gd name="T103" fmla="*/ 305 h 308"/>
                <a:gd name="T104" fmla="*/ 585 w 1770"/>
                <a:gd name="T105" fmla="*/ 49 h 308"/>
                <a:gd name="T106" fmla="*/ 503 w 1770"/>
                <a:gd name="T107" fmla="*/ 86 h 308"/>
                <a:gd name="T108" fmla="*/ 348 w 1770"/>
                <a:gd name="T109" fmla="*/ 49 h 308"/>
                <a:gd name="T110" fmla="*/ 397 w 1770"/>
                <a:gd name="T111" fmla="*/ 305 h 308"/>
                <a:gd name="T112" fmla="*/ 231 w 1770"/>
                <a:gd name="T113" fmla="*/ 35 h 308"/>
                <a:gd name="T114" fmla="*/ 219 w 1770"/>
                <a:gd name="T115" fmla="*/ 94 h 308"/>
                <a:gd name="T116" fmla="*/ 175 w 1770"/>
                <a:gd name="T117" fmla="*/ 0 h 308"/>
                <a:gd name="T118" fmla="*/ 194 w 1770"/>
                <a:gd name="T119" fmla="*/ 258 h 308"/>
                <a:gd name="T120" fmla="*/ 291 w 1770"/>
                <a:gd name="T121" fmla="*/ 305 h 308"/>
                <a:gd name="T122" fmla="*/ 0 w 1770"/>
                <a:gd name="T123" fmla="*/ 49 h 308"/>
                <a:gd name="T124" fmla="*/ 78 w 1770"/>
                <a:gd name="T125" fmla="*/ 16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0" h="308">
                  <a:moveTo>
                    <a:pt x="1679" y="223"/>
                  </a:moveTo>
                  <a:lnTo>
                    <a:pt x="1717" y="223"/>
                  </a:lnTo>
                  <a:lnTo>
                    <a:pt x="1698" y="94"/>
                  </a:lnTo>
                  <a:lnTo>
                    <a:pt x="1679" y="223"/>
                  </a:lnTo>
                  <a:close/>
                  <a:moveTo>
                    <a:pt x="1770" y="305"/>
                  </a:moveTo>
                  <a:lnTo>
                    <a:pt x="1729" y="305"/>
                  </a:lnTo>
                  <a:lnTo>
                    <a:pt x="1722" y="258"/>
                  </a:lnTo>
                  <a:lnTo>
                    <a:pt x="1673" y="258"/>
                  </a:lnTo>
                  <a:lnTo>
                    <a:pt x="1666" y="305"/>
                  </a:lnTo>
                  <a:lnTo>
                    <a:pt x="1629" y="305"/>
                  </a:lnTo>
                  <a:lnTo>
                    <a:pt x="1670" y="49"/>
                  </a:lnTo>
                  <a:lnTo>
                    <a:pt x="1729" y="49"/>
                  </a:lnTo>
                  <a:lnTo>
                    <a:pt x="1770" y="305"/>
                  </a:lnTo>
                  <a:close/>
                  <a:moveTo>
                    <a:pt x="1524" y="86"/>
                  </a:moveTo>
                  <a:lnTo>
                    <a:pt x="1524" y="164"/>
                  </a:lnTo>
                  <a:lnTo>
                    <a:pt x="1540" y="164"/>
                  </a:lnTo>
                  <a:lnTo>
                    <a:pt x="1545" y="163"/>
                  </a:lnTo>
                  <a:lnTo>
                    <a:pt x="1550" y="163"/>
                  </a:lnTo>
                  <a:lnTo>
                    <a:pt x="1554" y="161"/>
                  </a:lnTo>
                  <a:lnTo>
                    <a:pt x="1557" y="158"/>
                  </a:lnTo>
                  <a:lnTo>
                    <a:pt x="1560" y="154"/>
                  </a:lnTo>
                  <a:lnTo>
                    <a:pt x="1562" y="149"/>
                  </a:lnTo>
                  <a:lnTo>
                    <a:pt x="1563" y="144"/>
                  </a:lnTo>
                  <a:lnTo>
                    <a:pt x="1563" y="136"/>
                  </a:lnTo>
                  <a:lnTo>
                    <a:pt x="1563" y="111"/>
                  </a:lnTo>
                  <a:lnTo>
                    <a:pt x="1563" y="105"/>
                  </a:lnTo>
                  <a:lnTo>
                    <a:pt x="1562" y="99"/>
                  </a:lnTo>
                  <a:lnTo>
                    <a:pt x="1562" y="97"/>
                  </a:lnTo>
                  <a:lnTo>
                    <a:pt x="1561" y="95"/>
                  </a:lnTo>
                  <a:lnTo>
                    <a:pt x="1559" y="91"/>
                  </a:lnTo>
                  <a:lnTo>
                    <a:pt x="1556" y="89"/>
                  </a:lnTo>
                  <a:lnTo>
                    <a:pt x="1553" y="87"/>
                  </a:lnTo>
                  <a:lnTo>
                    <a:pt x="1549" y="86"/>
                  </a:lnTo>
                  <a:lnTo>
                    <a:pt x="1543" y="86"/>
                  </a:lnTo>
                  <a:lnTo>
                    <a:pt x="1524" y="86"/>
                  </a:lnTo>
                  <a:close/>
                  <a:moveTo>
                    <a:pt x="1568" y="305"/>
                  </a:moveTo>
                  <a:lnTo>
                    <a:pt x="1567" y="299"/>
                  </a:lnTo>
                  <a:lnTo>
                    <a:pt x="1566" y="294"/>
                  </a:lnTo>
                  <a:lnTo>
                    <a:pt x="1564" y="286"/>
                  </a:lnTo>
                  <a:lnTo>
                    <a:pt x="1564" y="273"/>
                  </a:lnTo>
                  <a:lnTo>
                    <a:pt x="1564" y="233"/>
                  </a:lnTo>
                  <a:lnTo>
                    <a:pt x="1563" y="224"/>
                  </a:lnTo>
                  <a:lnTo>
                    <a:pt x="1562" y="218"/>
                  </a:lnTo>
                  <a:lnTo>
                    <a:pt x="1560" y="212"/>
                  </a:lnTo>
                  <a:lnTo>
                    <a:pt x="1558" y="207"/>
                  </a:lnTo>
                  <a:lnTo>
                    <a:pt x="1554" y="204"/>
                  </a:lnTo>
                  <a:lnTo>
                    <a:pt x="1552" y="203"/>
                  </a:lnTo>
                  <a:lnTo>
                    <a:pt x="1550" y="202"/>
                  </a:lnTo>
                  <a:lnTo>
                    <a:pt x="1544" y="201"/>
                  </a:lnTo>
                  <a:lnTo>
                    <a:pt x="1538" y="200"/>
                  </a:lnTo>
                  <a:lnTo>
                    <a:pt x="1524" y="200"/>
                  </a:lnTo>
                  <a:lnTo>
                    <a:pt x="1524" y="305"/>
                  </a:lnTo>
                  <a:lnTo>
                    <a:pt x="1484" y="305"/>
                  </a:lnTo>
                  <a:lnTo>
                    <a:pt x="1484" y="49"/>
                  </a:lnTo>
                  <a:lnTo>
                    <a:pt x="1544" y="49"/>
                  </a:lnTo>
                  <a:lnTo>
                    <a:pt x="1552" y="49"/>
                  </a:lnTo>
                  <a:lnTo>
                    <a:pt x="1559" y="50"/>
                  </a:lnTo>
                  <a:lnTo>
                    <a:pt x="1566" y="51"/>
                  </a:lnTo>
                  <a:lnTo>
                    <a:pt x="1572" y="52"/>
                  </a:lnTo>
                  <a:lnTo>
                    <a:pt x="1577" y="54"/>
                  </a:lnTo>
                  <a:lnTo>
                    <a:pt x="1581" y="57"/>
                  </a:lnTo>
                  <a:lnTo>
                    <a:pt x="1586" y="60"/>
                  </a:lnTo>
                  <a:lnTo>
                    <a:pt x="1590" y="63"/>
                  </a:lnTo>
                  <a:lnTo>
                    <a:pt x="1593" y="67"/>
                  </a:lnTo>
                  <a:lnTo>
                    <a:pt x="1596" y="72"/>
                  </a:lnTo>
                  <a:lnTo>
                    <a:pt x="1598" y="76"/>
                  </a:lnTo>
                  <a:lnTo>
                    <a:pt x="1600" y="81"/>
                  </a:lnTo>
                  <a:lnTo>
                    <a:pt x="1603" y="88"/>
                  </a:lnTo>
                  <a:lnTo>
                    <a:pt x="1604" y="93"/>
                  </a:lnTo>
                  <a:lnTo>
                    <a:pt x="1604" y="100"/>
                  </a:lnTo>
                  <a:lnTo>
                    <a:pt x="1604" y="108"/>
                  </a:lnTo>
                  <a:lnTo>
                    <a:pt x="1604" y="128"/>
                  </a:lnTo>
                  <a:lnTo>
                    <a:pt x="1604" y="137"/>
                  </a:lnTo>
                  <a:lnTo>
                    <a:pt x="1603" y="146"/>
                  </a:lnTo>
                  <a:lnTo>
                    <a:pt x="1600" y="153"/>
                  </a:lnTo>
                  <a:lnTo>
                    <a:pt x="1597" y="160"/>
                  </a:lnTo>
                  <a:lnTo>
                    <a:pt x="1594" y="166"/>
                  </a:lnTo>
                  <a:lnTo>
                    <a:pt x="1590" y="171"/>
                  </a:lnTo>
                  <a:lnTo>
                    <a:pt x="1584" y="176"/>
                  </a:lnTo>
                  <a:lnTo>
                    <a:pt x="1578" y="180"/>
                  </a:lnTo>
                  <a:lnTo>
                    <a:pt x="1581" y="181"/>
                  </a:lnTo>
                  <a:lnTo>
                    <a:pt x="1585" y="183"/>
                  </a:lnTo>
                  <a:lnTo>
                    <a:pt x="1588" y="185"/>
                  </a:lnTo>
                  <a:lnTo>
                    <a:pt x="1590" y="187"/>
                  </a:lnTo>
                  <a:lnTo>
                    <a:pt x="1593" y="190"/>
                  </a:lnTo>
                  <a:lnTo>
                    <a:pt x="1595" y="194"/>
                  </a:lnTo>
                  <a:lnTo>
                    <a:pt x="1598" y="200"/>
                  </a:lnTo>
                  <a:lnTo>
                    <a:pt x="1601" y="207"/>
                  </a:lnTo>
                  <a:lnTo>
                    <a:pt x="1603" y="216"/>
                  </a:lnTo>
                  <a:lnTo>
                    <a:pt x="1604" y="224"/>
                  </a:lnTo>
                  <a:lnTo>
                    <a:pt x="1605" y="234"/>
                  </a:lnTo>
                  <a:lnTo>
                    <a:pt x="1605" y="273"/>
                  </a:lnTo>
                  <a:lnTo>
                    <a:pt x="1605" y="282"/>
                  </a:lnTo>
                  <a:lnTo>
                    <a:pt x="1605" y="290"/>
                  </a:lnTo>
                  <a:lnTo>
                    <a:pt x="1607" y="297"/>
                  </a:lnTo>
                  <a:lnTo>
                    <a:pt x="1609" y="305"/>
                  </a:lnTo>
                  <a:lnTo>
                    <a:pt x="1568" y="305"/>
                  </a:lnTo>
                  <a:close/>
                  <a:moveTo>
                    <a:pt x="1365" y="223"/>
                  </a:moveTo>
                  <a:lnTo>
                    <a:pt x="1403" y="223"/>
                  </a:lnTo>
                  <a:lnTo>
                    <a:pt x="1384" y="94"/>
                  </a:lnTo>
                  <a:lnTo>
                    <a:pt x="1365" y="223"/>
                  </a:lnTo>
                  <a:close/>
                  <a:moveTo>
                    <a:pt x="1456" y="305"/>
                  </a:moveTo>
                  <a:lnTo>
                    <a:pt x="1415" y="305"/>
                  </a:lnTo>
                  <a:lnTo>
                    <a:pt x="1409" y="258"/>
                  </a:lnTo>
                  <a:lnTo>
                    <a:pt x="1359" y="258"/>
                  </a:lnTo>
                  <a:lnTo>
                    <a:pt x="1352" y="305"/>
                  </a:lnTo>
                  <a:lnTo>
                    <a:pt x="1315" y="305"/>
                  </a:lnTo>
                  <a:lnTo>
                    <a:pt x="1356" y="49"/>
                  </a:lnTo>
                  <a:lnTo>
                    <a:pt x="1415" y="49"/>
                  </a:lnTo>
                  <a:lnTo>
                    <a:pt x="1456" y="305"/>
                  </a:lnTo>
                  <a:close/>
                  <a:moveTo>
                    <a:pt x="1240" y="257"/>
                  </a:moveTo>
                  <a:lnTo>
                    <a:pt x="1270" y="49"/>
                  </a:lnTo>
                  <a:lnTo>
                    <a:pt x="1307" y="49"/>
                  </a:lnTo>
                  <a:lnTo>
                    <a:pt x="1268" y="305"/>
                  </a:lnTo>
                  <a:lnTo>
                    <a:pt x="1208" y="305"/>
                  </a:lnTo>
                  <a:lnTo>
                    <a:pt x="1169" y="49"/>
                  </a:lnTo>
                  <a:lnTo>
                    <a:pt x="1209" y="49"/>
                  </a:lnTo>
                  <a:lnTo>
                    <a:pt x="1240" y="257"/>
                  </a:lnTo>
                  <a:close/>
                  <a:moveTo>
                    <a:pt x="1068" y="223"/>
                  </a:moveTo>
                  <a:lnTo>
                    <a:pt x="1108" y="223"/>
                  </a:lnTo>
                  <a:lnTo>
                    <a:pt x="1089" y="94"/>
                  </a:lnTo>
                  <a:lnTo>
                    <a:pt x="1068" y="223"/>
                  </a:lnTo>
                  <a:close/>
                  <a:moveTo>
                    <a:pt x="1160" y="305"/>
                  </a:moveTo>
                  <a:lnTo>
                    <a:pt x="1120" y="305"/>
                  </a:lnTo>
                  <a:lnTo>
                    <a:pt x="1113" y="258"/>
                  </a:lnTo>
                  <a:lnTo>
                    <a:pt x="1063" y="258"/>
                  </a:lnTo>
                  <a:lnTo>
                    <a:pt x="1057" y="305"/>
                  </a:lnTo>
                  <a:lnTo>
                    <a:pt x="1020" y="305"/>
                  </a:lnTo>
                  <a:lnTo>
                    <a:pt x="1061" y="49"/>
                  </a:lnTo>
                  <a:lnTo>
                    <a:pt x="1119" y="49"/>
                  </a:lnTo>
                  <a:lnTo>
                    <a:pt x="1160" y="305"/>
                  </a:lnTo>
                  <a:close/>
                  <a:moveTo>
                    <a:pt x="893" y="49"/>
                  </a:moveTo>
                  <a:lnTo>
                    <a:pt x="1018" y="49"/>
                  </a:lnTo>
                  <a:lnTo>
                    <a:pt x="1018" y="86"/>
                  </a:lnTo>
                  <a:lnTo>
                    <a:pt x="975" y="86"/>
                  </a:lnTo>
                  <a:lnTo>
                    <a:pt x="975" y="305"/>
                  </a:lnTo>
                  <a:lnTo>
                    <a:pt x="935" y="305"/>
                  </a:lnTo>
                  <a:lnTo>
                    <a:pt x="935" y="86"/>
                  </a:lnTo>
                  <a:lnTo>
                    <a:pt x="893" y="86"/>
                  </a:lnTo>
                  <a:lnTo>
                    <a:pt x="893" y="49"/>
                  </a:lnTo>
                  <a:close/>
                  <a:moveTo>
                    <a:pt x="854" y="0"/>
                  </a:moveTo>
                  <a:lnTo>
                    <a:pt x="854" y="35"/>
                  </a:lnTo>
                  <a:lnTo>
                    <a:pt x="819" y="35"/>
                  </a:lnTo>
                  <a:lnTo>
                    <a:pt x="819" y="0"/>
                  </a:lnTo>
                  <a:lnTo>
                    <a:pt x="854" y="0"/>
                  </a:lnTo>
                  <a:close/>
                  <a:moveTo>
                    <a:pt x="788" y="245"/>
                  </a:moveTo>
                  <a:lnTo>
                    <a:pt x="788" y="252"/>
                  </a:lnTo>
                  <a:lnTo>
                    <a:pt x="789" y="257"/>
                  </a:lnTo>
                  <a:lnTo>
                    <a:pt x="790" y="259"/>
                  </a:lnTo>
                  <a:lnTo>
                    <a:pt x="791" y="261"/>
                  </a:lnTo>
                  <a:lnTo>
                    <a:pt x="794" y="265"/>
                  </a:lnTo>
                  <a:lnTo>
                    <a:pt x="797" y="268"/>
                  </a:lnTo>
                  <a:lnTo>
                    <a:pt x="800" y="270"/>
                  </a:lnTo>
                  <a:lnTo>
                    <a:pt x="804" y="271"/>
                  </a:lnTo>
                  <a:lnTo>
                    <a:pt x="809" y="271"/>
                  </a:lnTo>
                  <a:lnTo>
                    <a:pt x="814" y="271"/>
                  </a:lnTo>
                  <a:lnTo>
                    <a:pt x="818" y="270"/>
                  </a:lnTo>
                  <a:lnTo>
                    <a:pt x="821" y="268"/>
                  </a:lnTo>
                  <a:lnTo>
                    <a:pt x="824" y="265"/>
                  </a:lnTo>
                  <a:lnTo>
                    <a:pt x="826" y="261"/>
                  </a:lnTo>
                  <a:lnTo>
                    <a:pt x="828" y="257"/>
                  </a:lnTo>
                  <a:lnTo>
                    <a:pt x="829" y="252"/>
                  </a:lnTo>
                  <a:lnTo>
                    <a:pt x="829" y="245"/>
                  </a:lnTo>
                  <a:lnTo>
                    <a:pt x="829" y="108"/>
                  </a:lnTo>
                  <a:lnTo>
                    <a:pt x="829" y="102"/>
                  </a:lnTo>
                  <a:lnTo>
                    <a:pt x="828" y="96"/>
                  </a:lnTo>
                  <a:lnTo>
                    <a:pt x="827" y="93"/>
                  </a:lnTo>
                  <a:lnTo>
                    <a:pt x="826" y="91"/>
                  </a:lnTo>
                  <a:lnTo>
                    <a:pt x="824" y="88"/>
                  </a:lnTo>
                  <a:lnTo>
                    <a:pt x="821" y="86"/>
                  </a:lnTo>
                  <a:lnTo>
                    <a:pt x="818" y="84"/>
                  </a:lnTo>
                  <a:lnTo>
                    <a:pt x="814" y="82"/>
                  </a:lnTo>
                  <a:lnTo>
                    <a:pt x="809" y="82"/>
                  </a:lnTo>
                  <a:lnTo>
                    <a:pt x="804" y="82"/>
                  </a:lnTo>
                  <a:lnTo>
                    <a:pt x="800" y="84"/>
                  </a:lnTo>
                  <a:lnTo>
                    <a:pt x="797" y="86"/>
                  </a:lnTo>
                  <a:lnTo>
                    <a:pt x="794" y="88"/>
                  </a:lnTo>
                  <a:lnTo>
                    <a:pt x="791" y="91"/>
                  </a:lnTo>
                  <a:lnTo>
                    <a:pt x="789" y="96"/>
                  </a:lnTo>
                  <a:lnTo>
                    <a:pt x="788" y="102"/>
                  </a:lnTo>
                  <a:lnTo>
                    <a:pt x="788" y="108"/>
                  </a:lnTo>
                  <a:lnTo>
                    <a:pt x="788" y="245"/>
                  </a:lnTo>
                  <a:close/>
                  <a:moveTo>
                    <a:pt x="799" y="0"/>
                  </a:moveTo>
                  <a:lnTo>
                    <a:pt x="799" y="35"/>
                  </a:lnTo>
                  <a:lnTo>
                    <a:pt x="764" y="35"/>
                  </a:lnTo>
                  <a:lnTo>
                    <a:pt x="764" y="0"/>
                  </a:lnTo>
                  <a:lnTo>
                    <a:pt x="799" y="0"/>
                  </a:lnTo>
                  <a:close/>
                  <a:moveTo>
                    <a:pt x="748" y="110"/>
                  </a:moveTo>
                  <a:lnTo>
                    <a:pt x="748" y="103"/>
                  </a:lnTo>
                  <a:lnTo>
                    <a:pt x="749" y="95"/>
                  </a:lnTo>
                  <a:lnTo>
                    <a:pt x="750" y="89"/>
                  </a:lnTo>
                  <a:lnTo>
                    <a:pt x="752" y="82"/>
                  </a:lnTo>
                  <a:lnTo>
                    <a:pt x="754" y="77"/>
                  </a:lnTo>
                  <a:lnTo>
                    <a:pt x="757" y="72"/>
                  </a:lnTo>
                  <a:lnTo>
                    <a:pt x="760" y="67"/>
                  </a:lnTo>
                  <a:lnTo>
                    <a:pt x="764" y="62"/>
                  </a:lnTo>
                  <a:lnTo>
                    <a:pt x="768" y="58"/>
                  </a:lnTo>
                  <a:lnTo>
                    <a:pt x="772" y="55"/>
                  </a:lnTo>
                  <a:lnTo>
                    <a:pt x="778" y="53"/>
                  </a:lnTo>
                  <a:lnTo>
                    <a:pt x="783" y="50"/>
                  </a:lnTo>
                  <a:lnTo>
                    <a:pt x="788" y="48"/>
                  </a:lnTo>
                  <a:lnTo>
                    <a:pt x="795" y="47"/>
                  </a:lnTo>
                  <a:lnTo>
                    <a:pt x="802" y="45"/>
                  </a:lnTo>
                  <a:lnTo>
                    <a:pt x="809" y="45"/>
                  </a:lnTo>
                  <a:lnTo>
                    <a:pt x="816" y="45"/>
                  </a:lnTo>
                  <a:lnTo>
                    <a:pt x="823" y="47"/>
                  </a:lnTo>
                  <a:lnTo>
                    <a:pt x="829" y="48"/>
                  </a:lnTo>
                  <a:lnTo>
                    <a:pt x="835" y="50"/>
                  </a:lnTo>
                  <a:lnTo>
                    <a:pt x="840" y="53"/>
                  </a:lnTo>
                  <a:lnTo>
                    <a:pt x="845" y="55"/>
                  </a:lnTo>
                  <a:lnTo>
                    <a:pt x="851" y="58"/>
                  </a:lnTo>
                  <a:lnTo>
                    <a:pt x="854" y="62"/>
                  </a:lnTo>
                  <a:lnTo>
                    <a:pt x="858" y="67"/>
                  </a:lnTo>
                  <a:lnTo>
                    <a:pt x="861" y="72"/>
                  </a:lnTo>
                  <a:lnTo>
                    <a:pt x="863" y="77"/>
                  </a:lnTo>
                  <a:lnTo>
                    <a:pt x="867" y="82"/>
                  </a:lnTo>
                  <a:lnTo>
                    <a:pt x="868" y="89"/>
                  </a:lnTo>
                  <a:lnTo>
                    <a:pt x="869" y="95"/>
                  </a:lnTo>
                  <a:lnTo>
                    <a:pt x="870" y="103"/>
                  </a:lnTo>
                  <a:lnTo>
                    <a:pt x="870" y="110"/>
                  </a:lnTo>
                  <a:lnTo>
                    <a:pt x="870" y="243"/>
                  </a:lnTo>
                  <a:lnTo>
                    <a:pt x="870" y="251"/>
                  </a:lnTo>
                  <a:lnTo>
                    <a:pt x="869" y="257"/>
                  </a:lnTo>
                  <a:lnTo>
                    <a:pt x="868" y="264"/>
                  </a:lnTo>
                  <a:lnTo>
                    <a:pt x="867" y="271"/>
                  </a:lnTo>
                  <a:lnTo>
                    <a:pt x="863" y="276"/>
                  </a:lnTo>
                  <a:lnTo>
                    <a:pt x="861" y="281"/>
                  </a:lnTo>
                  <a:lnTo>
                    <a:pt x="858" y="287"/>
                  </a:lnTo>
                  <a:lnTo>
                    <a:pt x="854" y="291"/>
                  </a:lnTo>
                  <a:lnTo>
                    <a:pt x="851" y="294"/>
                  </a:lnTo>
                  <a:lnTo>
                    <a:pt x="845" y="298"/>
                  </a:lnTo>
                  <a:lnTo>
                    <a:pt x="840" y="300"/>
                  </a:lnTo>
                  <a:lnTo>
                    <a:pt x="835" y="302"/>
                  </a:lnTo>
                  <a:lnTo>
                    <a:pt x="829" y="305"/>
                  </a:lnTo>
                  <a:lnTo>
                    <a:pt x="823" y="307"/>
                  </a:lnTo>
                  <a:lnTo>
                    <a:pt x="816" y="307"/>
                  </a:lnTo>
                  <a:lnTo>
                    <a:pt x="809" y="308"/>
                  </a:lnTo>
                  <a:lnTo>
                    <a:pt x="802" y="307"/>
                  </a:lnTo>
                  <a:lnTo>
                    <a:pt x="795" y="307"/>
                  </a:lnTo>
                  <a:lnTo>
                    <a:pt x="788" y="305"/>
                  </a:lnTo>
                  <a:lnTo>
                    <a:pt x="783" y="302"/>
                  </a:lnTo>
                  <a:lnTo>
                    <a:pt x="778" y="300"/>
                  </a:lnTo>
                  <a:lnTo>
                    <a:pt x="772" y="298"/>
                  </a:lnTo>
                  <a:lnTo>
                    <a:pt x="768" y="294"/>
                  </a:lnTo>
                  <a:lnTo>
                    <a:pt x="764" y="291"/>
                  </a:lnTo>
                  <a:lnTo>
                    <a:pt x="760" y="287"/>
                  </a:lnTo>
                  <a:lnTo>
                    <a:pt x="757" y="281"/>
                  </a:lnTo>
                  <a:lnTo>
                    <a:pt x="754" y="276"/>
                  </a:lnTo>
                  <a:lnTo>
                    <a:pt x="752" y="271"/>
                  </a:lnTo>
                  <a:lnTo>
                    <a:pt x="750" y="264"/>
                  </a:lnTo>
                  <a:lnTo>
                    <a:pt x="749" y="257"/>
                  </a:lnTo>
                  <a:lnTo>
                    <a:pt x="748" y="251"/>
                  </a:lnTo>
                  <a:lnTo>
                    <a:pt x="748" y="243"/>
                  </a:lnTo>
                  <a:lnTo>
                    <a:pt x="748" y="110"/>
                  </a:lnTo>
                  <a:close/>
                  <a:moveTo>
                    <a:pt x="600" y="49"/>
                  </a:moveTo>
                  <a:lnTo>
                    <a:pt x="725" y="49"/>
                  </a:lnTo>
                  <a:lnTo>
                    <a:pt x="725" y="86"/>
                  </a:lnTo>
                  <a:lnTo>
                    <a:pt x="682" y="86"/>
                  </a:lnTo>
                  <a:lnTo>
                    <a:pt x="682" y="305"/>
                  </a:lnTo>
                  <a:lnTo>
                    <a:pt x="642" y="305"/>
                  </a:lnTo>
                  <a:lnTo>
                    <a:pt x="642" y="86"/>
                  </a:lnTo>
                  <a:lnTo>
                    <a:pt x="600" y="86"/>
                  </a:lnTo>
                  <a:lnTo>
                    <a:pt x="600" y="49"/>
                  </a:lnTo>
                  <a:close/>
                  <a:moveTo>
                    <a:pt x="461" y="49"/>
                  </a:moveTo>
                  <a:lnTo>
                    <a:pt x="585" y="49"/>
                  </a:lnTo>
                  <a:lnTo>
                    <a:pt x="585" y="86"/>
                  </a:lnTo>
                  <a:lnTo>
                    <a:pt x="543" y="86"/>
                  </a:lnTo>
                  <a:lnTo>
                    <a:pt x="543" y="305"/>
                  </a:lnTo>
                  <a:lnTo>
                    <a:pt x="503" y="305"/>
                  </a:lnTo>
                  <a:lnTo>
                    <a:pt x="503" y="86"/>
                  </a:lnTo>
                  <a:lnTo>
                    <a:pt x="461" y="86"/>
                  </a:lnTo>
                  <a:lnTo>
                    <a:pt x="461" y="49"/>
                  </a:lnTo>
                  <a:close/>
                  <a:moveTo>
                    <a:pt x="357" y="220"/>
                  </a:moveTo>
                  <a:lnTo>
                    <a:pt x="306" y="49"/>
                  </a:lnTo>
                  <a:lnTo>
                    <a:pt x="348" y="49"/>
                  </a:lnTo>
                  <a:lnTo>
                    <a:pt x="379" y="165"/>
                  </a:lnTo>
                  <a:lnTo>
                    <a:pt x="410" y="49"/>
                  </a:lnTo>
                  <a:lnTo>
                    <a:pt x="448" y="49"/>
                  </a:lnTo>
                  <a:lnTo>
                    <a:pt x="397" y="220"/>
                  </a:lnTo>
                  <a:lnTo>
                    <a:pt x="397" y="305"/>
                  </a:lnTo>
                  <a:lnTo>
                    <a:pt x="357" y="305"/>
                  </a:lnTo>
                  <a:lnTo>
                    <a:pt x="357" y="220"/>
                  </a:lnTo>
                  <a:close/>
                  <a:moveTo>
                    <a:pt x="266" y="0"/>
                  </a:moveTo>
                  <a:lnTo>
                    <a:pt x="266" y="35"/>
                  </a:lnTo>
                  <a:lnTo>
                    <a:pt x="231" y="35"/>
                  </a:lnTo>
                  <a:lnTo>
                    <a:pt x="231" y="0"/>
                  </a:lnTo>
                  <a:lnTo>
                    <a:pt x="266" y="0"/>
                  </a:lnTo>
                  <a:close/>
                  <a:moveTo>
                    <a:pt x="199" y="223"/>
                  </a:moveTo>
                  <a:lnTo>
                    <a:pt x="238" y="223"/>
                  </a:lnTo>
                  <a:lnTo>
                    <a:pt x="219" y="94"/>
                  </a:lnTo>
                  <a:lnTo>
                    <a:pt x="199" y="223"/>
                  </a:lnTo>
                  <a:close/>
                  <a:moveTo>
                    <a:pt x="211" y="0"/>
                  </a:moveTo>
                  <a:lnTo>
                    <a:pt x="211" y="35"/>
                  </a:lnTo>
                  <a:lnTo>
                    <a:pt x="175" y="35"/>
                  </a:lnTo>
                  <a:lnTo>
                    <a:pt x="175" y="0"/>
                  </a:lnTo>
                  <a:lnTo>
                    <a:pt x="211" y="0"/>
                  </a:lnTo>
                  <a:close/>
                  <a:moveTo>
                    <a:pt x="291" y="305"/>
                  </a:moveTo>
                  <a:lnTo>
                    <a:pt x="251" y="305"/>
                  </a:lnTo>
                  <a:lnTo>
                    <a:pt x="244" y="258"/>
                  </a:lnTo>
                  <a:lnTo>
                    <a:pt x="194" y="258"/>
                  </a:lnTo>
                  <a:lnTo>
                    <a:pt x="188" y="305"/>
                  </a:lnTo>
                  <a:lnTo>
                    <a:pt x="151" y="305"/>
                  </a:lnTo>
                  <a:lnTo>
                    <a:pt x="192" y="49"/>
                  </a:lnTo>
                  <a:lnTo>
                    <a:pt x="250" y="49"/>
                  </a:lnTo>
                  <a:lnTo>
                    <a:pt x="291" y="305"/>
                  </a:lnTo>
                  <a:close/>
                  <a:moveTo>
                    <a:pt x="53" y="202"/>
                  </a:moveTo>
                  <a:lnTo>
                    <a:pt x="41" y="226"/>
                  </a:lnTo>
                  <a:lnTo>
                    <a:pt x="41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41" y="49"/>
                  </a:lnTo>
                  <a:lnTo>
                    <a:pt x="41" y="160"/>
                  </a:lnTo>
                  <a:lnTo>
                    <a:pt x="93" y="49"/>
                  </a:lnTo>
                  <a:lnTo>
                    <a:pt x="134" y="49"/>
                  </a:lnTo>
                  <a:lnTo>
                    <a:pt x="78" y="163"/>
                  </a:lnTo>
                  <a:lnTo>
                    <a:pt x="134" y="305"/>
                  </a:lnTo>
                  <a:lnTo>
                    <a:pt x="92" y="305"/>
                  </a:lnTo>
                  <a:lnTo>
                    <a:pt x="5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544876240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0BB5C-BCE9-432E-89E2-4DACFF557260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086582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4B281-EDD7-4845-A699-5BF0E01E4687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5129097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3B8F4-7F3F-42C0-9852-F5CB478448D5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4021411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F4C5-6D57-47F8-BE22-BC7829E1FDD6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69677185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4AFA5-CC52-4D11-B34F-A97021A18063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4530963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A5DF84-D2C5-455D-AC5D-0B9FA6DD6935}" type="datetime1">
              <a:rPr lang="fi-FI" smtClean="0"/>
              <a:t>28.2.2018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7092184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07AF9E-8745-4D48-9E5F-4A343F535039}" type="datetime1">
              <a:rPr lang="fi-FI" smtClean="0"/>
              <a:t>28.2.2018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44140645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5D9091-C4E9-4FF2-9B0F-9E58C6F5C535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1921684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E9C988-0550-4AEB-A2E8-35BC8DA7B361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7" name="Round Same Side Corner Rectangle 16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8" name="Freeform 22"/>
            <p:cNvSpPr>
              <a:spLocks noEditPoints="1"/>
            </p:cNvSpPr>
            <p:nvPr userDrawn="1"/>
          </p:nvSpPr>
          <p:spPr bwMode="auto">
            <a:xfrm>
              <a:off x="8843371" y="6428428"/>
              <a:ext cx="2004515" cy="290400"/>
            </a:xfrm>
            <a:custGeom>
              <a:avLst/>
              <a:gdLst>
                <a:gd name="T0" fmla="*/ 2079 w 2127"/>
                <a:gd name="T1" fmla="*/ 258 h 308"/>
                <a:gd name="T2" fmla="*/ 1880 w 2127"/>
                <a:gd name="T3" fmla="*/ 86 h 308"/>
                <a:gd name="T4" fmla="*/ 1916 w 2127"/>
                <a:gd name="T5" fmla="*/ 154 h 308"/>
                <a:gd name="T6" fmla="*/ 1918 w 2127"/>
                <a:gd name="T7" fmla="*/ 97 h 308"/>
                <a:gd name="T8" fmla="*/ 1880 w 2127"/>
                <a:gd name="T9" fmla="*/ 86 h 308"/>
                <a:gd name="T10" fmla="*/ 1920 w 2127"/>
                <a:gd name="T11" fmla="*/ 224 h 308"/>
                <a:gd name="T12" fmla="*/ 1900 w 2127"/>
                <a:gd name="T13" fmla="*/ 201 h 308"/>
                <a:gd name="T14" fmla="*/ 1909 w 2127"/>
                <a:gd name="T15" fmla="*/ 49 h 308"/>
                <a:gd name="T16" fmla="*/ 1946 w 2127"/>
                <a:gd name="T17" fmla="*/ 63 h 308"/>
                <a:gd name="T18" fmla="*/ 1961 w 2127"/>
                <a:gd name="T19" fmla="*/ 100 h 308"/>
                <a:gd name="T20" fmla="*/ 1950 w 2127"/>
                <a:gd name="T21" fmla="*/ 166 h 308"/>
                <a:gd name="T22" fmla="*/ 1949 w 2127"/>
                <a:gd name="T23" fmla="*/ 190 h 308"/>
                <a:gd name="T24" fmla="*/ 1961 w 2127"/>
                <a:gd name="T25" fmla="*/ 273 h 308"/>
                <a:gd name="T26" fmla="*/ 1760 w 2127"/>
                <a:gd name="T27" fmla="*/ 223 h 308"/>
                <a:gd name="T28" fmla="*/ 1709 w 2127"/>
                <a:gd name="T29" fmla="*/ 305 h 308"/>
                <a:gd name="T30" fmla="*/ 1663 w 2127"/>
                <a:gd name="T31" fmla="*/ 49 h 308"/>
                <a:gd name="T32" fmla="*/ 1464 w 2127"/>
                <a:gd name="T33" fmla="*/ 223 h 308"/>
                <a:gd name="T34" fmla="*/ 1413 w 2127"/>
                <a:gd name="T35" fmla="*/ 305 h 308"/>
                <a:gd name="T36" fmla="*/ 1374 w 2127"/>
                <a:gd name="T37" fmla="*/ 86 h 308"/>
                <a:gd name="T38" fmla="*/ 1170 w 2127"/>
                <a:gd name="T39" fmla="*/ 45 h 308"/>
                <a:gd name="T40" fmla="*/ 1210 w 2127"/>
                <a:gd name="T41" fmla="*/ 58 h 308"/>
                <a:gd name="T42" fmla="*/ 1228 w 2127"/>
                <a:gd name="T43" fmla="*/ 95 h 308"/>
                <a:gd name="T44" fmla="*/ 1190 w 2127"/>
                <a:gd name="T45" fmla="*/ 96 h 308"/>
                <a:gd name="T46" fmla="*/ 1171 w 2127"/>
                <a:gd name="T47" fmla="*/ 82 h 308"/>
                <a:gd name="T48" fmla="*/ 1152 w 2127"/>
                <a:gd name="T49" fmla="*/ 96 h 308"/>
                <a:gd name="T50" fmla="*/ 1163 w 2127"/>
                <a:gd name="T51" fmla="*/ 141 h 308"/>
                <a:gd name="T52" fmla="*/ 1214 w 2127"/>
                <a:gd name="T53" fmla="*/ 194 h 308"/>
                <a:gd name="T54" fmla="*/ 1229 w 2127"/>
                <a:gd name="T55" fmla="*/ 236 h 308"/>
                <a:gd name="T56" fmla="*/ 1220 w 2127"/>
                <a:gd name="T57" fmla="*/ 281 h 308"/>
                <a:gd name="T58" fmla="*/ 1190 w 2127"/>
                <a:gd name="T59" fmla="*/ 305 h 308"/>
                <a:gd name="T60" fmla="*/ 1143 w 2127"/>
                <a:gd name="T61" fmla="*/ 302 h 308"/>
                <a:gd name="T62" fmla="*/ 1116 w 2127"/>
                <a:gd name="T63" fmla="*/ 276 h 308"/>
                <a:gd name="T64" fmla="*/ 1147 w 2127"/>
                <a:gd name="T65" fmla="*/ 227 h 308"/>
                <a:gd name="T66" fmla="*/ 1160 w 2127"/>
                <a:gd name="T67" fmla="*/ 269 h 308"/>
                <a:gd name="T68" fmla="*/ 1185 w 2127"/>
                <a:gd name="T69" fmla="*/ 261 h 308"/>
                <a:gd name="T70" fmla="*/ 1182 w 2127"/>
                <a:gd name="T71" fmla="*/ 220 h 308"/>
                <a:gd name="T72" fmla="*/ 1128 w 2127"/>
                <a:gd name="T73" fmla="*/ 163 h 308"/>
                <a:gd name="T74" fmla="*/ 1111 w 2127"/>
                <a:gd name="T75" fmla="*/ 123 h 308"/>
                <a:gd name="T76" fmla="*/ 1117 w 2127"/>
                <a:gd name="T77" fmla="*/ 77 h 308"/>
                <a:gd name="T78" fmla="*/ 1144 w 2127"/>
                <a:gd name="T79" fmla="*/ 50 h 308"/>
                <a:gd name="T80" fmla="*/ 1078 w 2127"/>
                <a:gd name="T81" fmla="*/ 305 h 308"/>
                <a:gd name="T82" fmla="*/ 985 w 2127"/>
                <a:gd name="T83" fmla="*/ 0 h 308"/>
                <a:gd name="T84" fmla="*/ 894 w 2127"/>
                <a:gd name="T85" fmla="*/ 35 h 308"/>
                <a:gd name="T86" fmla="*/ 905 w 2127"/>
                <a:gd name="T87" fmla="*/ 305 h 308"/>
                <a:gd name="T88" fmla="*/ 866 w 2127"/>
                <a:gd name="T89" fmla="*/ 86 h 308"/>
                <a:gd name="T90" fmla="*/ 603 w 2127"/>
                <a:gd name="T91" fmla="*/ 49 h 308"/>
                <a:gd name="T92" fmla="*/ 603 w 2127"/>
                <a:gd name="T93" fmla="*/ 86 h 308"/>
                <a:gd name="T94" fmla="*/ 441 w 2127"/>
                <a:gd name="T95" fmla="*/ 257 h 308"/>
                <a:gd name="T96" fmla="*/ 441 w 2127"/>
                <a:gd name="T97" fmla="*/ 257 h 308"/>
                <a:gd name="T98" fmla="*/ 249 w 2127"/>
                <a:gd name="T99" fmla="*/ 35 h 308"/>
                <a:gd name="T100" fmla="*/ 182 w 2127"/>
                <a:gd name="T101" fmla="*/ 223 h 308"/>
                <a:gd name="T102" fmla="*/ 234 w 2127"/>
                <a:gd name="T103" fmla="*/ 305 h 308"/>
                <a:gd name="T104" fmla="*/ 274 w 2127"/>
                <a:gd name="T105" fmla="*/ 305 h 308"/>
                <a:gd name="T106" fmla="*/ 74 w 2127"/>
                <a:gd name="T107" fmla="*/ 166 h 308"/>
                <a:gd name="T108" fmla="*/ 77 w 2127"/>
                <a:gd name="T109" fmla="*/ 97 h 308"/>
                <a:gd name="T110" fmla="*/ 63 w 2127"/>
                <a:gd name="T111" fmla="*/ 86 h 308"/>
                <a:gd name="T112" fmla="*/ 116 w 2127"/>
                <a:gd name="T113" fmla="*/ 166 h 308"/>
                <a:gd name="T114" fmla="*/ 95 w 2127"/>
                <a:gd name="T115" fmla="*/ 199 h 308"/>
                <a:gd name="T116" fmla="*/ 40 w 2127"/>
                <a:gd name="T117" fmla="*/ 208 h 308"/>
                <a:gd name="T118" fmla="*/ 79 w 2127"/>
                <a:gd name="T119" fmla="*/ 51 h 308"/>
                <a:gd name="T120" fmla="*/ 108 w 2127"/>
                <a:gd name="T121" fmla="*/ 69 h 308"/>
                <a:gd name="T122" fmla="*/ 118 w 2127"/>
                <a:gd name="T12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7" h="308">
                  <a:moveTo>
                    <a:pt x="2035" y="223"/>
                  </a:moveTo>
                  <a:lnTo>
                    <a:pt x="2074" y="223"/>
                  </a:lnTo>
                  <a:lnTo>
                    <a:pt x="2054" y="94"/>
                  </a:lnTo>
                  <a:lnTo>
                    <a:pt x="2035" y="223"/>
                  </a:lnTo>
                  <a:close/>
                  <a:moveTo>
                    <a:pt x="2127" y="305"/>
                  </a:moveTo>
                  <a:lnTo>
                    <a:pt x="2085" y="305"/>
                  </a:lnTo>
                  <a:lnTo>
                    <a:pt x="2079" y="258"/>
                  </a:lnTo>
                  <a:lnTo>
                    <a:pt x="2029" y="258"/>
                  </a:lnTo>
                  <a:lnTo>
                    <a:pt x="2023" y="305"/>
                  </a:lnTo>
                  <a:lnTo>
                    <a:pt x="1986" y="305"/>
                  </a:lnTo>
                  <a:lnTo>
                    <a:pt x="2026" y="49"/>
                  </a:lnTo>
                  <a:lnTo>
                    <a:pt x="2085" y="49"/>
                  </a:lnTo>
                  <a:lnTo>
                    <a:pt x="2127" y="305"/>
                  </a:lnTo>
                  <a:close/>
                  <a:moveTo>
                    <a:pt x="1880" y="86"/>
                  </a:moveTo>
                  <a:lnTo>
                    <a:pt x="1880" y="164"/>
                  </a:lnTo>
                  <a:lnTo>
                    <a:pt x="1896" y="164"/>
                  </a:lnTo>
                  <a:lnTo>
                    <a:pt x="1901" y="163"/>
                  </a:lnTo>
                  <a:lnTo>
                    <a:pt x="1907" y="163"/>
                  </a:lnTo>
                  <a:lnTo>
                    <a:pt x="1910" y="161"/>
                  </a:lnTo>
                  <a:lnTo>
                    <a:pt x="1914" y="158"/>
                  </a:lnTo>
                  <a:lnTo>
                    <a:pt x="1916" y="154"/>
                  </a:lnTo>
                  <a:lnTo>
                    <a:pt x="1918" y="149"/>
                  </a:lnTo>
                  <a:lnTo>
                    <a:pt x="1919" y="144"/>
                  </a:lnTo>
                  <a:lnTo>
                    <a:pt x="1920" y="136"/>
                  </a:lnTo>
                  <a:lnTo>
                    <a:pt x="1920" y="111"/>
                  </a:lnTo>
                  <a:lnTo>
                    <a:pt x="1920" y="105"/>
                  </a:lnTo>
                  <a:lnTo>
                    <a:pt x="1919" y="99"/>
                  </a:lnTo>
                  <a:lnTo>
                    <a:pt x="1918" y="97"/>
                  </a:lnTo>
                  <a:lnTo>
                    <a:pt x="1917" y="95"/>
                  </a:lnTo>
                  <a:lnTo>
                    <a:pt x="1915" y="91"/>
                  </a:lnTo>
                  <a:lnTo>
                    <a:pt x="1913" y="89"/>
                  </a:lnTo>
                  <a:lnTo>
                    <a:pt x="1909" y="87"/>
                  </a:lnTo>
                  <a:lnTo>
                    <a:pt x="1905" y="86"/>
                  </a:lnTo>
                  <a:lnTo>
                    <a:pt x="1899" y="86"/>
                  </a:lnTo>
                  <a:lnTo>
                    <a:pt x="1880" y="86"/>
                  </a:lnTo>
                  <a:close/>
                  <a:moveTo>
                    <a:pt x="1925" y="305"/>
                  </a:moveTo>
                  <a:lnTo>
                    <a:pt x="1923" y="299"/>
                  </a:lnTo>
                  <a:lnTo>
                    <a:pt x="1922" y="294"/>
                  </a:lnTo>
                  <a:lnTo>
                    <a:pt x="1920" y="286"/>
                  </a:lnTo>
                  <a:lnTo>
                    <a:pt x="1920" y="273"/>
                  </a:lnTo>
                  <a:lnTo>
                    <a:pt x="1920" y="233"/>
                  </a:lnTo>
                  <a:lnTo>
                    <a:pt x="1920" y="224"/>
                  </a:lnTo>
                  <a:lnTo>
                    <a:pt x="1919" y="218"/>
                  </a:lnTo>
                  <a:lnTo>
                    <a:pt x="1917" y="212"/>
                  </a:lnTo>
                  <a:lnTo>
                    <a:pt x="1914" y="207"/>
                  </a:lnTo>
                  <a:lnTo>
                    <a:pt x="1911" y="204"/>
                  </a:lnTo>
                  <a:lnTo>
                    <a:pt x="1909" y="203"/>
                  </a:lnTo>
                  <a:lnTo>
                    <a:pt x="1906" y="202"/>
                  </a:lnTo>
                  <a:lnTo>
                    <a:pt x="1900" y="201"/>
                  </a:lnTo>
                  <a:lnTo>
                    <a:pt x="1894" y="200"/>
                  </a:lnTo>
                  <a:lnTo>
                    <a:pt x="1880" y="200"/>
                  </a:lnTo>
                  <a:lnTo>
                    <a:pt x="1880" y="305"/>
                  </a:lnTo>
                  <a:lnTo>
                    <a:pt x="1840" y="305"/>
                  </a:lnTo>
                  <a:lnTo>
                    <a:pt x="1840" y="49"/>
                  </a:lnTo>
                  <a:lnTo>
                    <a:pt x="1901" y="49"/>
                  </a:lnTo>
                  <a:lnTo>
                    <a:pt x="1909" y="49"/>
                  </a:lnTo>
                  <a:lnTo>
                    <a:pt x="1915" y="50"/>
                  </a:lnTo>
                  <a:lnTo>
                    <a:pt x="1922" y="51"/>
                  </a:lnTo>
                  <a:lnTo>
                    <a:pt x="1928" y="52"/>
                  </a:lnTo>
                  <a:lnTo>
                    <a:pt x="1933" y="54"/>
                  </a:lnTo>
                  <a:lnTo>
                    <a:pt x="1938" y="57"/>
                  </a:lnTo>
                  <a:lnTo>
                    <a:pt x="1943" y="60"/>
                  </a:lnTo>
                  <a:lnTo>
                    <a:pt x="1946" y="63"/>
                  </a:lnTo>
                  <a:lnTo>
                    <a:pt x="1950" y="67"/>
                  </a:lnTo>
                  <a:lnTo>
                    <a:pt x="1952" y="72"/>
                  </a:lnTo>
                  <a:lnTo>
                    <a:pt x="1955" y="76"/>
                  </a:lnTo>
                  <a:lnTo>
                    <a:pt x="1957" y="81"/>
                  </a:lnTo>
                  <a:lnTo>
                    <a:pt x="1959" y="88"/>
                  </a:lnTo>
                  <a:lnTo>
                    <a:pt x="1960" y="93"/>
                  </a:lnTo>
                  <a:lnTo>
                    <a:pt x="1961" y="100"/>
                  </a:lnTo>
                  <a:lnTo>
                    <a:pt x="1961" y="108"/>
                  </a:lnTo>
                  <a:lnTo>
                    <a:pt x="1961" y="128"/>
                  </a:lnTo>
                  <a:lnTo>
                    <a:pt x="1960" y="137"/>
                  </a:lnTo>
                  <a:lnTo>
                    <a:pt x="1959" y="146"/>
                  </a:lnTo>
                  <a:lnTo>
                    <a:pt x="1956" y="153"/>
                  </a:lnTo>
                  <a:lnTo>
                    <a:pt x="1954" y="160"/>
                  </a:lnTo>
                  <a:lnTo>
                    <a:pt x="1950" y="166"/>
                  </a:lnTo>
                  <a:lnTo>
                    <a:pt x="1946" y="171"/>
                  </a:lnTo>
                  <a:lnTo>
                    <a:pt x="1941" y="176"/>
                  </a:lnTo>
                  <a:lnTo>
                    <a:pt x="1934" y="180"/>
                  </a:lnTo>
                  <a:lnTo>
                    <a:pt x="1941" y="183"/>
                  </a:lnTo>
                  <a:lnTo>
                    <a:pt x="1944" y="185"/>
                  </a:lnTo>
                  <a:lnTo>
                    <a:pt x="1947" y="187"/>
                  </a:lnTo>
                  <a:lnTo>
                    <a:pt x="1949" y="190"/>
                  </a:lnTo>
                  <a:lnTo>
                    <a:pt x="1951" y="194"/>
                  </a:lnTo>
                  <a:lnTo>
                    <a:pt x="1955" y="200"/>
                  </a:lnTo>
                  <a:lnTo>
                    <a:pt x="1957" y="207"/>
                  </a:lnTo>
                  <a:lnTo>
                    <a:pt x="1960" y="216"/>
                  </a:lnTo>
                  <a:lnTo>
                    <a:pt x="1961" y="224"/>
                  </a:lnTo>
                  <a:lnTo>
                    <a:pt x="1961" y="234"/>
                  </a:lnTo>
                  <a:lnTo>
                    <a:pt x="1961" y="273"/>
                  </a:lnTo>
                  <a:lnTo>
                    <a:pt x="1961" y="282"/>
                  </a:lnTo>
                  <a:lnTo>
                    <a:pt x="1962" y="290"/>
                  </a:lnTo>
                  <a:lnTo>
                    <a:pt x="1963" y="297"/>
                  </a:lnTo>
                  <a:lnTo>
                    <a:pt x="1965" y="305"/>
                  </a:lnTo>
                  <a:lnTo>
                    <a:pt x="1925" y="305"/>
                  </a:lnTo>
                  <a:close/>
                  <a:moveTo>
                    <a:pt x="1721" y="223"/>
                  </a:moveTo>
                  <a:lnTo>
                    <a:pt x="1760" y="223"/>
                  </a:lnTo>
                  <a:lnTo>
                    <a:pt x="1740" y="94"/>
                  </a:lnTo>
                  <a:lnTo>
                    <a:pt x="1721" y="223"/>
                  </a:lnTo>
                  <a:close/>
                  <a:moveTo>
                    <a:pt x="1813" y="305"/>
                  </a:moveTo>
                  <a:lnTo>
                    <a:pt x="1772" y="305"/>
                  </a:lnTo>
                  <a:lnTo>
                    <a:pt x="1765" y="258"/>
                  </a:lnTo>
                  <a:lnTo>
                    <a:pt x="1715" y="258"/>
                  </a:lnTo>
                  <a:lnTo>
                    <a:pt x="1709" y="305"/>
                  </a:lnTo>
                  <a:lnTo>
                    <a:pt x="1672" y="305"/>
                  </a:lnTo>
                  <a:lnTo>
                    <a:pt x="1713" y="49"/>
                  </a:lnTo>
                  <a:lnTo>
                    <a:pt x="1771" y="49"/>
                  </a:lnTo>
                  <a:lnTo>
                    <a:pt x="1813" y="305"/>
                  </a:lnTo>
                  <a:close/>
                  <a:moveTo>
                    <a:pt x="1596" y="257"/>
                  </a:moveTo>
                  <a:lnTo>
                    <a:pt x="1626" y="49"/>
                  </a:lnTo>
                  <a:lnTo>
                    <a:pt x="1663" y="49"/>
                  </a:lnTo>
                  <a:lnTo>
                    <a:pt x="1624" y="305"/>
                  </a:lnTo>
                  <a:lnTo>
                    <a:pt x="1564" y="305"/>
                  </a:lnTo>
                  <a:lnTo>
                    <a:pt x="1525" y="49"/>
                  </a:lnTo>
                  <a:lnTo>
                    <a:pt x="1565" y="49"/>
                  </a:lnTo>
                  <a:lnTo>
                    <a:pt x="1596" y="257"/>
                  </a:lnTo>
                  <a:close/>
                  <a:moveTo>
                    <a:pt x="1426" y="223"/>
                  </a:moveTo>
                  <a:lnTo>
                    <a:pt x="1464" y="223"/>
                  </a:lnTo>
                  <a:lnTo>
                    <a:pt x="1445" y="94"/>
                  </a:lnTo>
                  <a:lnTo>
                    <a:pt x="1426" y="223"/>
                  </a:lnTo>
                  <a:close/>
                  <a:moveTo>
                    <a:pt x="1516" y="305"/>
                  </a:moveTo>
                  <a:lnTo>
                    <a:pt x="1476" y="305"/>
                  </a:lnTo>
                  <a:lnTo>
                    <a:pt x="1469" y="258"/>
                  </a:lnTo>
                  <a:lnTo>
                    <a:pt x="1420" y="258"/>
                  </a:lnTo>
                  <a:lnTo>
                    <a:pt x="1413" y="305"/>
                  </a:lnTo>
                  <a:lnTo>
                    <a:pt x="1376" y="305"/>
                  </a:lnTo>
                  <a:lnTo>
                    <a:pt x="1417" y="49"/>
                  </a:lnTo>
                  <a:lnTo>
                    <a:pt x="1476" y="49"/>
                  </a:lnTo>
                  <a:lnTo>
                    <a:pt x="1516" y="305"/>
                  </a:lnTo>
                  <a:close/>
                  <a:moveTo>
                    <a:pt x="1250" y="49"/>
                  </a:moveTo>
                  <a:lnTo>
                    <a:pt x="1374" y="49"/>
                  </a:lnTo>
                  <a:lnTo>
                    <a:pt x="1374" y="86"/>
                  </a:lnTo>
                  <a:lnTo>
                    <a:pt x="1332" y="86"/>
                  </a:lnTo>
                  <a:lnTo>
                    <a:pt x="1332" y="305"/>
                  </a:lnTo>
                  <a:lnTo>
                    <a:pt x="1292" y="305"/>
                  </a:lnTo>
                  <a:lnTo>
                    <a:pt x="1292" y="86"/>
                  </a:lnTo>
                  <a:lnTo>
                    <a:pt x="1250" y="86"/>
                  </a:lnTo>
                  <a:lnTo>
                    <a:pt x="1250" y="49"/>
                  </a:lnTo>
                  <a:close/>
                  <a:moveTo>
                    <a:pt x="1170" y="45"/>
                  </a:moveTo>
                  <a:lnTo>
                    <a:pt x="1177" y="45"/>
                  </a:lnTo>
                  <a:lnTo>
                    <a:pt x="1183" y="47"/>
                  </a:lnTo>
                  <a:lnTo>
                    <a:pt x="1190" y="48"/>
                  </a:lnTo>
                  <a:lnTo>
                    <a:pt x="1195" y="50"/>
                  </a:lnTo>
                  <a:lnTo>
                    <a:pt x="1201" y="53"/>
                  </a:lnTo>
                  <a:lnTo>
                    <a:pt x="1206" y="55"/>
                  </a:lnTo>
                  <a:lnTo>
                    <a:pt x="1210" y="58"/>
                  </a:lnTo>
                  <a:lnTo>
                    <a:pt x="1214" y="62"/>
                  </a:lnTo>
                  <a:lnTo>
                    <a:pt x="1217" y="67"/>
                  </a:lnTo>
                  <a:lnTo>
                    <a:pt x="1220" y="72"/>
                  </a:lnTo>
                  <a:lnTo>
                    <a:pt x="1224" y="77"/>
                  </a:lnTo>
                  <a:lnTo>
                    <a:pt x="1226" y="82"/>
                  </a:lnTo>
                  <a:lnTo>
                    <a:pt x="1227" y="89"/>
                  </a:lnTo>
                  <a:lnTo>
                    <a:pt x="1228" y="95"/>
                  </a:lnTo>
                  <a:lnTo>
                    <a:pt x="1229" y="103"/>
                  </a:lnTo>
                  <a:lnTo>
                    <a:pt x="1229" y="110"/>
                  </a:lnTo>
                  <a:lnTo>
                    <a:pt x="1229" y="118"/>
                  </a:lnTo>
                  <a:lnTo>
                    <a:pt x="1191" y="118"/>
                  </a:lnTo>
                  <a:lnTo>
                    <a:pt x="1191" y="108"/>
                  </a:lnTo>
                  <a:lnTo>
                    <a:pt x="1191" y="102"/>
                  </a:lnTo>
                  <a:lnTo>
                    <a:pt x="1190" y="96"/>
                  </a:lnTo>
                  <a:lnTo>
                    <a:pt x="1188" y="91"/>
                  </a:lnTo>
                  <a:lnTo>
                    <a:pt x="1187" y="90"/>
                  </a:lnTo>
                  <a:lnTo>
                    <a:pt x="1185" y="88"/>
                  </a:lnTo>
                  <a:lnTo>
                    <a:pt x="1183" y="86"/>
                  </a:lnTo>
                  <a:lnTo>
                    <a:pt x="1179" y="84"/>
                  </a:lnTo>
                  <a:lnTo>
                    <a:pt x="1175" y="82"/>
                  </a:lnTo>
                  <a:lnTo>
                    <a:pt x="1171" y="82"/>
                  </a:lnTo>
                  <a:lnTo>
                    <a:pt x="1166" y="82"/>
                  </a:lnTo>
                  <a:lnTo>
                    <a:pt x="1162" y="84"/>
                  </a:lnTo>
                  <a:lnTo>
                    <a:pt x="1159" y="86"/>
                  </a:lnTo>
                  <a:lnTo>
                    <a:pt x="1156" y="88"/>
                  </a:lnTo>
                  <a:lnTo>
                    <a:pt x="1154" y="91"/>
                  </a:lnTo>
                  <a:lnTo>
                    <a:pt x="1153" y="93"/>
                  </a:lnTo>
                  <a:lnTo>
                    <a:pt x="1152" y="96"/>
                  </a:lnTo>
                  <a:lnTo>
                    <a:pt x="1152" y="102"/>
                  </a:lnTo>
                  <a:lnTo>
                    <a:pt x="1151" y="108"/>
                  </a:lnTo>
                  <a:lnTo>
                    <a:pt x="1152" y="116"/>
                  </a:lnTo>
                  <a:lnTo>
                    <a:pt x="1153" y="122"/>
                  </a:lnTo>
                  <a:lnTo>
                    <a:pt x="1154" y="126"/>
                  </a:lnTo>
                  <a:lnTo>
                    <a:pt x="1158" y="133"/>
                  </a:lnTo>
                  <a:lnTo>
                    <a:pt x="1163" y="141"/>
                  </a:lnTo>
                  <a:lnTo>
                    <a:pt x="1169" y="147"/>
                  </a:lnTo>
                  <a:lnTo>
                    <a:pt x="1176" y="154"/>
                  </a:lnTo>
                  <a:lnTo>
                    <a:pt x="1190" y="167"/>
                  </a:lnTo>
                  <a:lnTo>
                    <a:pt x="1197" y="174"/>
                  </a:lnTo>
                  <a:lnTo>
                    <a:pt x="1205" y="182"/>
                  </a:lnTo>
                  <a:lnTo>
                    <a:pt x="1211" y="189"/>
                  </a:lnTo>
                  <a:lnTo>
                    <a:pt x="1214" y="194"/>
                  </a:lnTo>
                  <a:lnTo>
                    <a:pt x="1217" y="199"/>
                  </a:lnTo>
                  <a:lnTo>
                    <a:pt x="1222" y="208"/>
                  </a:lnTo>
                  <a:lnTo>
                    <a:pt x="1225" y="213"/>
                  </a:lnTo>
                  <a:lnTo>
                    <a:pt x="1226" y="218"/>
                  </a:lnTo>
                  <a:lnTo>
                    <a:pt x="1228" y="224"/>
                  </a:lnTo>
                  <a:lnTo>
                    <a:pt x="1229" y="229"/>
                  </a:lnTo>
                  <a:lnTo>
                    <a:pt x="1229" y="236"/>
                  </a:lnTo>
                  <a:lnTo>
                    <a:pt x="1229" y="243"/>
                  </a:lnTo>
                  <a:lnTo>
                    <a:pt x="1229" y="251"/>
                  </a:lnTo>
                  <a:lnTo>
                    <a:pt x="1229" y="257"/>
                  </a:lnTo>
                  <a:lnTo>
                    <a:pt x="1227" y="264"/>
                  </a:lnTo>
                  <a:lnTo>
                    <a:pt x="1226" y="271"/>
                  </a:lnTo>
                  <a:lnTo>
                    <a:pt x="1224" y="276"/>
                  </a:lnTo>
                  <a:lnTo>
                    <a:pt x="1220" y="281"/>
                  </a:lnTo>
                  <a:lnTo>
                    <a:pt x="1217" y="287"/>
                  </a:lnTo>
                  <a:lnTo>
                    <a:pt x="1214" y="291"/>
                  </a:lnTo>
                  <a:lnTo>
                    <a:pt x="1210" y="294"/>
                  </a:lnTo>
                  <a:lnTo>
                    <a:pt x="1206" y="298"/>
                  </a:lnTo>
                  <a:lnTo>
                    <a:pt x="1200" y="300"/>
                  </a:lnTo>
                  <a:lnTo>
                    <a:pt x="1195" y="302"/>
                  </a:lnTo>
                  <a:lnTo>
                    <a:pt x="1190" y="305"/>
                  </a:lnTo>
                  <a:lnTo>
                    <a:pt x="1183" y="307"/>
                  </a:lnTo>
                  <a:lnTo>
                    <a:pt x="1177" y="307"/>
                  </a:lnTo>
                  <a:lnTo>
                    <a:pt x="1170" y="308"/>
                  </a:lnTo>
                  <a:lnTo>
                    <a:pt x="1162" y="307"/>
                  </a:lnTo>
                  <a:lnTo>
                    <a:pt x="1156" y="307"/>
                  </a:lnTo>
                  <a:lnTo>
                    <a:pt x="1150" y="305"/>
                  </a:lnTo>
                  <a:lnTo>
                    <a:pt x="1143" y="302"/>
                  </a:lnTo>
                  <a:lnTo>
                    <a:pt x="1138" y="300"/>
                  </a:lnTo>
                  <a:lnTo>
                    <a:pt x="1133" y="298"/>
                  </a:lnTo>
                  <a:lnTo>
                    <a:pt x="1128" y="294"/>
                  </a:lnTo>
                  <a:lnTo>
                    <a:pt x="1124" y="291"/>
                  </a:lnTo>
                  <a:lnTo>
                    <a:pt x="1121" y="287"/>
                  </a:lnTo>
                  <a:lnTo>
                    <a:pt x="1118" y="281"/>
                  </a:lnTo>
                  <a:lnTo>
                    <a:pt x="1116" y="276"/>
                  </a:lnTo>
                  <a:lnTo>
                    <a:pt x="1114" y="271"/>
                  </a:lnTo>
                  <a:lnTo>
                    <a:pt x="1111" y="264"/>
                  </a:lnTo>
                  <a:lnTo>
                    <a:pt x="1110" y="257"/>
                  </a:lnTo>
                  <a:lnTo>
                    <a:pt x="1109" y="251"/>
                  </a:lnTo>
                  <a:lnTo>
                    <a:pt x="1109" y="243"/>
                  </a:lnTo>
                  <a:lnTo>
                    <a:pt x="1109" y="227"/>
                  </a:lnTo>
                  <a:lnTo>
                    <a:pt x="1147" y="227"/>
                  </a:lnTo>
                  <a:lnTo>
                    <a:pt x="1147" y="245"/>
                  </a:lnTo>
                  <a:lnTo>
                    <a:pt x="1147" y="252"/>
                  </a:lnTo>
                  <a:lnTo>
                    <a:pt x="1148" y="257"/>
                  </a:lnTo>
                  <a:lnTo>
                    <a:pt x="1151" y="261"/>
                  </a:lnTo>
                  <a:lnTo>
                    <a:pt x="1153" y="264"/>
                  </a:lnTo>
                  <a:lnTo>
                    <a:pt x="1156" y="268"/>
                  </a:lnTo>
                  <a:lnTo>
                    <a:pt x="1160" y="269"/>
                  </a:lnTo>
                  <a:lnTo>
                    <a:pt x="1163" y="270"/>
                  </a:lnTo>
                  <a:lnTo>
                    <a:pt x="1169" y="271"/>
                  </a:lnTo>
                  <a:lnTo>
                    <a:pt x="1173" y="270"/>
                  </a:lnTo>
                  <a:lnTo>
                    <a:pt x="1177" y="269"/>
                  </a:lnTo>
                  <a:lnTo>
                    <a:pt x="1180" y="268"/>
                  </a:lnTo>
                  <a:lnTo>
                    <a:pt x="1183" y="264"/>
                  </a:lnTo>
                  <a:lnTo>
                    <a:pt x="1185" y="261"/>
                  </a:lnTo>
                  <a:lnTo>
                    <a:pt x="1188" y="257"/>
                  </a:lnTo>
                  <a:lnTo>
                    <a:pt x="1189" y="252"/>
                  </a:lnTo>
                  <a:lnTo>
                    <a:pt x="1189" y="245"/>
                  </a:lnTo>
                  <a:lnTo>
                    <a:pt x="1189" y="236"/>
                  </a:lnTo>
                  <a:lnTo>
                    <a:pt x="1188" y="232"/>
                  </a:lnTo>
                  <a:lnTo>
                    <a:pt x="1185" y="227"/>
                  </a:lnTo>
                  <a:lnTo>
                    <a:pt x="1182" y="220"/>
                  </a:lnTo>
                  <a:lnTo>
                    <a:pt x="1177" y="213"/>
                  </a:lnTo>
                  <a:lnTo>
                    <a:pt x="1171" y="205"/>
                  </a:lnTo>
                  <a:lnTo>
                    <a:pt x="1164" y="199"/>
                  </a:lnTo>
                  <a:lnTo>
                    <a:pt x="1150" y="185"/>
                  </a:lnTo>
                  <a:lnTo>
                    <a:pt x="1142" y="179"/>
                  </a:lnTo>
                  <a:lnTo>
                    <a:pt x="1136" y="171"/>
                  </a:lnTo>
                  <a:lnTo>
                    <a:pt x="1128" y="163"/>
                  </a:lnTo>
                  <a:lnTo>
                    <a:pt x="1126" y="159"/>
                  </a:lnTo>
                  <a:lnTo>
                    <a:pt x="1123" y="154"/>
                  </a:lnTo>
                  <a:lnTo>
                    <a:pt x="1118" y="145"/>
                  </a:lnTo>
                  <a:lnTo>
                    <a:pt x="1116" y="140"/>
                  </a:lnTo>
                  <a:lnTo>
                    <a:pt x="1114" y="134"/>
                  </a:lnTo>
                  <a:lnTo>
                    <a:pt x="1113" y="129"/>
                  </a:lnTo>
                  <a:lnTo>
                    <a:pt x="1111" y="123"/>
                  </a:lnTo>
                  <a:lnTo>
                    <a:pt x="1110" y="116"/>
                  </a:lnTo>
                  <a:lnTo>
                    <a:pt x="1110" y="110"/>
                  </a:lnTo>
                  <a:lnTo>
                    <a:pt x="1110" y="103"/>
                  </a:lnTo>
                  <a:lnTo>
                    <a:pt x="1111" y="95"/>
                  </a:lnTo>
                  <a:lnTo>
                    <a:pt x="1113" y="89"/>
                  </a:lnTo>
                  <a:lnTo>
                    <a:pt x="1115" y="82"/>
                  </a:lnTo>
                  <a:lnTo>
                    <a:pt x="1117" y="77"/>
                  </a:lnTo>
                  <a:lnTo>
                    <a:pt x="1119" y="72"/>
                  </a:lnTo>
                  <a:lnTo>
                    <a:pt x="1122" y="67"/>
                  </a:lnTo>
                  <a:lnTo>
                    <a:pt x="1125" y="62"/>
                  </a:lnTo>
                  <a:lnTo>
                    <a:pt x="1129" y="58"/>
                  </a:lnTo>
                  <a:lnTo>
                    <a:pt x="1134" y="55"/>
                  </a:lnTo>
                  <a:lnTo>
                    <a:pt x="1139" y="53"/>
                  </a:lnTo>
                  <a:lnTo>
                    <a:pt x="1144" y="50"/>
                  </a:lnTo>
                  <a:lnTo>
                    <a:pt x="1150" y="48"/>
                  </a:lnTo>
                  <a:lnTo>
                    <a:pt x="1156" y="47"/>
                  </a:lnTo>
                  <a:lnTo>
                    <a:pt x="1162" y="45"/>
                  </a:lnTo>
                  <a:lnTo>
                    <a:pt x="1170" y="45"/>
                  </a:lnTo>
                  <a:close/>
                  <a:moveTo>
                    <a:pt x="1037" y="49"/>
                  </a:moveTo>
                  <a:lnTo>
                    <a:pt x="1078" y="49"/>
                  </a:lnTo>
                  <a:lnTo>
                    <a:pt x="1078" y="305"/>
                  </a:lnTo>
                  <a:lnTo>
                    <a:pt x="1037" y="305"/>
                  </a:lnTo>
                  <a:lnTo>
                    <a:pt x="1037" y="49"/>
                  </a:lnTo>
                  <a:close/>
                  <a:moveTo>
                    <a:pt x="985" y="0"/>
                  </a:moveTo>
                  <a:lnTo>
                    <a:pt x="985" y="35"/>
                  </a:lnTo>
                  <a:lnTo>
                    <a:pt x="949" y="35"/>
                  </a:lnTo>
                  <a:lnTo>
                    <a:pt x="949" y="0"/>
                  </a:lnTo>
                  <a:lnTo>
                    <a:pt x="985" y="0"/>
                  </a:lnTo>
                  <a:close/>
                  <a:moveTo>
                    <a:pt x="918" y="223"/>
                  </a:moveTo>
                  <a:lnTo>
                    <a:pt x="956" y="223"/>
                  </a:lnTo>
                  <a:lnTo>
                    <a:pt x="937" y="94"/>
                  </a:lnTo>
                  <a:lnTo>
                    <a:pt x="918" y="223"/>
                  </a:lnTo>
                  <a:close/>
                  <a:moveTo>
                    <a:pt x="929" y="0"/>
                  </a:moveTo>
                  <a:lnTo>
                    <a:pt x="929" y="35"/>
                  </a:lnTo>
                  <a:lnTo>
                    <a:pt x="894" y="35"/>
                  </a:lnTo>
                  <a:lnTo>
                    <a:pt x="894" y="0"/>
                  </a:lnTo>
                  <a:lnTo>
                    <a:pt x="929" y="0"/>
                  </a:lnTo>
                  <a:close/>
                  <a:moveTo>
                    <a:pt x="1009" y="305"/>
                  </a:moveTo>
                  <a:lnTo>
                    <a:pt x="969" y="305"/>
                  </a:lnTo>
                  <a:lnTo>
                    <a:pt x="962" y="258"/>
                  </a:lnTo>
                  <a:lnTo>
                    <a:pt x="913" y="258"/>
                  </a:lnTo>
                  <a:lnTo>
                    <a:pt x="905" y="305"/>
                  </a:lnTo>
                  <a:lnTo>
                    <a:pt x="868" y="305"/>
                  </a:lnTo>
                  <a:lnTo>
                    <a:pt x="909" y="49"/>
                  </a:lnTo>
                  <a:lnTo>
                    <a:pt x="969" y="49"/>
                  </a:lnTo>
                  <a:lnTo>
                    <a:pt x="1009" y="305"/>
                  </a:lnTo>
                  <a:close/>
                  <a:moveTo>
                    <a:pt x="742" y="49"/>
                  </a:moveTo>
                  <a:lnTo>
                    <a:pt x="866" y="49"/>
                  </a:lnTo>
                  <a:lnTo>
                    <a:pt x="866" y="86"/>
                  </a:lnTo>
                  <a:lnTo>
                    <a:pt x="825" y="86"/>
                  </a:lnTo>
                  <a:lnTo>
                    <a:pt x="825" y="305"/>
                  </a:lnTo>
                  <a:lnTo>
                    <a:pt x="785" y="305"/>
                  </a:lnTo>
                  <a:lnTo>
                    <a:pt x="785" y="86"/>
                  </a:lnTo>
                  <a:lnTo>
                    <a:pt x="742" y="86"/>
                  </a:lnTo>
                  <a:lnTo>
                    <a:pt x="742" y="49"/>
                  </a:lnTo>
                  <a:close/>
                  <a:moveTo>
                    <a:pt x="603" y="49"/>
                  </a:moveTo>
                  <a:lnTo>
                    <a:pt x="728" y="49"/>
                  </a:lnTo>
                  <a:lnTo>
                    <a:pt x="728" y="86"/>
                  </a:lnTo>
                  <a:lnTo>
                    <a:pt x="685" y="86"/>
                  </a:lnTo>
                  <a:lnTo>
                    <a:pt x="685" y="305"/>
                  </a:lnTo>
                  <a:lnTo>
                    <a:pt x="645" y="305"/>
                  </a:lnTo>
                  <a:lnTo>
                    <a:pt x="645" y="86"/>
                  </a:lnTo>
                  <a:lnTo>
                    <a:pt x="603" y="86"/>
                  </a:lnTo>
                  <a:lnTo>
                    <a:pt x="603" y="49"/>
                  </a:lnTo>
                  <a:close/>
                  <a:moveTo>
                    <a:pt x="536" y="49"/>
                  </a:moveTo>
                  <a:lnTo>
                    <a:pt x="576" y="49"/>
                  </a:lnTo>
                  <a:lnTo>
                    <a:pt x="576" y="305"/>
                  </a:lnTo>
                  <a:lnTo>
                    <a:pt x="536" y="305"/>
                  </a:lnTo>
                  <a:lnTo>
                    <a:pt x="536" y="49"/>
                  </a:lnTo>
                  <a:close/>
                  <a:moveTo>
                    <a:pt x="441" y="257"/>
                  </a:moveTo>
                  <a:lnTo>
                    <a:pt x="472" y="49"/>
                  </a:lnTo>
                  <a:lnTo>
                    <a:pt x="509" y="49"/>
                  </a:lnTo>
                  <a:lnTo>
                    <a:pt x="468" y="305"/>
                  </a:lnTo>
                  <a:lnTo>
                    <a:pt x="409" y="305"/>
                  </a:lnTo>
                  <a:lnTo>
                    <a:pt x="370" y="49"/>
                  </a:lnTo>
                  <a:lnTo>
                    <a:pt x="410" y="49"/>
                  </a:lnTo>
                  <a:lnTo>
                    <a:pt x="441" y="257"/>
                  </a:lnTo>
                  <a:close/>
                  <a:moveTo>
                    <a:pt x="301" y="49"/>
                  </a:moveTo>
                  <a:lnTo>
                    <a:pt x="342" y="49"/>
                  </a:lnTo>
                  <a:lnTo>
                    <a:pt x="342" y="305"/>
                  </a:lnTo>
                  <a:lnTo>
                    <a:pt x="301" y="305"/>
                  </a:lnTo>
                  <a:lnTo>
                    <a:pt x="301" y="49"/>
                  </a:lnTo>
                  <a:close/>
                  <a:moveTo>
                    <a:pt x="249" y="0"/>
                  </a:moveTo>
                  <a:lnTo>
                    <a:pt x="249" y="35"/>
                  </a:lnTo>
                  <a:lnTo>
                    <a:pt x="214" y="35"/>
                  </a:lnTo>
                  <a:lnTo>
                    <a:pt x="214" y="0"/>
                  </a:lnTo>
                  <a:lnTo>
                    <a:pt x="249" y="0"/>
                  </a:lnTo>
                  <a:close/>
                  <a:moveTo>
                    <a:pt x="182" y="223"/>
                  </a:moveTo>
                  <a:lnTo>
                    <a:pt x="221" y="223"/>
                  </a:lnTo>
                  <a:lnTo>
                    <a:pt x="202" y="94"/>
                  </a:lnTo>
                  <a:lnTo>
                    <a:pt x="182" y="223"/>
                  </a:lnTo>
                  <a:close/>
                  <a:moveTo>
                    <a:pt x="194" y="0"/>
                  </a:moveTo>
                  <a:lnTo>
                    <a:pt x="194" y="35"/>
                  </a:lnTo>
                  <a:lnTo>
                    <a:pt x="158" y="35"/>
                  </a:lnTo>
                  <a:lnTo>
                    <a:pt x="158" y="0"/>
                  </a:lnTo>
                  <a:lnTo>
                    <a:pt x="194" y="0"/>
                  </a:lnTo>
                  <a:close/>
                  <a:moveTo>
                    <a:pt x="274" y="305"/>
                  </a:moveTo>
                  <a:lnTo>
                    <a:pt x="234" y="305"/>
                  </a:lnTo>
                  <a:lnTo>
                    <a:pt x="226" y="258"/>
                  </a:lnTo>
                  <a:lnTo>
                    <a:pt x="177" y="258"/>
                  </a:lnTo>
                  <a:lnTo>
                    <a:pt x="170" y="305"/>
                  </a:lnTo>
                  <a:lnTo>
                    <a:pt x="133" y="305"/>
                  </a:lnTo>
                  <a:lnTo>
                    <a:pt x="174" y="49"/>
                  </a:lnTo>
                  <a:lnTo>
                    <a:pt x="233" y="49"/>
                  </a:lnTo>
                  <a:lnTo>
                    <a:pt x="274" y="305"/>
                  </a:lnTo>
                  <a:close/>
                  <a:moveTo>
                    <a:pt x="40" y="86"/>
                  </a:moveTo>
                  <a:lnTo>
                    <a:pt x="40" y="171"/>
                  </a:lnTo>
                  <a:lnTo>
                    <a:pt x="59" y="171"/>
                  </a:lnTo>
                  <a:lnTo>
                    <a:pt x="63" y="171"/>
                  </a:lnTo>
                  <a:lnTo>
                    <a:pt x="68" y="170"/>
                  </a:lnTo>
                  <a:lnTo>
                    <a:pt x="71" y="169"/>
                  </a:lnTo>
                  <a:lnTo>
                    <a:pt x="74" y="166"/>
                  </a:lnTo>
                  <a:lnTo>
                    <a:pt x="76" y="163"/>
                  </a:lnTo>
                  <a:lnTo>
                    <a:pt x="77" y="159"/>
                  </a:lnTo>
                  <a:lnTo>
                    <a:pt x="78" y="154"/>
                  </a:lnTo>
                  <a:lnTo>
                    <a:pt x="78" y="148"/>
                  </a:lnTo>
                  <a:lnTo>
                    <a:pt x="78" y="109"/>
                  </a:lnTo>
                  <a:lnTo>
                    <a:pt x="78" y="103"/>
                  </a:lnTo>
                  <a:lnTo>
                    <a:pt x="77" y="97"/>
                  </a:lnTo>
                  <a:lnTo>
                    <a:pt x="76" y="94"/>
                  </a:lnTo>
                  <a:lnTo>
                    <a:pt x="74" y="90"/>
                  </a:lnTo>
                  <a:lnTo>
                    <a:pt x="72" y="89"/>
                  </a:lnTo>
                  <a:lnTo>
                    <a:pt x="71" y="88"/>
                  </a:lnTo>
                  <a:lnTo>
                    <a:pt x="69" y="87"/>
                  </a:lnTo>
                  <a:lnTo>
                    <a:pt x="68" y="87"/>
                  </a:lnTo>
                  <a:lnTo>
                    <a:pt x="63" y="86"/>
                  </a:lnTo>
                  <a:lnTo>
                    <a:pt x="59" y="86"/>
                  </a:lnTo>
                  <a:lnTo>
                    <a:pt x="40" y="86"/>
                  </a:lnTo>
                  <a:close/>
                  <a:moveTo>
                    <a:pt x="118" y="112"/>
                  </a:moveTo>
                  <a:lnTo>
                    <a:pt x="118" y="145"/>
                  </a:lnTo>
                  <a:lnTo>
                    <a:pt x="118" y="152"/>
                  </a:lnTo>
                  <a:lnTo>
                    <a:pt x="118" y="160"/>
                  </a:lnTo>
                  <a:lnTo>
                    <a:pt x="116" y="166"/>
                  </a:lnTo>
                  <a:lnTo>
                    <a:pt x="115" y="172"/>
                  </a:lnTo>
                  <a:lnTo>
                    <a:pt x="113" y="178"/>
                  </a:lnTo>
                  <a:lnTo>
                    <a:pt x="111" y="183"/>
                  </a:lnTo>
                  <a:lnTo>
                    <a:pt x="108" y="188"/>
                  </a:lnTo>
                  <a:lnTo>
                    <a:pt x="104" y="192"/>
                  </a:lnTo>
                  <a:lnTo>
                    <a:pt x="100" y="196"/>
                  </a:lnTo>
                  <a:lnTo>
                    <a:pt x="95" y="199"/>
                  </a:lnTo>
                  <a:lnTo>
                    <a:pt x="91" y="202"/>
                  </a:lnTo>
                  <a:lnTo>
                    <a:pt x="86" y="204"/>
                  </a:lnTo>
                  <a:lnTo>
                    <a:pt x="79" y="206"/>
                  </a:lnTo>
                  <a:lnTo>
                    <a:pt x="73" y="207"/>
                  </a:lnTo>
                  <a:lnTo>
                    <a:pt x="67" y="208"/>
                  </a:lnTo>
                  <a:lnTo>
                    <a:pt x="59" y="208"/>
                  </a:lnTo>
                  <a:lnTo>
                    <a:pt x="40" y="208"/>
                  </a:lnTo>
                  <a:lnTo>
                    <a:pt x="40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59" y="49"/>
                  </a:lnTo>
                  <a:lnTo>
                    <a:pt x="67" y="49"/>
                  </a:lnTo>
                  <a:lnTo>
                    <a:pt x="73" y="50"/>
                  </a:lnTo>
                  <a:lnTo>
                    <a:pt x="79" y="51"/>
                  </a:lnTo>
                  <a:lnTo>
                    <a:pt x="86" y="53"/>
                  </a:lnTo>
                  <a:lnTo>
                    <a:pt x="88" y="54"/>
                  </a:lnTo>
                  <a:lnTo>
                    <a:pt x="91" y="55"/>
                  </a:lnTo>
                  <a:lnTo>
                    <a:pt x="95" y="58"/>
                  </a:lnTo>
                  <a:lnTo>
                    <a:pt x="100" y="61"/>
                  </a:lnTo>
                  <a:lnTo>
                    <a:pt x="104" y="64"/>
                  </a:lnTo>
                  <a:lnTo>
                    <a:pt x="108" y="69"/>
                  </a:lnTo>
                  <a:lnTo>
                    <a:pt x="111" y="74"/>
                  </a:lnTo>
                  <a:lnTo>
                    <a:pt x="113" y="79"/>
                  </a:lnTo>
                  <a:lnTo>
                    <a:pt x="115" y="85"/>
                  </a:lnTo>
                  <a:lnTo>
                    <a:pt x="116" y="91"/>
                  </a:lnTo>
                  <a:lnTo>
                    <a:pt x="118" y="97"/>
                  </a:lnTo>
                  <a:lnTo>
                    <a:pt x="118" y="105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3596983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4107C-B8ED-4D40-802C-5133E9DF4AFA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4970997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F72560-2A08-4228-BA59-D622B1617E30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7" name="Round Same Side Corner Rectangle 16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8" name="Freeform 22"/>
            <p:cNvSpPr>
              <a:spLocks noEditPoints="1"/>
            </p:cNvSpPr>
            <p:nvPr userDrawn="1"/>
          </p:nvSpPr>
          <p:spPr bwMode="auto">
            <a:xfrm>
              <a:off x="8843371" y="6428428"/>
              <a:ext cx="2004515" cy="290400"/>
            </a:xfrm>
            <a:custGeom>
              <a:avLst/>
              <a:gdLst>
                <a:gd name="T0" fmla="*/ 2079 w 2127"/>
                <a:gd name="T1" fmla="*/ 258 h 308"/>
                <a:gd name="T2" fmla="*/ 1880 w 2127"/>
                <a:gd name="T3" fmla="*/ 86 h 308"/>
                <a:gd name="T4" fmla="*/ 1916 w 2127"/>
                <a:gd name="T5" fmla="*/ 154 h 308"/>
                <a:gd name="T6" fmla="*/ 1918 w 2127"/>
                <a:gd name="T7" fmla="*/ 97 h 308"/>
                <a:gd name="T8" fmla="*/ 1880 w 2127"/>
                <a:gd name="T9" fmla="*/ 86 h 308"/>
                <a:gd name="T10" fmla="*/ 1920 w 2127"/>
                <a:gd name="T11" fmla="*/ 224 h 308"/>
                <a:gd name="T12" fmla="*/ 1900 w 2127"/>
                <a:gd name="T13" fmla="*/ 201 h 308"/>
                <a:gd name="T14" fmla="*/ 1909 w 2127"/>
                <a:gd name="T15" fmla="*/ 49 h 308"/>
                <a:gd name="T16" fmla="*/ 1946 w 2127"/>
                <a:gd name="T17" fmla="*/ 63 h 308"/>
                <a:gd name="T18" fmla="*/ 1961 w 2127"/>
                <a:gd name="T19" fmla="*/ 100 h 308"/>
                <a:gd name="T20" fmla="*/ 1950 w 2127"/>
                <a:gd name="T21" fmla="*/ 166 h 308"/>
                <a:gd name="T22" fmla="*/ 1949 w 2127"/>
                <a:gd name="T23" fmla="*/ 190 h 308"/>
                <a:gd name="T24" fmla="*/ 1961 w 2127"/>
                <a:gd name="T25" fmla="*/ 273 h 308"/>
                <a:gd name="T26" fmla="*/ 1760 w 2127"/>
                <a:gd name="T27" fmla="*/ 223 h 308"/>
                <a:gd name="T28" fmla="*/ 1709 w 2127"/>
                <a:gd name="T29" fmla="*/ 305 h 308"/>
                <a:gd name="T30" fmla="*/ 1663 w 2127"/>
                <a:gd name="T31" fmla="*/ 49 h 308"/>
                <a:gd name="T32" fmla="*/ 1464 w 2127"/>
                <a:gd name="T33" fmla="*/ 223 h 308"/>
                <a:gd name="T34" fmla="*/ 1413 w 2127"/>
                <a:gd name="T35" fmla="*/ 305 h 308"/>
                <a:gd name="T36" fmla="*/ 1374 w 2127"/>
                <a:gd name="T37" fmla="*/ 86 h 308"/>
                <a:gd name="T38" fmla="*/ 1170 w 2127"/>
                <a:gd name="T39" fmla="*/ 45 h 308"/>
                <a:gd name="T40" fmla="*/ 1210 w 2127"/>
                <a:gd name="T41" fmla="*/ 58 h 308"/>
                <a:gd name="T42" fmla="*/ 1228 w 2127"/>
                <a:gd name="T43" fmla="*/ 95 h 308"/>
                <a:gd name="T44" fmla="*/ 1190 w 2127"/>
                <a:gd name="T45" fmla="*/ 96 h 308"/>
                <a:gd name="T46" fmla="*/ 1171 w 2127"/>
                <a:gd name="T47" fmla="*/ 82 h 308"/>
                <a:gd name="T48" fmla="*/ 1152 w 2127"/>
                <a:gd name="T49" fmla="*/ 96 h 308"/>
                <a:gd name="T50" fmla="*/ 1163 w 2127"/>
                <a:gd name="T51" fmla="*/ 141 h 308"/>
                <a:gd name="T52" fmla="*/ 1214 w 2127"/>
                <a:gd name="T53" fmla="*/ 194 h 308"/>
                <a:gd name="T54" fmla="*/ 1229 w 2127"/>
                <a:gd name="T55" fmla="*/ 236 h 308"/>
                <a:gd name="T56" fmla="*/ 1220 w 2127"/>
                <a:gd name="T57" fmla="*/ 281 h 308"/>
                <a:gd name="T58" fmla="*/ 1190 w 2127"/>
                <a:gd name="T59" fmla="*/ 305 h 308"/>
                <a:gd name="T60" fmla="*/ 1143 w 2127"/>
                <a:gd name="T61" fmla="*/ 302 h 308"/>
                <a:gd name="T62" fmla="*/ 1116 w 2127"/>
                <a:gd name="T63" fmla="*/ 276 h 308"/>
                <a:gd name="T64" fmla="*/ 1147 w 2127"/>
                <a:gd name="T65" fmla="*/ 227 h 308"/>
                <a:gd name="T66" fmla="*/ 1160 w 2127"/>
                <a:gd name="T67" fmla="*/ 269 h 308"/>
                <a:gd name="T68" fmla="*/ 1185 w 2127"/>
                <a:gd name="T69" fmla="*/ 261 h 308"/>
                <a:gd name="T70" fmla="*/ 1182 w 2127"/>
                <a:gd name="T71" fmla="*/ 220 h 308"/>
                <a:gd name="T72" fmla="*/ 1128 w 2127"/>
                <a:gd name="T73" fmla="*/ 163 h 308"/>
                <a:gd name="T74" fmla="*/ 1111 w 2127"/>
                <a:gd name="T75" fmla="*/ 123 h 308"/>
                <a:gd name="T76" fmla="*/ 1117 w 2127"/>
                <a:gd name="T77" fmla="*/ 77 h 308"/>
                <a:gd name="T78" fmla="*/ 1144 w 2127"/>
                <a:gd name="T79" fmla="*/ 50 h 308"/>
                <a:gd name="T80" fmla="*/ 1078 w 2127"/>
                <a:gd name="T81" fmla="*/ 305 h 308"/>
                <a:gd name="T82" fmla="*/ 985 w 2127"/>
                <a:gd name="T83" fmla="*/ 0 h 308"/>
                <a:gd name="T84" fmla="*/ 894 w 2127"/>
                <a:gd name="T85" fmla="*/ 35 h 308"/>
                <a:gd name="T86" fmla="*/ 905 w 2127"/>
                <a:gd name="T87" fmla="*/ 305 h 308"/>
                <a:gd name="T88" fmla="*/ 866 w 2127"/>
                <a:gd name="T89" fmla="*/ 86 h 308"/>
                <a:gd name="T90" fmla="*/ 603 w 2127"/>
                <a:gd name="T91" fmla="*/ 49 h 308"/>
                <a:gd name="T92" fmla="*/ 603 w 2127"/>
                <a:gd name="T93" fmla="*/ 86 h 308"/>
                <a:gd name="T94" fmla="*/ 441 w 2127"/>
                <a:gd name="T95" fmla="*/ 257 h 308"/>
                <a:gd name="T96" fmla="*/ 441 w 2127"/>
                <a:gd name="T97" fmla="*/ 257 h 308"/>
                <a:gd name="T98" fmla="*/ 249 w 2127"/>
                <a:gd name="T99" fmla="*/ 35 h 308"/>
                <a:gd name="T100" fmla="*/ 182 w 2127"/>
                <a:gd name="T101" fmla="*/ 223 h 308"/>
                <a:gd name="T102" fmla="*/ 234 w 2127"/>
                <a:gd name="T103" fmla="*/ 305 h 308"/>
                <a:gd name="T104" fmla="*/ 274 w 2127"/>
                <a:gd name="T105" fmla="*/ 305 h 308"/>
                <a:gd name="T106" fmla="*/ 74 w 2127"/>
                <a:gd name="T107" fmla="*/ 166 h 308"/>
                <a:gd name="T108" fmla="*/ 77 w 2127"/>
                <a:gd name="T109" fmla="*/ 97 h 308"/>
                <a:gd name="T110" fmla="*/ 63 w 2127"/>
                <a:gd name="T111" fmla="*/ 86 h 308"/>
                <a:gd name="T112" fmla="*/ 116 w 2127"/>
                <a:gd name="T113" fmla="*/ 166 h 308"/>
                <a:gd name="T114" fmla="*/ 95 w 2127"/>
                <a:gd name="T115" fmla="*/ 199 h 308"/>
                <a:gd name="T116" fmla="*/ 40 w 2127"/>
                <a:gd name="T117" fmla="*/ 208 h 308"/>
                <a:gd name="T118" fmla="*/ 79 w 2127"/>
                <a:gd name="T119" fmla="*/ 51 h 308"/>
                <a:gd name="T120" fmla="*/ 108 w 2127"/>
                <a:gd name="T121" fmla="*/ 69 h 308"/>
                <a:gd name="T122" fmla="*/ 118 w 2127"/>
                <a:gd name="T12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7" h="308">
                  <a:moveTo>
                    <a:pt x="2035" y="223"/>
                  </a:moveTo>
                  <a:lnTo>
                    <a:pt x="2074" y="223"/>
                  </a:lnTo>
                  <a:lnTo>
                    <a:pt x="2054" y="94"/>
                  </a:lnTo>
                  <a:lnTo>
                    <a:pt x="2035" y="223"/>
                  </a:lnTo>
                  <a:close/>
                  <a:moveTo>
                    <a:pt x="2127" y="305"/>
                  </a:moveTo>
                  <a:lnTo>
                    <a:pt x="2085" y="305"/>
                  </a:lnTo>
                  <a:lnTo>
                    <a:pt x="2079" y="258"/>
                  </a:lnTo>
                  <a:lnTo>
                    <a:pt x="2029" y="258"/>
                  </a:lnTo>
                  <a:lnTo>
                    <a:pt x="2023" y="305"/>
                  </a:lnTo>
                  <a:lnTo>
                    <a:pt x="1986" y="305"/>
                  </a:lnTo>
                  <a:lnTo>
                    <a:pt x="2026" y="49"/>
                  </a:lnTo>
                  <a:lnTo>
                    <a:pt x="2085" y="49"/>
                  </a:lnTo>
                  <a:lnTo>
                    <a:pt x="2127" y="305"/>
                  </a:lnTo>
                  <a:close/>
                  <a:moveTo>
                    <a:pt x="1880" y="86"/>
                  </a:moveTo>
                  <a:lnTo>
                    <a:pt x="1880" y="164"/>
                  </a:lnTo>
                  <a:lnTo>
                    <a:pt x="1896" y="164"/>
                  </a:lnTo>
                  <a:lnTo>
                    <a:pt x="1901" y="163"/>
                  </a:lnTo>
                  <a:lnTo>
                    <a:pt x="1907" y="163"/>
                  </a:lnTo>
                  <a:lnTo>
                    <a:pt x="1910" y="161"/>
                  </a:lnTo>
                  <a:lnTo>
                    <a:pt x="1914" y="158"/>
                  </a:lnTo>
                  <a:lnTo>
                    <a:pt x="1916" y="154"/>
                  </a:lnTo>
                  <a:lnTo>
                    <a:pt x="1918" y="149"/>
                  </a:lnTo>
                  <a:lnTo>
                    <a:pt x="1919" y="144"/>
                  </a:lnTo>
                  <a:lnTo>
                    <a:pt x="1920" y="136"/>
                  </a:lnTo>
                  <a:lnTo>
                    <a:pt x="1920" y="111"/>
                  </a:lnTo>
                  <a:lnTo>
                    <a:pt x="1920" y="105"/>
                  </a:lnTo>
                  <a:lnTo>
                    <a:pt x="1919" y="99"/>
                  </a:lnTo>
                  <a:lnTo>
                    <a:pt x="1918" y="97"/>
                  </a:lnTo>
                  <a:lnTo>
                    <a:pt x="1917" y="95"/>
                  </a:lnTo>
                  <a:lnTo>
                    <a:pt x="1915" y="91"/>
                  </a:lnTo>
                  <a:lnTo>
                    <a:pt x="1913" y="89"/>
                  </a:lnTo>
                  <a:lnTo>
                    <a:pt x="1909" y="87"/>
                  </a:lnTo>
                  <a:lnTo>
                    <a:pt x="1905" y="86"/>
                  </a:lnTo>
                  <a:lnTo>
                    <a:pt x="1899" y="86"/>
                  </a:lnTo>
                  <a:lnTo>
                    <a:pt x="1880" y="86"/>
                  </a:lnTo>
                  <a:close/>
                  <a:moveTo>
                    <a:pt x="1925" y="305"/>
                  </a:moveTo>
                  <a:lnTo>
                    <a:pt x="1923" y="299"/>
                  </a:lnTo>
                  <a:lnTo>
                    <a:pt x="1922" y="294"/>
                  </a:lnTo>
                  <a:lnTo>
                    <a:pt x="1920" y="286"/>
                  </a:lnTo>
                  <a:lnTo>
                    <a:pt x="1920" y="273"/>
                  </a:lnTo>
                  <a:lnTo>
                    <a:pt x="1920" y="233"/>
                  </a:lnTo>
                  <a:lnTo>
                    <a:pt x="1920" y="224"/>
                  </a:lnTo>
                  <a:lnTo>
                    <a:pt x="1919" y="218"/>
                  </a:lnTo>
                  <a:lnTo>
                    <a:pt x="1917" y="212"/>
                  </a:lnTo>
                  <a:lnTo>
                    <a:pt x="1914" y="207"/>
                  </a:lnTo>
                  <a:lnTo>
                    <a:pt x="1911" y="204"/>
                  </a:lnTo>
                  <a:lnTo>
                    <a:pt x="1909" y="203"/>
                  </a:lnTo>
                  <a:lnTo>
                    <a:pt x="1906" y="202"/>
                  </a:lnTo>
                  <a:lnTo>
                    <a:pt x="1900" y="201"/>
                  </a:lnTo>
                  <a:lnTo>
                    <a:pt x="1894" y="200"/>
                  </a:lnTo>
                  <a:lnTo>
                    <a:pt x="1880" y="200"/>
                  </a:lnTo>
                  <a:lnTo>
                    <a:pt x="1880" y="305"/>
                  </a:lnTo>
                  <a:lnTo>
                    <a:pt x="1840" y="305"/>
                  </a:lnTo>
                  <a:lnTo>
                    <a:pt x="1840" y="49"/>
                  </a:lnTo>
                  <a:lnTo>
                    <a:pt x="1901" y="49"/>
                  </a:lnTo>
                  <a:lnTo>
                    <a:pt x="1909" y="49"/>
                  </a:lnTo>
                  <a:lnTo>
                    <a:pt x="1915" y="50"/>
                  </a:lnTo>
                  <a:lnTo>
                    <a:pt x="1922" y="51"/>
                  </a:lnTo>
                  <a:lnTo>
                    <a:pt x="1928" y="52"/>
                  </a:lnTo>
                  <a:lnTo>
                    <a:pt x="1933" y="54"/>
                  </a:lnTo>
                  <a:lnTo>
                    <a:pt x="1938" y="57"/>
                  </a:lnTo>
                  <a:lnTo>
                    <a:pt x="1943" y="60"/>
                  </a:lnTo>
                  <a:lnTo>
                    <a:pt x="1946" y="63"/>
                  </a:lnTo>
                  <a:lnTo>
                    <a:pt x="1950" y="67"/>
                  </a:lnTo>
                  <a:lnTo>
                    <a:pt x="1952" y="72"/>
                  </a:lnTo>
                  <a:lnTo>
                    <a:pt x="1955" y="76"/>
                  </a:lnTo>
                  <a:lnTo>
                    <a:pt x="1957" y="81"/>
                  </a:lnTo>
                  <a:lnTo>
                    <a:pt x="1959" y="88"/>
                  </a:lnTo>
                  <a:lnTo>
                    <a:pt x="1960" y="93"/>
                  </a:lnTo>
                  <a:lnTo>
                    <a:pt x="1961" y="100"/>
                  </a:lnTo>
                  <a:lnTo>
                    <a:pt x="1961" y="108"/>
                  </a:lnTo>
                  <a:lnTo>
                    <a:pt x="1961" y="128"/>
                  </a:lnTo>
                  <a:lnTo>
                    <a:pt x="1960" y="137"/>
                  </a:lnTo>
                  <a:lnTo>
                    <a:pt x="1959" y="146"/>
                  </a:lnTo>
                  <a:lnTo>
                    <a:pt x="1956" y="153"/>
                  </a:lnTo>
                  <a:lnTo>
                    <a:pt x="1954" y="160"/>
                  </a:lnTo>
                  <a:lnTo>
                    <a:pt x="1950" y="166"/>
                  </a:lnTo>
                  <a:lnTo>
                    <a:pt x="1946" y="171"/>
                  </a:lnTo>
                  <a:lnTo>
                    <a:pt x="1941" y="176"/>
                  </a:lnTo>
                  <a:lnTo>
                    <a:pt x="1934" y="180"/>
                  </a:lnTo>
                  <a:lnTo>
                    <a:pt x="1941" y="183"/>
                  </a:lnTo>
                  <a:lnTo>
                    <a:pt x="1944" y="185"/>
                  </a:lnTo>
                  <a:lnTo>
                    <a:pt x="1947" y="187"/>
                  </a:lnTo>
                  <a:lnTo>
                    <a:pt x="1949" y="190"/>
                  </a:lnTo>
                  <a:lnTo>
                    <a:pt x="1951" y="194"/>
                  </a:lnTo>
                  <a:lnTo>
                    <a:pt x="1955" y="200"/>
                  </a:lnTo>
                  <a:lnTo>
                    <a:pt x="1957" y="207"/>
                  </a:lnTo>
                  <a:lnTo>
                    <a:pt x="1960" y="216"/>
                  </a:lnTo>
                  <a:lnTo>
                    <a:pt x="1961" y="224"/>
                  </a:lnTo>
                  <a:lnTo>
                    <a:pt x="1961" y="234"/>
                  </a:lnTo>
                  <a:lnTo>
                    <a:pt x="1961" y="273"/>
                  </a:lnTo>
                  <a:lnTo>
                    <a:pt x="1961" y="282"/>
                  </a:lnTo>
                  <a:lnTo>
                    <a:pt x="1962" y="290"/>
                  </a:lnTo>
                  <a:lnTo>
                    <a:pt x="1963" y="297"/>
                  </a:lnTo>
                  <a:lnTo>
                    <a:pt x="1965" y="305"/>
                  </a:lnTo>
                  <a:lnTo>
                    <a:pt x="1925" y="305"/>
                  </a:lnTo>
                  <a:close/>
                  <a:moveTo>
                    <a:pt x="1721" y="223"/>
                  </a:moveTo>
                  <a:lnTo>
                    <a:pt x="1760" y="223"/>
                  </a:lnTo>
                  <a:lnTo>
                    <a:pt x="1740" y="94"/>
                  </a:lnTo>
                  <a:lnTo>
                    <a:pt x="1721" y="223"/>
                  </a:lnTo>
                  <a:close/>
                  <a:moveTo>
                    <a:pt x="1813" y="305"/>
                  </a:moveTo>
                  <a:lnTo>
                    <a:pt x="1772" y="305"/>
                  </a:lnTo>
                  <a:lnTo>
                    <a:pt x="1765" y="258"/>
                  </a:lnTo>
                  <a:lnTo>
                    <a:pt x="1715" y="258"/>
                  </a:lnTo>
                  <a:lnTo>
                    <a:pt x="1709" y="305"/>
                  </a:lnTo>
                  <a:lnTo>
                    <a:pt x="1672" y="305"/>
                  </a:lnTo>
                  <a:lnTo>
                    <a:pt x="1713" y="49"/>
                  </a:lnTo>
                  <a:lnTo>
                    <a:pt x="1771" y="49"/>
                  </a:lnTo>
                  <a:lnTo>
                    <a:pt x="1813" y="305"/>
                  </a:lnTo>
                  <a:close/>
                  <a:moveTo>
                    <a:pt x="1596" y="257"/>
                  </a:moveTo>
                  <a:lnTo>
                    <a:pt x="1626" y="49"/>
                  </a:lnTo>
                  <a:lnTo>
                    <a:pt x="1663" y="49"/>
                  </a:lnTo>
                  <a:lnTo>
                    <a:pt x="1624" y="305"/>
                  </a:lnTo>
                  <a:lnTo>
                    <a:pt x="1564" y="305"/>
                  </a:lnTo>
                  <a:lnTo>
                    <a:pt x="1525" y="49"/>
                  </a:lnTo>
                  <a:lnTo>
                    <a:pt x="1565" y="49"/>
                  </a:lnTo>
                  <a:lnTo>
                    <a:pt x="1596" y="257"/>
                  </a:lnTo>
                  <a:close/>
                  <a:moveTo>
                    <a:pt x="1426" y="223"/>
                  </a:moveTo>
                  <a:lnTo>
                    <a:pt x="1464" y="223"/>
                  </a:lnTo>
                  <a:lnTo>
                    <a:pt x="1445" y="94"/>
                  </a:lnTo>
                  <a:lnTo>
                    <a:pt x="1426" y="223"/>
                  </a:lnTo>
                  <a:close/>
                  <a:moveTo>
                    <a:pt x="1516" y="305"/>
                  </a:moveTo>
                  <a:lnTo>
                    <a:pt x="1476" y="305"/>
                  </a:lnTo>
                  <a:lnTo>
                    <a:pt x="1469" y="258"/>
                  </a:lnTo>
                  <a:lnTo>
                    <a:pt x="1420" y="258"/>
                  </a:lnTo>
                  <a:lnTo>
                    <a:pt x="1413" y="305"/>
                  </a:lnTo>
                  <a:lnTo>
                    <a:pt x="1376" y="305"/>
                  </a:lnTo>
                  <a:lnTo>
                    <a:pt x="1417" y="49"/>
                  </a:lnTo>
                  <a:lnTo>
                    <a:pt x="1476" y="49"/>
                  </a:lnTo>
                  <a:lnTo>
                    <a:pt x="1516" y="305"/>
                  </a:lnTo>
                  <a:close/>
                  <a:moveTo>
                    <a:pt x="1250" y="49"/>
                  </a:moveTo>
                  <a:lnTo>
                    <a:pt x="1374" y="49"/>
                  </a:lnTo>
                  <a:lnTo>
                    <a:pt x="1374" y="86"/>
                  </a:lnTo>
                  <a:lnTo>
                    <a:pt x="1332" y="86"/>
                  </a:lnTo>
                  <a:lnTo>
                    <a:pt x="1332" y="305"/>
                  </a:lnTo>
                  <a:lnTo>
                    <a:pt x="1292" y="305"/>
                  </a:lnTo>
                  <a:lnTo>
                    <a:pt x="1292" y="86"/>
                  </a:lnTo>
                  <a:lnTo>
                    <a:pt x="1250" y="86"/>
                  </a:lnTo>
                  <a:lnTo>
                    <a:pt x="1250" y="49"/>
                  </a:lnTo>
                  <a:close/>
                  <a:moveTo>
                    <a:pt x="1170" y="45"/>
                  </a:moveTo>
                  <a:lnTo>
                    <a:pt x="1177" y="45"/>
                  </a:lnTo>
                  <a:lnTo>
                    <a:pt x="1183" y="47"/>
                  </a:lnTo>
                  <a:lnTo>
                    <a:pt x="1190" y="48"/>
                  </a:lnTo>
                  <a:lnTo>
                    <a:pt x="1195" y="50"/>
                  </a:lnTo>
                  <a:lnTo>
                    <a:pt x="1201" y="53"/>
                  </a:lnTo>
                  <a:lnTo>
                    <a:pt x="1206" y="55"/>
                  </a:lnTo>
                  <a:lnTo>
                    <a:pt x="1210" y="58"/>
                  </a:lnTo>
                  <a:lnTo>
                    <a:pt x="1214" y="62"/>
                  </a:lnTo>
                  <a:lnTo>
                    <a:pt x="1217" y="67"/>
                  </a:lnTo>
                  <a:lnTo>
                    <a:pt x="1220" y="72"/>
                  </a:lnTo>
                  <a:lnTo>
                    <a:pt x="1224" y="77"/>
                  </a:lnTo>
                  <a:lnTo>
                    <a:pt x="1226" y="82"/>
                  </a:lnTo>
                  <a:lnTo>
                    <a:pt x="1227" y="89"/>
                  </a:lnTo>
                  <a:lnTo>
                    <a:pt x="1228" y="95"/>
                  </a:lnTo>
                  <a:lnTo>
                    <a:pt x="1229" y="103"/>
                  </a:lnTo>
                  <a:lnTo>
                    <a:pt x="1229" y="110"/>
                  </a:lnTo>
                  <a:lnTo>
                    <a:pt x="1229" y="118"/>
                  </a:lnTo>
                  <a:lnTo>
                    <a:pt x="1191" y="118"/>
                  </a:lnTo>
                  <a:lnTo>
                    <a:pt x="1191" y="108"/>
                  </a:lnTo>
                  <a:lnTo>
                    <a:pt x="1191" y="102"/>
                  </a:lnTo>
                  <a:lnTo>
                    <a:pt x="1190" y="96"/>
                  </a:lnTo>
                  <a:lnTo>
                    <a:pt x="1188" y="91"/>
                  </a:lnTo>
                  <a:lnTo>
                    <a:pt x="1187" y="90"/>
                  </a:lnTo>
                  <a:lnTo>
                    <a:pt x="1185" y="88"/>
                  </a:lnTo>
                  <a:lnTo>
                    <a:pt x="1183" y="86"/>
                  </a:lnTo>
                  <a:lnTo>
                    <a:pt x="1179" y="84"/>
                  </a:lnTo>
                  <a:lnTo>
                    <a:pt x="1175" y="82"/>
                  </a:lnTo>
                  <a:lnTo>
                    <a:pt x="1171" y="82"/>
                  </a:lnTo>
                  <a:lnTo>
                    <a:pt x="1166" y="82"/>
                  </a:lnTo>
                  <a:lnTo>
                    <a:pt x="1162" y="84"/>
                  </a:lnTo>
                  <a:lnTo>
                    <a:pt x="1159" y="86"/>
                  </a:lnTo>
                  <a:lnTo>
                    <a:pt x="1156" y="88"/>
                  </a:lnTo>
                  <a:lnTo>
                    <a:pt x="1154" y="91"/>
                  </a:lnTo>
                  <a:lnTo>
                    <a:pt x="1153" y="93"/>
                  </a:lnTo>
                  <a:lnTo>
                    <a:pt x="1152" y="96"/>
                  </a:lnTo>
                  <a:lnTo>
                    <a:pt x="1152" y="102"/>
                  </a:lnTo>
                  <a:lnTo>
                    <a:pt x="1151" y="108"/>
                  </a:lnTo>
                  <a:lnTo>
                    <a:pt x="1152" y="116"/>
                  </a:lnTo>
                  <a:lnTo>
                    <a:pt x="1153" y="122"/>
                  </a:lnTo>
                  <a:lnTo>
                    <a:pt x="1154" y="126"/>
                  </a:lnTo>
                  <a:lnTo>
                    <a:pt x="1158" y="133"/>
                  </a:lnTo>
                  <a:lnTo>
                    <a:pt x="1163" y="141"/>
                  </a:lnTo>
                  <a:lnTo>
                    <a:pt x="1169" y="147"/>
                  </a:lnTo>
                  <a:lnTo>
                    <a:pt x="1176" y="154"/>
                  </a:lnTo>
                  <a:lnTo>
                    <a:pt x="1190" y="167"/>
                  </a:lnTo>
                  <a:lnTo>
                    <a:pt x="1197" y="174"/>
                  </a:lnTo>
                  <a:lnTo>
                    <a:pt x="1205" y="182"/>
                  </a:lnTo>
                  <a:lnTo>
                    <a:pt x="1211" y="189"/>
                  </a:lnTo>
                  <a:lnTo>
                    <a:pt x="1214" y="194"/>
                  </a:lnTo>
                  <a:lnTo>
                    <a:pt x="1217" y="199"/>
                  </a:lnTo>
                  <a:lnTo>
                    <a:pt x="1222" y="208"/>
                  </a:lnTo>
                  <a:lnTo>
                    <a:pt x="1225" y="213"/>
                  </a:lnTo>
                  <a:lnTo>
                    <a:pt x="1226" y="218"/>
                  </a:lnTo>
                  <a:lnTo>
                    <a:pt x="1228" y="224"/>
                  </a:lnTo>
                  <a:lnTo>
                    <a:pt x="1229" y="229"/>
                  </a:lnTo>
                  <a:lnTo>
                    <a:pt x="1229" y="236"/>
                  </a:lnTo>
                  <a:lnTo>
                    <a:pt x="1229" y="243"/>
                  </a:lnTo>
                  <a:lnTo>
                    <a:pt x="1229" y="251"/>
                  </a:lnTo>
                  <a:lnTo>
                    <a:pt x="1229" y="257"/>
                  </a:lnTo>
                  <a:lnTo>
                    <a:pt x="1227" y="264"/>
                  </a:lnTo>
                  <a:lnTo>
                    <a:pt x="1226" y="271"/>
                  </a:lnTo>
                  <a:lnTo>
                    <a:pt x="1224" y="276"/>
                  </a:lnTo>
                  <a:lnTo>
                    <a:pt x="1220" y="281"/>
                  </a:lnTo>
                  <a:lnTo>
                    <a:pt x="1217" y="287"/>
                  </a:lnTo>
                  <a:lnTo>
                    <a:pt x="1214" y="291"/>
                  </a:lnTo>
                  <a:lnTo>
                    <a:pt x="1210" y="294"/>
                  </a:lnTo>
                  <a:lnTo>
                    <a:pt x="1206" y="298"/>
                  </a:lnTo>
                  <a:lnTo>
                    <a:pt x="1200" y="300"/>
                  </a:lnTo>
                  <a:lnTo>
                    <a:pt x="1195" y="302"/>
                  </a:lnTo>
                  <a:lnTo>
                    <a:pt x="1190" y="305"/>
                  </a:lnTo>
                  <a:lnTo>
                    <a:pt x="1183" y="307"/>
                  </a:lnTo>
                  <a:lnTo>
                    <a:pt x="1177" y="307"/>
                  </a:lnTo>
                  <a:lnTo>
                    <a:pt x="1170" y="308"/>
                  </a:lnTo>
                  <a:lnTo>
                    <a:pt x="1162" y="307"/>
                  </a:lnTo>
                  <a:lnTo>
                    <a:pt x="1156" y="307"/>
                  </a:lnTo>
                  <a:lnTo>
                    <a:pt x="1150" y="305"/>
                  </a:lnTo>
                  <a:lnTo>
                    <a:pt x="1143" y="302"/>
                  </a:lnTo>
                  <a:lnTo>
                    <a:pt x="1138" y="300"/>
                  </a:lnTo>
                  <a:lnTo>
                    <a:pt x="1133" y="298"/>
                  </a:lnTo>
                  <a:lnTo>
                    <a:pt x="1128" y="294"/>
                  </a:lnTo>
                  <a:lnTo>
                    <a:pt x="1124" y="291"/>
                  </a:lnTo>
                  <a:lnTo>
                    <a:pt x="1121" y="287"/>
                  </a:lnTo>
                  <a:lnTo>
                    <a:pt x="1118" y="281"/>
                  </a:lnTo>
                  <a:lnTo>
                    <a:pt x="1116" y="276"/>
                  </a:lnTo>
                  <a:lnTo>
                    <a:pt x="1114" y="271"/>
                  </a:lnTo>
                  <a:lnTo>
                    <a:pt x="1111" y="264"/>
                  </a:lnTo>
                  <a:lnTo>
                    <a:pt x="1110" y="257"/>
                  </a:lnTo>
                  <a:lnTo>
                    <a:pt x="1109" y="251"/>
                  </a:lnTo>
                  <a:lnTo>
                    <a:pt x="1109" y="243"/>
                  </a:lnTo>
                  <a:lnTo>
                    <a:pt x="1109" y="227"/>
                  </a:lnTo>
                  <a:lnTo>
                    <a:pt x="1147" y="227"/>
                  </a:lnTo>
                  <a:lnTo>
                    <a:pt x="1147" y="245"/>
                  </a:lnTo>
                  <a:lnTo>
                    <a:pt x="1147" y="252"/>
                  </a:lnTo>
                  <a:lnTo>
                    <a:pt x="1148" y="257"/>
                  </a:lnTo>
                  <a:lnTo>
                    <a:pt x="1151" y="261"/>
                  </a:lnTo>
                  <a:lnTo>
                    <a:pt x="1153" y="264"/>
                  </a:lnTo>
                  <a:lnTo>
                    <a:pt x="1156" y="268"/>
                  </a:lnTo>
                  <a:lnTo>
                    <a:pt x="1160" y="269"/>
                  </a:lnTo>
                  <a:lnTo>
                    <a:pt x="1163" y="270"/>
                  </a:lnTo>
                  <a:lnTo>
                    <a:pt x="1169" y="271"/>
                  </a:lnTo>
                  <a:lnTo>
                    <a:pt x="1173" y="270"/>
                  </a:lnTo>
                  <a:lnTo>
                    <a:pt x="1177" y="269"/>
                  </a:lnTo>
                  <a:lnTo>
                    <a:pt x="1180" y="268"/>
                  </a:lnTo>
                  <a:lnTo>
                    <a:pt x="1183" y="264"/>
                  </a:lnTo>
                  <a:lnTo>
                    <a:pt x="1185" y="261"/>
                  </a:lnTo>
                  <a:lnTo>
                    <a:pt x="1188" y="257"/>
                  </a:lnTo>
                  <a:lnTo>
                    <a:pt x="1189" y="252"/>
                  </a:lnTo>
                  <a:lnTo>
                    <a:pt x="1189" y="245"/>
                  </a:lnTo>
                  <a:lnTo>
                    <a:pt x="1189" y="236"/>
                  </a:lnTo>
                  <a:lnTo>
                    <a:pt x="1188" y="232"/>
                  </a:lnTo>
                  <a:lnTo>
                    <a:pt x="1185" y="227"/>
                  </a:lnTo>
                  <a:lnTo>
                    <a:pt x="1182" y="220"/>
                  </a:lnTo>
                  <a:lnTo>
                    <a:pt x="1177" y="213"/>
                  </a:lnTo>
                  <a:lnTo>
                    <a:pt x="1171" y="205"/>
                  </a:lnTo>
                  <a:lnTo>
                    <a:pt x="1164" y="199"/>
                  </a:lnTo>
                  <a:lnTo>
                    <a:pt x="1150" y="185"/>
                  </a:lnTo>
                  <a:lnTo>
                    <a:pt x="1142" y="179"/>
                  </a:lnTo>
                  <a:lnTo>
                    <a:pt x="1136" y="171"/>
                  </a:lnTo>
                  <a:lnTo>
                    <a:pt x="1128" y="163"/>
                  </a:lnTo>
                  <a:lnTo>
                    <a:pt x="1126" y="159"/>
                  </a:lnTo>
                  <a:lnTo>
                    <a:pt x="1123" y="154"/>
                  </a:lnTo>
                  <a:lnTo>
                    <a:pt x="1118" y="145"/>
                  </a:lnTo>
                  <a:lnTo>
                    <a:pt x="1116" y="140"/>
                  </a:lnTo>
                  <a:lnTo>
                    <a:pt x="1114" y="134"/>
                  </a:lnTo>
                  <a:lnTo>
                    <a:pt x="1113" y="129"/>
                  </a:lnTo>
                  <a:lnTo>
                    <a:pt x="1111" y="123"/>
                  </a:lnTo>
                  <a:lnTo>
                    <a:pt x="1110" y="116"/>
                  </a:lnTo>
                  <a:lnTo>
                    <a:pt x="1110" y="110"/>
                  </a:lnTo>
                  <a:lnTo>
                    <a:pt x="1110" y="103"/>
                  </a:lnTo>
                  <a:lnTo>
                    <a:pt x="1111" y="95"/>
                  </a:lnTo>
                  <a:lnTo>
                    <a:pt x="1113" y="89"/>
                  </a:lnTo>
                  <a:lnTo>
                    <a:pt x="1115" y="82"/>
                  </a:lnTo>
                  <a:lnTo>
                    <a:pt x="1117" y="77"/>
                  </a:lnTo>
                  <a:lnTo>
                    <a:pt x="1119" y="72"/>
                  </a:lnTo>
                  <a:lnTo>
                    <a:pt x="1122" y="67"/>
                  </a:lnTo>
                  <a:lnTo>
                    <a:pt x="1125" y="62"/>
                  </a:lnTo>
                  <a:lnTo>
                    <a:pt x="1129" y="58"/>
                  </a:lnTo>
                  <a:lnTo>
                    <a:pt x="1134" y="55"/>
                  </a:lnTo>
                  <a:lnTo>
                    <a:pt x="1139" y="53"/>
                  </a:lnTo>
                  <a:lnTo>
                    <a:pt x="1144" y="50"/>
                  </a:lnTo>
                  <a:lnTo>
                    <a:pt x="1150" y="48"/>
                  </a:lnTo>
                  <a:lnTo>
                    <a:pt x="1156" y="47"/>
                  </a:lnTo>
                  <a:lnTo>
                    <a:pt x="1162" y="45"/>
                  </a:lnTo>
                  <a:lnTo>
                    <a:pt x="1170" y="45"/>
                  </a:lnTo>
                  <a:close/>
                  <a:moveTo>
                    <a:pt x="1037" y="49"/>
                  </a:moveTo>
                  <a:lnTo>
                    <a:pt x="1078" y="49"/>
                  </a:lnTo>
                  <a:lnTo>
                    <a:pt x="1078" y="305"/>
                  </a:lnTo>
                  <a:lnTo>
                    <a:pt x="1037" y="305"/>
                  </a:lnTo>
                  <a:lnTo>
                    <a:pt x="1037" y="49"/>
                  </a:lnTo>
                  <a:close/>
                  <a:moveTo>
                    <a:pt x="985" y="0"/>
                  </a:moveTo>
                  <a:lnTo>
                    <a:pt x="985" y="35"/>
                  </a:lnTo>
                  <a:lnTo>
                    <a:pt x="949" y="35"/>
                  </a:lnTo>
                  <a:lnTo>
                    <a:pt x="949" y="0"/>
                  </a:lnTo>
                  <a:lnTo>
                    <a:pt x="985" y="0"/>
                  </a:lnTo>
                  <a:close/>
                  <a:moveTo>
                    <a:pt x="918" y="223"/>
                  </a:moveTo>
                  <a:lnTo>
                    <a:pt x="956" y="223"/>
                  </a:lnTo>
                  <a:lnTo>
                    <a:pt x="937" y="94"/>
                  </a:lnTo>
                  <a:lnTo>
                    <a:pt x="918" y="223"/>
                  </a:lnTo>
                  <a:close/>
                  <a:moveTo>
                    <a:pt x="929" y="0"/>
                  </a:moveTo>
                  <a:lnTo>
                    <a:pt x="929" y="35"/>
                  </a:lnTo>
                  <a:lnTo>
                    <a:pt x="894" y="35"/>
                  </a:lnTo>
                  <a:lnTo>
                    <a:pt x="894" y="0"/>
                  </a:lnTo>
                  <a:lnTo>
                    <a:pt x="929" y="0"/>
                  </a:lnTo>
                  <a:close/>
                  <a:moveTo>
                    <a:pt x="1009" y="305"/>
                  </a:moveTo>
                  <a:lnTo>
                    <a:pt x="969" y="305"/>
                  </a:lnTo>
                  <a:lnTo>
                    <a:pt x="962" y="258"/>
                  </a:lnTo>
                  <a:lnTo>
                    <a:pt x="913" y="258"/>
                  </a:lnTo>
                  <a:lnTo>
                    <a:pt x="905" y="305"/>
                  </a:lnTo>
                  <a:lnTo>
                    <a:pt x="868" y="305"/>
                  </a:lnTo>
                  <a:lnTo>
                    <a:pt x="909" y="49"/>
                  </a:lnTo>
                  <a:lnTo>
                    <a:pt x="969" y="49"/>
                  </a:lnTo>
                  <a:lnTo>
                    <a:pt x="1009" y="305"/>
                  </a:lnTo>
                  <a:close/>
                  <a:moveTo>
                    <a:pt x="742" y="49"/>
                  </a:moveTo>
                  <a:lnTo>
                    <a:pt x="866" y="49"/>
                  </a:lnTo>
                  <a:lnTo>
                    <a:pt x="866" y="86"/>
                  </a:lnTo>
                  <a:lnTo>
                    <a:pt x="825" y="86"/>
                  </a:lnTo>
                  <a:lnTo>
                    <a:pt x="825" y="305"/>
                  </a:lnTo>
                  <a:lnTo>
                    <a:pt x="785" y="305"/>
                  </a:lnTo>
                  <a:lnTo>
                    <a:pt x="785" y="86"/>
                  </a:lnTo>
                  <a:lnTo>
                    <a:pt x="742" y="86"/>
                  </a:lnTo>
                  <a:lnTo>
                    <a:pt x="742" y="49"/>
                  </a:lnTo>
                  <a:close/>
                  <a:moveTo>
                    <a:pt x="603" y="49"/>
                  </a:moveTo>
                  <a:lnTo>
                    <a:pt x="728" y="49"/>
                  </a:lnTo>
                  <a:lnTo>
                    <a:pt x="728" y="86"/>
                  </a:lnTo>
                  <a:lnTo>
                    <a:pt x="685" y="86"/>
                  </a:lnTo>
                  <a:lnTo>
                    <a:pt x="685" y="305"/>
                  </a:lnTo>
                  <a:lnTo>
                    <a:pt x="645" y="305"/>
                  </a:lnTo>
                  <a:lnTo>
                    <a:pt x="645" y="86"/>
                  </a:lnTo>
                  <a:lnTo>
                    <a:pt x="603" y="86"/>
                  </a:lnTo>
                  <a:lnTo>
                    <a:pt x="603" y="49"/>
                  </a:lnTo>
                  <a:close/>
                  <a:moveTo>
                    <a:pt x="536" y="49"/>
                  </a:moveTo>
                  <a:lnTo>
                    <a:pt x="576" y="49"/>
                  </a:lnTo>
                  <a:lnTo>
                    <a:pt x="576" y="305"/>
                  </a:lnTo>
                  <a:lnTo>
                    <a:pt x="536" y="305"/>
                  </a:lnTo>
                  <a:lnTo>
                    <a:pt x="536" y="49"/>
                  </a:lnTo>
                  <a:close/>
                  <a:moveTo>
                    <a:pt x="441" y="257"/>
                  </a:moveTo>
                  <a:lnTo>
                    <a:pt x="472" y="49"/>
                  </a:lnTo>
                  <a:lnTo>
                    <a:pt x="509" y="49"/>
                  </a:lnTo>
                  <a:lnTo>
                    <a:pt x="468" y="305"/>
                  </a:lnTo>
                  <a:lnTo>
                    <a:pt x="409" y="305"/>
                  </a:lnTo>
                  <a:lnTo>
                    <a:pt x="370" y="49"/>
                  </a:lnTo>
                  <a:lnTo>
                    <a:pt x="410" y="49"/>
                  </a:lnTo>
                  <a:lnTo>
                    <a:pt x="441" y="257"/>
                  </a:lnTo>
                  <a:close/>
                  <a:moveTo>
                    <a:pt x="301" y="49"/>
                  </a:moveTo>
                  <a:lnTo>
                    <a:pt x="342" y="49"/>
                  </a:lnTo>
                  <a:lnTo>
                    <a:pt x="342" y="305"/>
                  </a:lnTo>
                  <a:lnTo>
                    <a:pt x="301" y="305"/>
                  </a:lnTo>
                  <a:lnTo>
                    <a:pt x="301" y="49"/>
                  </a:lnTo>
                  <a:close/>
                  <a:moveTo>
                    <a:pt x="249" y="0"/>
                  </a:moveTo>
                  <a:lnTo>
                    <a:pt x="249" y="35"/>
                  </a:lnTo>
                  <a:lnTo>
                    <a:pt x="214" y="35"/>
                  </a:lnTo>
                  <a:lnTo>
                    <a:pt x="214" y="0"/>
                  </a:lnTo>
                  <a:lnTo>
                    <a:pt x="249" y="0"/>
                  </a:lnTo>
                  <a:close/>
                  <a:moveTo>
                    <a:pt x="182" y="223"/>
                  </a:moveTo>
                  <a:lnTo>
                    <a:pt x="221" y="223"/>
                  </a:lnTo>
                  <a:lnTo>
                    <a:pt x="202" y="94"/>
                  </a:lnTo>
                  <a:lnTo>
                    <a:pt x="182" y="223"/>
                  </a:lnTo>
                  <a:close/>
                  <a:moveTo>
                    <a:pt x="194" y="0"/>
                  </a:moveTo>
                  <a:lnTo>
                    <a:pt x="194" y="35"/>
                  </a:lnTo>
                  <a:lnTo>
                    <a:pt x="158" y="35"/>
                  </a:lnTo>
                  <a:lnTo>
                    <a:pt x="158" y="0"/>
                  </a:lnTo>
                  <a:lnTo>
                    <a:pt x="194" y="0"/>
                  </a:lnTo>
                  <a:close/>
                  <a:moveTo>
                    <a:pt x="274" y="305"/>
                  </a:moveTo>
                  <a:lnTo>
                    <a:pt x="234" y="305"/>
                  </a:lnTo>
                  <a:lnTo>
                    <a:pt x="226" y="258"/>
                  </a:lnTo>
                  <a:lnTo>
                    <a:pt x="177" y="258"/>
                  </a:lnTo>
                  <a:lnTo>
                    <a:pt x="170" y="305"/>
                  </a:lnTo>
                  <a:lnTo>
                    <a:pt x="133" y="305"/>
                  </a:lnTo>
                  <a:lnTo>
                    <a:pt x="174" y="49"/>
                  </a:lnTo>
                  <a:lnTo>
                    <a:pt x="233" y="49"/>
                  </a:lnTo>
                  <a:lnTo>
                    <a:pt x="274" y="305"/>
                  </a:lnTo>
                  <a:close/>
                  <a:moveTo>
                    <a:pt x="40" y="86"/>
                  </a:moveTo>
                  <a:lnTo>
                    <a:pt x="40" y="171"/>
                  </a:lnTo>
                  <a:lnTo>
                    <a:pt x="59" y="171"/>
                  </a:lnTo>
                  <a:lnTo>
                    <a:pt x="63" y="171"/>
                  </a:lnTo>
                  <a:lnTo>
                    <a:pt x="68" y="170"/>
                  </a:lnTo>
                  <a:lnTo>
                    <a:pt x="71" y="169"/>
                  </a:lnTo>
                  <a:lnTo>
                    <a:pt x="74" y="166"/>
                  </a:lnTo>
                  <a:lnTo>
                    <a:pt x="76" y="163"/>
                  </a:lnTo>
                  <a:lnTo>
                    <a:pt x="77" y="159"/>
                  </a:lnTo>
                  <a:lnTo>
                    <a:pt x="78" y="154"/>
                  </a:lnTo>
                  <a:lnTo>
                    <a:pt x="78" y="148"/>
                  </a:lnTo>
                  <a:lnTo>
                    <a:pt x="78" y="109"/>
                  </a:lnTo>
                  <a:lnTo>
                    <a:pt x="78" y="103"/>
                  </a:lnTo>
                  <a:lnTo>
                    <a:pt x="77" y="97"/>
                  </a:lnTo>
                  <a:lnTo>
                    <a:pt x="76" y="94"/>
                  </a:lnTo>
                  <a:lnTo>
                    <a:pt x="74" y="90"/>
                  </a:lnTo>
                  <a:lnTo>
                    <a:pt x="72" y="89"/>
                  </a:lnTo>
                  <a:lnTo>
                    <a:pt x="71" y="88"/>
                  </a:lnTo>
                  <a:lnTo>
                    <a:pt x="69" y="87"/>
                  </a:lnTo>
                  <a:lnTo>
                    <a:pt x="68" y="87"/>
                  </a:lnTo>
                  <a:lnTo>
                    <a:pt x="63" y="86"/>
                  </a:lnTo>
                  <a:lnTo>
                    <a:pt x="59" y="86"/>
                  </a:lnTo>
                  <a:lnTo>
                    <a:pt x="40" y="86"/>
                  </a:lnTo>
                  <a:close/>
                  <a:moveTo>
                    <a:pt x="118" y="112"/>
                  </a:moveTo>
                  <a:lnTo>
                    <a:pt x="118" y="145"/>
                  </a:lnTo>
                  <a:lnTo>
                    <a:pt x="118" y="152"/>
                  </a:lnTo>
                  <a:lnTo>
                    <a:pt x="118" y="160"/>
                  </a:lnTo>
                  <a:lnTo>
                    <a:pt x="116" y="166"/>
                  </a:lnTo>
                  <a:lnTo>
                    <a:pt x="115" y="172"/>
                  </a:lnTo>
                  <a:lnTo>
                    <a:pt x="113" y="178"/>
                  </a:lnTo>
                  <a:lnTo>
                    <a:pt x="111" y="183"/>
                  </a:lnTo>
                  <a:lnTo>
                    <a:pt x="108" y="188"/>
                  </a:lnTo>
                  <a:lnTo>
                    <a:pt x="104" y="192"/>
                  </a:lnTo>
                  <a:lnTo>
                    <a:pt x="100" y="196"/>
                  </a:lnTo>
                  <a:lnTo>
                    <a:pt x="95" y="199"/>
                  </a:lnTo>
                  <a:lnTo>
                    <a:pt x="91" y="202"/>
                  </a:lnTo>
                  <a:lnTo>
                    <a:pt x="86" y="204"/>
                  </a:lnTo>
                  <a:lnTo>
                    <a:pt x="79" y="206"/>
                  </a:lnTo>
                  <a:lnTo>
                    <a:pt x="73" y="207"/>
                  </a:lnTo>
                  <a:lnTo>
                    <a:pt x="67" y="208"/>
                  </a:lnTo>
                  <a:lnTo>
                    <a:pt x="59" y="208"/>
                  </a:lnTo>
                  <a:lnTo>
                    <a:pt x="40" y="208"/>
                  </a:lnTo>
                  <a:lnTo>
                    <a:pt x="40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59" y="49"/>
                  </a:lnTo>
                  <a:lnTo>
                    <a:pt x="67" y="49"/>
                  </a:lnTo>
                  <a:lnTo>
                    <a:pt x="73" y="50"/>
                  </a:lnTo>
                  <a:lnTo>
                    <a:pt x="79" y="51"/>
                  </a:lnTo>
                  <a:lnTo>
                    <a:pt x="86" y="53"/>
                  </a:lnTo>
                  <a:lnTo>
                    <a:pt x="88" y="54"/>
                  </a:lnTo>
                  <a:lnTo>
                    <a:pt x="91" y="55"/>
                  </a:lnTo>
                  <a:lnTo>
                    <a:pt x="95" y="58"/>
                  </a:lnTo>
                  <a:lnTo>
                    <a:pt x="100" y="61"/>
                  </a:lnTo>
                  <a:lnTo>
                    <a:pt x="104" y="64"/>
                  </a:lnTo>
                  <a:lnTo>
                    <a:pt x="108" y="69"/>
                  </a:lnTo>
                  <a:lnTo>
                    <a:pt x="111" y="74"/>
                  </a:lnTo>
                  <a:lnTo>
                    <a:pt x="113" y="79"/>
                  </a:lnTo>
                  <a:lnTo>
                    <a:pt x="115" y="85"/>
                  </a:lnTo>
                  <a:lnTo>
                    <a:pt x="116" y="91"/>
                  </a:lnTo>
                  <a:lnTo>
                    <a:pt x="118" y="97"/>
                  </a:lnTo>
                  <a:lnTo>
                    <a:pt x="118" y="105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877183183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9818-62F2-44A7-B45F-F482A8F6B4E8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7" name="Round Same Side Corner Rectangle 16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8" name="Freeform 22"/>
            <p:cNvSpPr>
              <a:spLocks noEditPoints="1"/>
            </p:cNvSpPr>
            <p:nvPr userDrawn="1"/>
          </p:nvSpPr>
          <p:spPr bwMode="auto">
            <a:xfrm>
              <a:off x="8843371" y="6428428"/>
              <a:ext cx="2004515" cy="290400"/>
            </a:xfrm>
            <a:custGeom>
              <a:avLst/>
              <a:gdLst>
                <a:gd name="T0" fmla="*/ 2079 w 2127"/>
                <a:gd name="T1" fmla="*/ 258 h 308"/>
                <a:gd name="T2" fmla="*/ 1880 w 2127"/>
                <a:gd name="T3" fmla="*/ 86 h 308"/>
                <a:gd name="T4" fmla="*/ 1916 w 2127"/>
                <a:gd name="T5" fmla="*/ 154 h 308"/>
                <a:gd name="T6" fmla="*/ 1918 w 2127"/>
                <a:gd name="T7" fmla="*/ 97 h 308"/>
                <a:gd name="T8" fmla="*/ 1880 w 2127"/>
                <a:gd name="T9" fmla="*/ 86 h 308"/>
                <a:gd name="T10" fmla="*/ 1920 w 2127"/>
                <a:gd name="T11" fmla="*/ 224 h 308"/>
                <a:gd name="T12" fmla="*/ 1900 w 2127"/>
                <a:gd name="T13" fmla="*/ 201 h 308"/>
                <a:gd name="T14" fmla="*/ 1909 w 2127"/>
                <a:gd name="T15" fmla="*/ 49 h 308"/>
                <a:gd name="T16" fmla="*/ 1946 w 2127"/>
                <a:gd name="T17" fmla="*/ 63 h 308"/>
                <a:gd name="T18" fmla="*/ 1961 w 2127"/>
                <a:gd name="T19" fmla="*/ 100 h 308"/>
                <a:gd name="T20" fmla="*/ 1950 w 2127"/>
                <a:gd name="T21" fmla="*/ 166 h 308"/>
                <a:gd name="T22" fmla="*/ 1949 w 2127"/>
                <a:gd name="T23" fmla="*/ 190 h 308"/>
                <a:gd name="T24" fmla="*/ 1961 w 2127"/>
                <a:gd name="T25" fmla="*/ 273 h 308"/>
                <a:gd name="T26" fmla="*/ 1760 w 2127"/>
                <a:gd name="T27" fmla="*/ 223 h 308"/>
                <a:gd name="T28" fmla="*/ 1709 w 2127"/>
                <a:gd name="T29" fmla="*/ 305 h 308"/>
                <a:gd name="T30" fmla="*/ 1663 w 2127"/>
                <a:gd name="T31" fmla="*/ 49 h 308"/>
                <a:gd name="T32" fmla="*/ 1464 w 2127"/>
                <a:gd name="T33" fmla="*/ 223 h 308"/>
                <a:gd name="T34" fmla="*/ 1413 w 2127"/>
                <a:gd name="T35" fmla="*/ 305 h 308"/>
                <a:gd name="T36" fmla="*/ 1374 w 2127"/>
                <a:gd name="T37" fmla="*/ 86 h 308"/>
                <a:gd name="T38" fmla="*/ 1170 w 2127"/>
                <a:gd name="T39" fmla="*/ 45 h 308"/>
                <a:gd name="T40" fmla="*/ 1210 w 2127"/>
                <a:gd name="T41" fmla="*/ 58 h 308"/>
                <a:gd name="T42" fmla="*/ 1228 w 2127"/>
                <a:gd name="T43" fmla="*/ 95 h 308"/>
                <a:gd name="T44" fmla="*/ 1190 w 2127"/>
                <a:gd name="T45" fmla="*/ 96 h 308"/>
                <a:gd name="T46" fmla="*/ 1171 w 2127"/>
                <a:gd name="T47" fmla="*/ 82 h 308"/>
                <a:gd name="T48" fmla="*/ 1152 w 2127"/>
                <a:gd name="T49" fmla="*/ 96 h 308"/>
                <a:gd name="T50" fmla="*/ 1163 w 2127"/>
                <a:gd name="T51" fmla="*/ 141 h 308"/>
                <a:gd name="T52" fmla="*/ 1214 w 2127"/>
                <a:gd name="T53" fmla="*/ 194 h 308"/>
                <a:gd name="T54" fmla="*/ 1229 w 2127"/>
                <a:gd name="T55" fmla="*/ 236 h 308"/>
                <a:gd name="T56" fmla="*/ 1220 w 2127"/>
                <a:gd name="T57" fmla="*/ 281 h 308"/>
                <a:gd name="T58" fmla="*/ 1190 w 2127"/>
                <a:gd name="T59" fmla="*/ 305 h 308"/>
                <a:gd name="T60" fmla="*/ 1143 w 2127"/>
                <a:gd name="T61" fmla="*/ 302 h 308"/>
                <a:gd name="T62" fmla="*/ 1116 w 2127"/>
                <a:gd name="T63" fmla="*/ 276 h 308"/>
                <a:gd name="T64" fmla="*/ 1147 w 2127"/>
                <a:gd name="T65" fmla="*/ 227 h 308"/>
                <a:gd name="T66" fmla="*/ 1160 w 2127"/>
                <a:gd name="T67" fmla="*/ 269 h 308"/>
                <a:gd name="T68" fmla="*/ 1185 w 2127"/>
                <a:gd name="T69" fmla="*/ 261 h 308"/>
                <a:gd name="T70" fmla="*/ 1182 w 2127"/>
                <a:gd name="T71" fmla="*/ 220 h 308"/>
                <a:gd name="T72" fmla="*/ 1128 w 2127"/>
                <a:gd name="T73" fmla="*/ 163 h 308"/>
                <a:gd name="T74" fmla="*/ 1111 w 2127"/>
                <a:gd name="T75" fmla="*/ 123 h 308"/>
                <a:gd name="T76" fmla="*/ 1117 w 2127"/>
                <a:gd name="T77" fmla="*/ 77 h 308"/>
                <a:gd name="T78" fmla="*/ 1144 w 2127"/>
                <a:gd name="T79" fmla="*/ 50 h 308"/>
                <a:gd name="T80" fmla="*/ 1078 w 2127"/>
                <a:gd name="T81" fmla="*/ 305 h 308"/>
                <a:gd name="T82" fmla="*/ 985 w 2127"/>
                <a:gd name="T83" fmla="*/ 0 h 308"/>
                <a:gd name="T84" fmla="*/ 894 w 2127"/>
                <a:gd name="T85" fmla="*/ 35 h 308"/>
                <a:gd name="T86" fmla="*/ 905 w 2127"/>
                <a:gd name="T87" fmla="*/ 305 h 308"/>
                <a:gd name="T88" fmla="*/ 866 w 2127"/>
                <a:gd name="T89" fmla="*/ 86 h 308"/>
                <a:gd name="T90" fmla="*/ 603 w 2127"/>
                <a:gd name="T91" fmla="*/ 49 h 308"/>
                <a:gd name="T92" fmla="*/ 603 w 2127"/>
                <a:gd name="T93" fmla="*/ 86 h 308"/>
                <a:gd name="T94" fmla="*/ 441 w 2127"/>
                <a:gd name="T95" fmla="*/ 257 h 308"/>
                <a:gd name="T96" fmla="*/ 441 w 2127"/>
                <a:gd name="T97" fmla="*/ 257 h 308"/>
                <a:gd name="T98" fmla="*/ 249 w 2127"/>
                <a:gd name="T99" fmla="*/ 35 h 308"/>
                <a:gd name="T100" fmla="*/ 182 w 2127"/>
                <a:gd name="T101" fmla="*/ 223 h 308"/>
                <a:gd name="T102" fmla="*/ 234 w 2127"/>
                <a:gd name="T103" fmla="*/ 305 h 308"/>
                <a:gd name="T104" fmla="*/ 274 w 2127"/>
                <a:gd name="T105" fmla="*/ 305 h 308"/>
                <a:gd name="T106" fmla="*/ 74 w 2127"/>
                <a:gd name="T107" fmla="*/ 166 h 308"/>
                <a:gd name="T108" fmla="*/ 77 w 2127"/>
                <a:gd name="T109" fmla="*/ 97 h 308"/>
                <a:gd name="T110" fmla="*/ 63 w 2127"/>
                <a:gd name="T111" fmla="*/ 86 h 308"/>
                <a:gd name="T112" fmla="*/ 116 w 2127"/>
                <a:gd name="T113" fmla="*/ 166 h 308"/>
                <a:gd name="T114" fmla="*/ 95 w 2127"/>
                <a:gd name="T115" fmla="*/ 199 h 308"/>
                <a:gd name="T116" fmla="*/ 40 w 2127"/>
                <a:gd name="T117" fmla="*/ 208 h 308"/>
                <a:gd name="T118" fmla="*/ 79 w 2127"/>
                <a:gd name="T119" fmla="*/ 51 h 308"/>
                <a:gd name="T120" fmla="*/ 108 w 2127"/>
                <a:gd name="T121" fmla="*/ 69 h 308"/>
                <a:gd name="T122" fmla="*/ 118 w 2127"/>
                <a:gd name="T12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7" h="308">
                  <a:moveTo>
                    <a:pt x="2035" y="223"/>
                  </a:moveTo>
                  <a:lnTo>
                    <a:pt x="2074" y="223"/>
                  </a:lnTo>
                  <a:lnTo>
                    <a:pt x="2054" y="94"/>
                  </a:lnTo>
                  <a:lnTo>
                    <a:pt x="2035" y="223"/>
                  </a:lnTo>
                  <a:close/>
                  <a:moveTo>
                    <a:pt x="2127" y="305"/>
                  </a:moveTo>
                  <a:lnTo>
                    <a:pt x="2085" y="305"/>
                  </a:lnTo>
                  <a:lnTo>
                    <a:pt x="2079" y="258"/>
                  </a:lnTo>
                  <a:lnTo>
                    <a:pt x="2029" y="258"/>
                  </a:lnTo>
                  <a:lnTo>
                    <a:pt x="2023" y="305"/>
                  </a:lnTo>
                  <a:lnTo>
                    <a:pt x="1986" y="305"/>
                  </a:lnTo>
                  <a:lnTo>
                    <a:pt x="2026" y="49"/>
                  </a:lnTo>
                  <a:lnTo>
                    <a:pt x="2085" y="49"/>
                  </a:lnTo>
                  <a:lnTo>
                    <a:pt x="2127" y="305"/>
                  </a:lnTo>
                  <a:close/>
                  <a:moveTo>
                    <a:pt x="1880" y="86"/>
                  </a:moveTo>
                  <a:lnTo>
                    <a:pt x="1880" y="164"/>
                  </a:lnTo>
                  <a:lnTo>
                    <a:pt x="1896" y="164"/>
                  </a:lnTo>
                  <a:lnTo>
                    <a:pt x="1901" y="163"/>
                  </a:lnTo>
                  <a:lnTo>
                    <a:pt x="1907" y="163"/>
                  </a:lnTo>
                  <a:lnTo>
                    <a:pt x="1910" y="161"/>
                  </a:lnTo>
                  <a:lnTo>
                    <a:pt x="1914" y="158"/>
                  </a:lnTo>
                  <a:lnTo>
                    <a:pt x="1916" y="154"/>
                  </a:lnTo>
                  <a:lnTo>
                    <a:pt x="1918" y="149"/>
                  </a:lnTo>
                  <a:lnTo>
                    <a:pt x="1919" y="144"/>
                  </a:lnTo>
                  <a:lnTo>
                    <a:pt x="1920" y="136"/>
                  </a:lnTo>
                  <a:lnTo>
                    <a:pt x="1920" y="111"/>
                  </a:lnTo>
                  <a:lnTo>
                    <a:pt x="1920" y="105"/>
                  </a:lnTo>
                  <a:lnTo>
                    <a:pt x="1919" y="99"/>
                  </a:lnTo>
                  <a:lnTo>
                    <a:pt x="1918" y="97"/>
                  </a:lnTo>
                  <a:lnTo>
                    <a:pt x="1917" y="95"/>
                  </a:lnTo>
                  <a:lnTo>
                    <a:pt x="1915" y="91"/>
                  </a:lnTo>
                  <a:lnTo>
                    <a:pt x="1913" y="89"/>
                  </a:lnTo>
                  <a:lnTo>
                    <a:pt x="1909" y="87"/>
                  </a:lnTo>
                  <a:lnTo>
                    <a:pt x="1905" y="86"/>
                  </a:lnTo>
                  <a:lnTo>
                    <a:pt x="1899" y="86"/>
                  </a:lnTo>
                  <a:lnTo>
                    <a:pt x="1880" y="86"/>
                  </a:lnTo>
                  <a:close/>
                  <a:moveTo>
                    <a:pt x="1925" y="305"/>
                  </a:moveTo>
                  <a:lnTo>
                    <a:pt x="1923" y="299"/>
                  </a:lnTo>
                  <a:lnTo>
                    <a:pt x="1922" y="294"/>
                  </a:lnTo>
                  <a:lnTo>
                    <a:pt x="1920" y="286"/>
                  </a:lnTo>
                  <a:lnTo>
                    <a:pt x="1920" y="273"/>
                  </a:lnTo>
                  <a:lnTo>
                    <a:pt x="1920" y="233"/>
                  </a:lnTo>
                  <a:lnTo>
                    <a:pt x="1920" y="224"/>
                  </a:lnTo>
                  <a:lnTo>
                    <a:pt x="1919" y="218"/>
                  </a:lnTo>
                  <a:lnTo>
                    <a:pt x="1917" y="212"/>
                  </a:lnTo>
                  <a:lnTo>
                    <a:pt x="1914" y="207"/>
                  </a:lnTo>
                  <a:lnTo>
                    <a:pt x="1911" y="204"/>
                  </a:lnTo>
                  <a:lnTo>
                    <a:pt x="1909" y="203"/>
                  </a:lnTo>
                  <a:lnTo>
                    <a:pt x="1906" y="202"/>
                  </a:lnTo>
                  <a:lnTo>
                    <a:pt x="1900" y="201"/>
                  </a:lnTo>
                  <a:lnTo>
                    <a:pt x="1894" y="200"/>
                  </a:lnTo>
                  <a:lnTo>
                    <a:pt x="1880" y="200"/>
                  </a:lnTo>
                  <a:lnTo>
                    <a:pt x="1880" y="305"/>
                  </a:lnTo>
                  <a:lnTo>
                    <a:pt x="1840" y="305"/>
                  </a:lnTo>
                  <a:lnTo>
                    <a:pt x="1840" y="49"/>
                  </a:lnTo>
                  <a:lnTo>
                    <a:pt x="1901" y="49"/>
                  </a:lnTo>
                  <a:lnTo>
                    <a:pt x="1909" y="49"/>
                  </a:lnTo>
                  <a:lnTo>
                    <a:pt x="1915" y="50"/>
                  </a:lnTo>
                  <a:lnTo>
                    <a:pt x="1922" y="51"/>
                  </a:lnTo>
                  <a:lnTo>
                    <a:pt x="1928" y="52"/>
                  </a:lnTo>
                  <a:lnTo>
                    <a:pt x="1933" y="54"/>
                  </a:lnTo>
                  <a:lnTo>
                    <a:pt x="1938" y="57"/>
                  </a:lnTo>
                  <a:lnTo>
                    <a:pt x="1943" y="60"/>
                  </a:lnTo>
                  <a:lnTo>
                    <a:pt x="1946" y="63"/>
                  </a:lnTo>
                  <a:lnTo>
                    <a:pt x="1950" y="67"/>
                  </a:lnTo>
                  <a:lnTo>
                    <a:pt x="1952" y="72"/>
                  </a:lnTo>
                  <a:lnTo>
                    <a:pt x="1955" y="76"/>
                  </a:lnTo>
                  <a:lnTo>
                    <a:pt x="1957" y="81"/>
                  </a:lnTo>
                  <a:lnTo>
                    <a:pt x="1959" y="88"/>
                  </a:lnTo>
                  <a:lnTo>
                    <a:pt x="1960" y="93"/>
                  </a:lnTo>
                  <a:lnTo>
                    <a:pt x="1961" y="100"/>
                  </a:lnTo>
                  <a:lnTo>
                    <a:pt x="1961" y="108"/>
                  </a:lnTo>
                  <a:lnTo>
                    <a:pt x="1961" y="128"/>
                  </a:lnTo>
                  <a:lnTo>
                    <a:pt x="1960" y="137"/>
                  </a:lnTo>
                  <a:lnTo>
                    <a:pt x="1959" y="146"/>
                  </a:lnTo>
                  <a:lnTo>
                    <a:pt x="1956" y="153"/>
                  </a:lnTo>
                  <a:lnTo>
                    <a:pt x="1954" y="160"/>
                  </a:lnTo>
                  <a:lnTo>
                    <a:pt x="1950" y="166"/>
                  </a:lnTo>
                  <a:lnTo>
                    <a:pt x="1946" y="171"/>
                  </a:lnTo>
                  <a:lnTo>
                    <a:pt x="1941" y="176"/>
                  </a:lnTo>
                  <a:lnTo>
                    <a:pt x="1934" y="180"/>
                  </a:lnTo>
                  <a:lnTo>
                    <a:pt x="1941" y="183"/>
                  </a:lnTo>
                  <a:lnTo>
                    <a:pt x="1944" y="185"/>
                  </a:lnTo>
                  <a:lnTo>
                    <a:pt x="1947" y="187"/>
                  </a:lnTo>
                  <a:lnTo>
                    <a:pt x="1949" y="190"/>
                  </a:lnTo>
                  <a:lnTo>
                    <a:pt x="1951" y="194"/>
                  </a:lnTo>
                  <a:lnTo>
                    <a:pt x="1955" y="200"/>
                  </a:lnTo>
                  <a:lnTo>
                    <a:pt x="1957" y="207"/>
                  </a:lnTo>
                  <a:lnTo>
                    <a:pt x="1960" y="216"/>
                  </a:lnTo>
                  <a:lnTo>
                    <a:pt x="1961" y="224"/>
                  </a:lnTo>
                  <a:lnTo>
                    <a:pt x="1961" y="234"/>
                  </a:lnTo>
                  <a:lnTo>
                    <a:pt x="1961" y="273"/>
                  </a:lnTo>
                  <a:lnTo>
                    <a:pt x="1961" y="282"/>
                  </a:lnTo>
                  <a:lnTo>
                    <a:pt x="1962" y="290"/>
                  </a:lnTo>
                  <a:lnTo>
                    <a:pt x="1963" y="297"/>
                  </a:lnTo>
                  <a:lnTo>
                    <a:pt x="1965" y="305"/>
                  </a:lnTo>
                  <a:lnTo>
                    <a:pt x="1925" y="305"/>
                  </a:lnTo>
                  <a:close/>
                  <a:moveTo>
                    <a:pt x="1721" y="223"/>
                  </a:moveTo>
                  <a:lnTo>
                    <a:pt x="1760" y="223"/>
                  </a:lnTo>
                  <a:lnTo>
                    <a:pt x="1740" y="94"/>
                  </a:lnTo>
                  <a:lnTo>
                    <a:pt x="1721" y="223"/>
                  </a:lnTo>
                  <a:close/>
                  <a:moveTo>
                    <a:pt x="1813" y="305"/>
                  </a:moveTo>
                  <a:lnTo>
                    <a:pt x="1772" y="305"/>
                  </a:lnTo>
                  <a:lnTo>
                    <a:pt x="1765" y="258"/>
                  </a:lnTo>
                  <a:lnTo>
                    <a:pt x="1715" y="258"/>
                  </a:lnTo>
                  <a:lnTo>
                    <a:pt x="1709" y="305"/>
                  </a:lnTo>
                  <a:lnTo>
                    <a:pt x="1672" y="305"/>
                  </a:lnTo>
                  <a:lnTo>
                    <a:pt x="1713" y="49"/>
                  </a:lnTo>
                  <a:lnTo>
                    <a:pt x="1771" y="49"/>
                  </a:lnTo>
                  <a:lnTo>
                    <a:pt x="1813" y="305"/>
                  </a:lnTo>
                  <a:close/>
                  <a:moveTo>
                    <a:pt x="1596" y="257"/>
                  </a:moveTo>
                  <a:lnTo>
                    <a:pt x="1626" y="49"/>
                  </a:lnTo>
                  <a:lnTo>
                    <a:pt x="1663" y="49"/>
                  </a:lnTo>
                  <a:lnTo>
                    <a:pt x="1624" y="305"/>
                  </a:lnTo>
                  <a:lnTo>
                    <a:pt x="1564" y="305"/>
                  </a:lnTo>
                  <a:lnTo>
                    <a:pt x="1525" y="49"/>
                  </a:lnTo>
                  <a:lnTo>
                    <a:pt x="1565" y="49"/>
                  </a:lnTo>
                  <a:lnTo>
                    <a:pt x="1596" y="257"/>
                  </a:lnTo>
                  <a:close/>
                  <a:moveTo>
                    <a:pt x="1426" y="223"/>
                  </a:moveTo>
                  <a:lnTo>
                    <a:pt x="1464" y="223"/>
                  </a:lnTo>
                  <a:lnTo>
                    <a:pt x="1445" y="94"/>
                  </a:lnTo>
                  <a:lnTo>
                    <a:pt x="1426" y="223"/>
                  </a:lnTo>
                  <a:close/>
                  <a:moveTo>
                    <a:pt x="1516" y="305"/>
                  </a:moveTo>
                  <a:lnTo>
                    <a:pt x="1476" y="305"/>
                  </a:lnTo>
                  <a:lnTo>
                    <a:pt x="1469" y="258"/>
                  </a:lnTo>
                  <a:lnTo>
                    <a:pt x="1420" y="258"/>
                  </a:lnTo>
                  <a:lnTo>
                    <a:pt x="1413" y="305"/>
                  </a:lnTo>
                  <a:lnTo>
                    <a:pt x="1376" y="305"/>
                  </a:lnTo>
                  <a:lnTo>
                    <a:pt x="1417" y="49"/>
                  </a:lnTo>
                  <a:lnTo>
                    <a:pt x="1476" y="49"/>
                  </a:lnTo>
                  <a:lnTo>
                    <a:pt x="1516" y="305"/>
                  </a:lnTo>
                  <a:close/>
                  <a:moveTo>
                    <a:pt x="1250" y="49"/>
                  </a:moveTo>
                  <a:lnTo>
                    <a:pt x="1374" y="49"/>
                  </a:lnTo>
                  <a:lnTo>
                    <a:pt x="1374" y="86"/>
                  </a:lnTo>
                  <a:lnTo>
                    <a:pt x="1332" y="86"/>
                  </a:lnTo>
                  <a:lnTo>
                    <a:pt x="1332" y="305"/>
                  </a:lnTo>
                  <a:lnTo>
                    <a:pt x="1292" y="305"/>
                  </a:lnTo>
                  <a:lnTo>
                    <a:pt x="1292" y="86"/>
                  </a:lnTo>
                  <a:lnTo>
                    <a:pt x="1250" y="86"/>
                  </a:lnTo>
                  <a:lnTo>
                    <a:pt x="1250" y="49"/>
                  </a:lnTo>
                  <a:close/>
                  <a:moveTo>
                    <a:pt x="1170" y="45"/>
                  </a:moveTo>
                  <a:lnTo>
                    <a:pt x="1177" y="45"/>
                  </a:lnTo>
                  <a:lnTo>
                    <a:pt x="1183" y="47"/>
                  </a:lnTo>
                  <a:lnTo>
                    <a:pt x="1190" y="48"/>
                  </a:lnTo>
                  <a:lnTo>
                    <a:pt x="1195" y="50"/>
                  </a:lnTo>
                  <a:lnTo>
                    <a:pt x="1201" y="53"/>
                  </a:lnTo>
                  <a:lnTo>
                    <a:pt x="1206" y="55"/>
                  </a:lnTo>
                  <a:lnTo>
                    <a:pt x="1210" y="58"/>
                  </a:lnTo>
                  <a:lnTo>
                    <a:pt x="1214" y="62"/>
                  </a:lnTo>
                  <a:lnTo>
                    <a:pt x="1217" y="67"/>
                  </a:lnTo>
                  <a:lnTo>
                    <a:pt x="1220" y="72"/>
                  </a:lnTo>
                  <a:lnTo>
                    <a:pt x="1224" y="77"/>
                  </a:lnTo>
                  <a:lnTo>
                    <a:pt x="1226" y="82"/>
                  </a:lnTo>
                  <a:lnTo>
                    <a:pt x="1227" y="89"/>
                  </a:lnTo>
                  <a:lnTo>
                    <a:pt x="1228" y="95"/>
                  </a:lnTo>
                  <a:lnTo>
                    <a:pt x="1229" y="103"/>
                  </a:lnTo>
                  <a:lnTo>
                    <a:pt x="1229" y="110"/>
                  </a:lnTo>
                  <a:lnTo>
                    <a:pt x="1229" y="118"/>
                  </a:lnTo>
                  <a:lnTo>
                    <a:pt x="1191" y="118"/>
                  </a:lnTo>
                  <a:lnTo>
                    <a:pt x="1191" y="108"/>
                  </a:lnTo>
                  <a:lnTo>
                    <a:pt x="1191" y="102"/>
                  </a:lnTo>
                  <a:lnTo>
                    <a:pt x="1190" y="96"/>
                  </a:lnTo>
                  <a:lnTo>
                    <a:pt x="1188" y="91"/>
                  </a:lnTo>
                  <a:lnTo>
                    <a:pt x="1187" y="90"/>
                  </a:lnTo>
                  <a:lnTo>
                    <a:pt x="1185" y="88"/>
                  </a:lnTo>
                  <a:lnTo>
                    <a:pt x="1183" y="86"/>
                  </a:lnTo>
                  <a:lnTo>
                    <a:pt x="1179" y="84"/>
                  </a:lnTo>
                  <a:lnTo>
                    <a:pt x="1175" y="82"/>
                  </a:lnTo>
                  <a:lnTo>
                    <a:pt x="1171" y="82"/>
                  </a:lnTo>
                  <a:lnTo>
                    <a:pt x="1166" y="82"/>
                  </a:lnTo>
                  <a:lnTo>
                    <a:pt x="1162" y="84"/>
                  </a:lnTo>
                  <a:lnTo>
                    <a:pt x="1159" y="86"/>
                  </a:lnTo>
                  <a:lnTo>
                    <a:pt x="1156" y="88"/>
                  </a:lnTo>
                  <a:lnTo>
                    <a:pt x="1154" y="91"/>
                  </a:lnTo>
                  <a:lnTo>
                    <a:pt x="1153" y="93"/>
                  </a:lnTo>
                  <a:lnTo>
                    <a:pt x="1152" y="96"/>
                  </a:lnTo>
                  <a:lnTo>
                    <a:pt x="1152" y="102"/>
                  </a:lnTo>
                  <a:lnTo>
                    <a:pt x="1151" y="108"/>
                  </a:lnTo>
                  <a:lnTo>
                    <a:pt x="1152" y="116"/>
                  </a:lnTo>
                  <a:lnTo>
                    <a:pt x="1153" y="122"/>
                  </a:lnTo>
                  <a:lnTo>
                    <a:pt x="1154" y="126"/>
                  </a:lnTo>
                  <a:lnTo>
                    <a:pt x="1158" y="133"/>
                  </a:lnTo>
                  <a:lnTo>
                    <a:pt x="1163" y="141"/>
                  </a:lnTo>
                  <a:lnTo>
                    <a:pt x="1169" y="147"/>
                  </a:lnTo>
                  <a:lnTo>
                    <a:pt x="1176" y="154"/>
                  </a:lnTo>
                  <a:lnTo>
                    <a:pt x="1190" y="167"/>
                  </a:lnTo>
                  <a:lnTo>
                    <a:pt x="1197" y="174"/>
                  </a:lnTo>
                  <a:lnTo>
                    <a:pt x="1205" y="182"/>
                  </a:lnTo>
                  <a:lnTo>
                    <a:pt x="1211" y="189"/>
                  </a:lnTo>
                  <a:lnTo>
                    <a:pt x="1214" y="194"/>
                  </a:lnTo>
                  <a:lnTo>
                    <a:pt x="1217" y="199"/>
                  </a:lnTo>
                  <a:lnTo>
                    <a:pt x="1222" y="208"/>
                  </a:lnTo>
                  <a:lnTo>
                    <a:pt x="1225" y="213"/>
                  </a:lnTo>
                  <a:lnTo>
                    <a:pt x="1226" y="218"/>
                  </a:lnTo>
                  <a:lnTo>
                    <a:pt x="1228" y="224"/>
                  </a:lnTo>
                  <a:lnTo>
                    <a:pt x="1229" y="229"/>
                  </a:lnTo>
                  <a:lnTo>
                    <a:pt x="1229" y="236"/>
                  </a:lnTo>
                  <a:lnTo>
                    <a:pt x="1229" y="243"/>
                  </a:lnTo>
                  <a:lnTo>
                    <a:pt x="1229" y="251"/>
                  </a:lnTo>
                  <a:lnTo>
                    <a:pt x="1229" y="257"/>
                  </a:lnTo>
                  <a:lnTo>
                    <a:pt x="1227" y="264"/>
                  </a:lnTo>
                  <a:lnTo>
                    <a:pt x="1226" y="271"/>
                  </a:lnTo>
                  <a:lnTo>
                    <a:pt x="1224" y="276"/>
                  </a:lnTo>
                  <a:lnTo>
                    <a:pt x="1220" y="281"/>
                  </a:lnTo>
                  <a:lnTo>
                    <a:pt x="1217" y="287"/>
                  </a:lnTo>
                  <a:lnTo>
                    <a:pt x="1214" y="291"/>
                  </a:lnTo>
                  <a:lnTo>
                    <a:pt x="1210" y="294"/>
                  </a:lnTo>
                  <a:lnTo>
                    <a:pt x="1206" y="298"/>
                  </a:lnTo>
                  <a:lnTo>
                    <a:pt x="1200" y="300"/>
                  </a:lnTo>
                  <a:lnTo>
                    <a:pt x="1195" y="302"/>
                  </a:lnTo>
                  <a:lnTo>
                    <a:pt x="1190" y="305"/>
                  </a:lnTo>
                  <a:lnTo>
                    <a:pt x="1183" y="307"/>
                  </a:lnTo>
                  <a:lnTo>
                    <a:pt x="1177" y="307"/>
                  </a:lnTo>
                  <a:lnTo>
                    <a:pt x="1170" y="308"/>
                  </a:lnTo>
                  <a:lnTo>
                    <a:pt x="1162" y="307"/>
                  </a:lnTo>
                  <a:lnTo>
                    <a:pt x="1156" y="307"/>
                  </a:lnTo>
                  <a:lnTo>
                    <a:pt x="1150" y="305"/>
                  </a:lnTo>
                  <a:lnTo>
                    <a:pt x="1143" y="302"/>
                  </a:lnTo>
                  <a:lnTo>
                    <a:pt x="1138" y="300"/>
                  </a:lnTo>
                  <a:lnTo>
                    <a:pt x="1133" y="298"/>
                  </a:lnTo>
                  <a:lnTo>
                    <a:pt x="1128" y="294"/>
                  </a:lnTo>
                  <a:lnTo>
                    <a:pt x="1124" y="291"/>
                  </a:lnTo>
                  <a:lnTo>
                    <a:pt x="1121" y="287"/>
                  </a:lnTo>
                  <a:lnTo>
                    <a:pt x="1118" y="281"/>
                  </a:lnTo>
                  <a:lnTo>
                    <a:pt x="1116" y="276"/>
                  </a:lnTo>
                  <a:lnTo>
                    <a:pt x="1114" y="271"/>
                  </a:lnTo>
                  <a:lnTo>
                    <a:pt x="1111" y="264"/>
                  </a:lnTo>
                  <a:lnTo>
                    <a:pt x="1110" y="257"/>
                  </a:lnTo>
                  <a:lnTo>
                    <a:pt x="1109" y="251"/>
                  </a:lnTo>
                  <a:lnTo>
                    <a:pt x="1109" y="243"/>
                  </a:lnTo>
                  <a:lnTo>
                    <a:pt x="1109" y="227"/>
                  </a:lnTo>
                  <a:lnTo>
                    <a:pt x="1147" y="227"/>
                  </a:lnTo>
                  <a:lnTo>
                    <a:pt x="1147" y="245"/>
                  </a:lnTo>
                  <a:lnTo>
                    <a:pt x="1147" y="252"/>
                  </a:lnTo>
                  <a:lnTo>
                    <a:pt x="1148" y="257"/>
                  </a:lnTo>
                  <a:lnTo>
                    <a:pt x="1151" y="261"/>
                  </a:lnTo>
                  <a:lnTo>
                    <a:pt x="1153" y="264"/>
                  </a:lnTo>
                  <a:lnTo>
                    <a:pt x="1156" y="268"/>
                  </a:lnTo>
                  <a:lnTo>
                    <a:pt x="1160" y="269"/>
                  </a:lnTo>
                  <a:lnTo>
                    <a:pt x="1163" y="270"/>
                  </a:lnTo>
                  <a:lnTo>
                    <a:pt x="1169" y="271"/>
                  </a:lnTo>
                  <a:lnTo>
                    <a:pt x="1173" y="270"/>
                  </a:lnTo>
                  <a:lnTo>
                    <a:pt x="1177" y="269"/>
                  </a:lnTo>
                  <a:lnTo>
                    <a:pt x="1180" y="268"/>
                  </a:lnTo>
                  <a:lnTo>
                    <a:pt x="1183" y="264"/>
                  </a:lnTo>
                  <a:lnTo>
                    <a:pt x="1185" y="261"/>
                  </a:lnTo>
                  <a:lnTo>
                    <a:pt x="1188" y="257"/>
                  </a:lnTo>
                  <a:lnTo>
                    <a:pt x="1189" y="252"/>
                  </a:lnTo>
                  <a:lnTo>
                    <a:pt x="1189" y="245"/>
                  </a:lnTo>
                  <a:lnTo>
                    <a:pt x="1189" y="236"/>
                  </a:lnTo>
                  <a:lnTo>
                    <a:pt x="1188" y="232"/>
                  </a:lnTo>
                  <a:lnTo>
                    <a:pt x="1185" y="227"/>
                  </a:lnTo>
                  <a:lnTo>
                    <a:pt x="1182" y="220"/>
                  </a:lnTo>
                  <a:lnTo>
                    <a:pt x="1177" y="213"/>
                  </a:lnTo>
                  <a:lnTo>
                    <a:pt x="1171" y="205"/>
                  </a:lnTo>
                  <a:lnTo>
                    <a:pt x="1164" y="199"/>
                  </a:lnTo>
                  <a:lnTo>
                    <a:pt x="1150" y="185"/>
                  </a:lnTo>
                  <a:lnTo>
                    <a:pt x="1142" y="179"/>
                  </a:lnTo>
                  <a:lnTo>
                    <a:pt x="1136" y="171"/>
                  </a:lnTo>
                  <a:lnTo>
                    <a:pt x="1128" y="163"/>
                  </a:lnTo>
                  <a:lnTo>
                    <a:pt x="1126" y="159"/>
                  </a:lnTo>
                  <a:lnTo>
                    <a:pt x="1123" y="154"/>
                  </a:lnTo>
                  <a:lnTo>
                    <a:pt x="1118" y="145"/>
                  </a:lnTo>
                  <a:lnTo>
                    <a:pt x="1116" y="140"/>
                  </a:lnTo>
                  <a:lnTo>
                    <a:pt x="1114" y="134"/>
                  </a:lnTo>
                  <a:lnTo>
                    <a:pt x="1113" y="129"/>
                  </a:lnTo>
                  <a:lnTo>
                    <a:pt x="1111" y="123"/>
                  </a:lnTo>
                  <a:lnTo>
                    <a:pt x="1110" y="116"/>
                  </a:lnTo>
                  <a:lnTo>
                    <a:pt x="1110" y="110"/>
                  </a:lnTo>
                  <a:lnTo>
                    <a:pt x="1110" y="103"/>
                  </a:lnTo>
                  <a:lnTo>
                    <a:pt x="1111" y="95"/>
                  </a:lnTo>
                  <a:lnTo>
                    <a:pt x="1113" y="89"/>
                  </a:lnTo>
                  <a:lnTo>
                    <a:pt x="1115" y="82"/>
                  </a:lnTo>
                  <a:lnTo>
                    <a:pt x="1117" y="77"/>
                  </a:lnTo>
                  <a:lnTo>
                    <a:pt x="1119" y="72"/>
                  </a:lnTo>
                  <a:lnTo>
                    <a:pt x="1122" y="67"/>
                  </a:lnTo>
                  <a:lnTo>
                    <a:pt x="1125" y="62"/>
                  </a:lnTo>
                  <a:lnTo>
                    <a:pt x="1129" y="58"/>
                  </a:lnTo>
                  <a:lnTo>
                    <a:pt x="1134" y="55"/>
                  </a:lnTo>
                  <a:lnTo>
                    <a:pt x="1139" y="53"/>
                  </a:lnTo>
                  <a:lnTo>
                    <a:pt x="1144" y="50"/>
                  </a:lnTo>
                  <a:lnTo>
                    <a:pt x="1150" y="48"/>
                  </a:lnTo>
                  <a:lnTo>
                    <a:pt x="1156" y="47"/>
                  </a:lnTo>
                  <a:lnTo>
                    <a:pt x="1162" y="45"/>
                  </a:lnTo>
                  <a:lnTo>
                    <a:pt x="1170" y="45"/>
                  </a:lnTo>
                  <a:close/>
                  <a:moveTo>
                    <a:pt x="1037" y="49"/>
                  </a:moveTo>
                  <a:lnTo>
                    <a:pt x="1078" y="49"/>
                  </a:lnTo>
                  <a:lnTo>
                    <a:pt x="1078" y="305"/>
                  </a:lnTo>
                  <a:lnTo>
                    <a:pt x="1037" y="305"/>
                  </a:lnTo>
                  <a:lnTo>
                    <a:pt x="1037" y="49"/>
                  </a:lnTo>
                  <a:close/>
                  <a:moveTo>
                    <a:pt x="985" y="0"/>
                  </a:moveTo>
                  <a:lnTo>
                    <a:pt x="985" y="35"/>
                  </a:lnTo>
                  <a:lnTo>
                    <a:pt x="949" y="35"/>
                  </a:lnTo>
                  <a:lnTo>
                    <a:pt x="949" y="0"/>
                  </a:lnTo>
                  <a:lnTo>
                    <a:pt x="985" y="0"/>
                  </a:lnTo>
                  <a:close/>
                  <a:moveTo>
                    <a:pt x="918" y="223"/>
                  </a:moveTo>
                  <a:lnTo>
                    <a:pt x="956" y="223"/>
                  </a:lnTo>
                  <a:lnTo>
                    <a:pt x="937" y="94"/>
                  </a:lnTo>
                  <a:lnTo>
                    <a:pt x="918" y="223"/>
                  </a:lnTo>
                  <a:close/>
                  <a:moveTo>
                    <a:pt x="929" y="0"/>
                  </a:moveTo>
                  <a:lnTo>
                    <a:pt x="929" y="35"/>
                  </a:lnTo>
                  <a:lnTo>
                    <a:pt x="894" y="35"/>
                  </a:lnTo>
                  <a:lnTo>
                    <a:pt x="894" y="0"/>
                  </a:lnTo>
                  <a:lnTo>
                    <a:pt x="929" y="0"/>
                  </a:lnTo>
                  <a:close/>
                  <a:moveTo>
                    <a:pt x="1009" y="305"/>
                  </a:moveTo>
                  <a:lnTo>
                    <a:pt x="969" y="305"/>
                  </a:lnTo>
                  <a:lnTo>
                    <a:pt x="962" y="258"/>
                  </a:lnTo>
                  <a:lnTo>
                    <a:pt x="913" y="258"/>
                  </a:lnTo>
                  <a:lnTo>
                    <a:pt x="905" y="305"/>
                  </a:lnTo>
                  <a:lnTo>
                    <a:pt x="868" y="305"/>
                  </a:lnTo>
                  <a:lnTo>
                    <a:pt x="909" y="49"/>
                  </a:lnTo>
                  <a:lnTo>
                    <a:pt x="969" y="49"/>
                  </a:lnTo>
                  <a:lnTo>
                    <a:pt x="1009" y="305"/>
                  </a:lnTo>
                  <a:close/>
                  <a:moveTo>
                    <a:pt x="742" y="49"/>
                  </a:moveTo>
                  <a:lnTo>
                    <a:pt x="866" y="49"/>
                  </a:lnTo>
                  <a:lnTo>
                    <a:pt x="866" y="86"/>
                  </a:lnTo>
                  <a:lnTo>
                    <a:pt x="825" y="86"/>
                  </a:lnTo>
                  <a:lnTo>
                    <a:pt x="825" y="305"/>
                  </a:lnTo>
                  <a:lnTo>
                    <a:pt x="785" y="305"/>
                  </a:lnTo>
                  <a:lnTo>
                    <a:pt x="785" y="86"/>
                  </a:lnTo>
                  <a:lnTo>
                    <a:pt x="742" y="86"/>
                  </a:lnTo>
                  <a:lnTo>
                    <a:pt x="742" y="49"/>
                  </a:lnTo>
                  <a:close/>
                  <a:moveTo>
                    <a:pt x="603" y="49"/>
                  </a:moveTo>
                  <a:lnTo>
                    <a:pt x="728" y="49"/>
                  </a:lnTo>
                  <a:lnTo>
                    <a:pt x="728" y="86"/>
                  </a:lnTo>
                  <a:lnTo>
                    <a:pt x="685" y="86"/>
                  </a:lnTo>
                  <a:lnTo>
                    <a:pt x="685" y="305"/>
                  </a:lnTo>
                  <a:lnTo>
                    <a:pt x="645" y="305"/>
                  </a:lnTo>
                  <a:lnTo>
                    <a:pt x="645" y="86"/>
                  </a:lnTo>
                  <a:lnTo>
                    <a:pt x="603" y="86"/>
                  </a:lnTo>
                  <a:lnTo>
                    <a:pt x="603" y="49"/>
                  </a:lnTo>
                  <a:close/>
                  <a:moveTo>
                    <a:pt x="536" y="49"/>
                  </a:moveTo>
                  <a:lnTo>
                    <a:pt x="576" y="49"/>
                  </a:lnTo>
                  <a:lnTo>
                    <a:pt x="576" y="305"/>
                  </a:lnTo>
                  <a:lnTo>
                    <a:pt x="536" y="305"/>
                  </a:lnTo>
                  <a:lnTo>
                    <a:pt x="536" y="49"/>
                  </a:lnTo>
                  <a:close/>
                  <a:moveTo>
                    <a:pt x="441" y="257"/>
                  </a:moveTo>
                  <a:lnTo>
                    <a:pt x="472" y="49"/>
                  </a:lnTo>
                  <a:lnTo>
                    <a:pt x="509" y="49"/>
                  </a:lnTo>
                  <a:lnTo>
                    <a:pt x="468" y="305"/>
                  </a:lnTo>
                  <a:lnTo>
                    <a:pt x="409" y="305"/>
                  </a:lnTo>
                  <a:lnTo>
                    <a:pt x="370" y="49"/>
                  </a:lnTo>
                  <a:lnTo>
                    <a:pt x="410" y="49"/>
                  </a:lnTo>
                  <a:lnTo>
                    <a:pt x="441" y="257"/>
                  </a:lnTo>
                  <a:close/>
                  <a:moveTo>
                    <a:pt x="301" y="49"/>
                  </a:moveTo>
                  <a:lnTo>
                    <a:pt x="342" y="49"/>
                  </a:lnTo>
                  <a:lnTo>
                    <a:pt x="342" y="305"/>
                  </a:lnTo>
                  <a:lnTo>
                    <a:pt x="301" y="305"/>
                  </a:lnTo>
                  <a:lnTo>
                    <a:pt x="301" y="49"/>
                  </a:lnTo>
                  <a:close/>
                  <a:moveTo>
                    <a:pt x="249" y="0"/>
                  </a:moveTo>
                  <a:lnTo>
                    <a:pt x="249" y="35"/>
                  </a:lnTo>
                  <a:lnTo>
                    <a:pt x="214" y="35"/>
                  </a:lnTo>
                  <a:lnTo>
                    <a:pt x="214" y="0"/>
                  </a:lnTo>
                  <a:lnTo>
                    <a:pt x="249" y="0"/>
                  </a:lnTo>
                  <a:close/>
                  <a:moveTo>
                    <a:pt x="182" y="223"/>
                  </a:moveTo>
                  <a:lnTo>
                    <a:pt x="221" y="223"/>
                  </a:lnTo>
                  <a:lnTo>
                    <a:pt x="202" y="94"/>
                  </a:lnTo>
                  <a:lnTo>
                    <a:pt x="182" y="223"/>
                  </a:lnTo>
                  <a:close/>
                  <a:moveTo>
                    <a:pt x="194" y="0"/>
                  </a:moveTo>
                  <a:lnTo>
                    <a:pt x="194" y="35"/>
                  </a:lnTo>
                  <a:lnTo>
                    <a:pt x="158" y="35"/>
                  </a:lnTo>
                  <a:lnTo>
                    <a:pt x="158" y="0"/>
                  </a:lnTo>
                  <a:lnTo>
                    <a:pt x="194" y="0"/>
                  </a:lnTo>
                  <a:close/>
                  <a:moveTo>
                    <a:pt x="274" y="305"/>
                  </a:moveTo>
                  <a:lnTo>
                    <a:pt x="234" y="305"/>
                  </a:lnTo>
                  <a:lnTo>
                    <a:pt x="226" y="258"/>
                  </a:lnTo>
                  <a:lnTo>
                    <a:pt x="177" y="258"/>
                  </a:lnTo>
                  <a:lnTo>
                    <a:pt x="170" y="305"/>
                  </a:lnTo>
                  <a:lnTo>
                    <a:pt x="133" y="305"/>
                  </a:lnTo>
                  <a:lnTo>
                    <a:pt x="174" y="49"/>
                  </a:lnTo>
                  <a:lnTo>
                    <a:pt x="233" y="49"/>
                  </a:lnTo>
                  <a:lnTo>
                    <a:pt x="274" y="305"/>
                  </a:lnTo>
                  <a:close/>
                  <a:moveTo>
                    <a:pt x="40" y="86"/>
                  </a:moveTo>
                  <a:lnTo>
                    <a:pt x="40" y="171"/>
                  </a:lnTo>
                  <a:lnTo>
                    <a:pt x="59" y="171"/>
                  </a:lnTo>
                  <a:lnTo>
                    <a:pt x="63" y="171"/>
                  </a:lnTo>
                  <a:lnTo>
                    <a:pt x="68" y="170"/>
                  </a:lnTo>
                  <a:lnTo>
                    <a:pt x="71" y="169"/>
                  </a:lnTo>
                  <a:lnTo>
                    <a:pt x="74" y="166"/>
                  </a:lnTo>
                  <a:lnTo>
                    <a:pt x="76" y="163"/>
                  </a:lnTo>
                  <a:lnTo>
                    <a:pt x="77" y="159"/>
                  </a:lnTo>
                  <a:lnTo>
                    <a:pt x="78" y="154"/>
                  </a:lnTo>
                  <a:lnTo>
                    <a:pt x="78" y="148"/>
                  </a:lnTo>
                  <a:lnTo>
                    <a:pt x="78" y="109"/>
                  </a:lnTo>
                  <a:lnTo>
                    <a:pt x="78" y="103"/>
                  </a:lnTo>
                  <a:lnTo>
                    <a:pt x="77" y="97"/>
                  </a:lnTo>
                  <a:lnTo>
                    <a:pt x="76" y="94"/>
                  </a:lnTo>
                  <a:lnTo>
                    <a:pt x="74" y="90"/>
                  </a:lnTo>
                  <a:lnTo>
                    <a:pt x="72" y="89"/>
                  </a:lnTo>
                  <a:lnTo>
                    <a:pt x="71" y="88"/>
                  </a:lnTo>
                  <a:lnTo>
                    <a:pt x="69" y="87"/>
                  </a:lnTo>
                  <a:lnTo>
                    <a:pt x="68" y="87"/>
                  </a:lnTo>
                  <a:lnTo>
                    <a:pt x="63" y="86"/>
                  </a:lnTo>
                  <a:lnTo>
                    <a:pt x="59" y="86"/>
                  </a:lnTo>
                  <a:lnTo>
                    <a:pt x="40" y="86"/>
                  </a:lnTo>
                  <a:close/>
                  <a:moveTo>
                    <a:pt x="118" y="112"/>
                  </a:moveTo>
                  <a:lnTo>
                    <a:pt x="118" y="145"/>
                  </a:lnTo>
                  <a:lnTo>
                    <a:pt x="118" y="152"/>
                  </a:lnTo>
                  <a:lnTo>
                    <a:pt x="118" y="160"/>
                  </a:lnTo>
                  <a:lnTo>
                    <a:pt x="116" y="166"/>
                  </a:lnTo>
                  <a:lnTo>
                    <a:pt x="115" y="172"/>
                  </a:lnTo>
                  <a:lnTo>
                    <a:pt x="113" y="178"/>
                  </a:lnTo>
                  <a:lnTo>
                    <a:pt x="111" y="183"/>
                  </a:lnTo>
                  <a:lnTo>
                    <a:pt x="108" y="188"/>
                  </a:lnTo>
                  <a:lnTo>
                    <a:pt x="104" y="192"/>
                  </a:lnTo>
                  <a:lnTo>
                    <a:pt x="100" y="196"/>
                  </a:lnTo>
                  <a:lnTo>
                    <a:pt x="95" y="199"/>
                  </a:lnTo>
                  <a:lnTo>
                    <a:pt x="91" y="202"/>
                  </a:lnTo>
                  <a:lnTo>
                    <a:pt x="86" y="204"/>
                  </a:lnTo>
                  <a:lnTo>
                    <a:pt x="79" y="206"/>
                  </a:lnTo>
                  <a:lnTo>
                    <a:pt x="73" y="207"/>
                  </a:lnTo>
                  <a:lnTo>
                    <a:pt x="67" y="208"/>
                  </a:lnTo>
                  <a:lnTo>
                    <a:pt x="59" y="208"/>
                  </a:lnTo>
                  <a:lnTo>
                    <a:pt x="40" y="208"/>
                  </a:lnTo>
                  <a:lnTo>
                    <a:pt x="40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59" y="49"/>
                  </a:lnTo>
                  <a:lnTo>
                    <a:pt x="67" y="49"/>
                  </a:lnTo>
                  <a:lnTo>
                    <a:pt x="73" y="50"/>
                  </a:lnTo>
                  <a:lnTo>
                    <a:pt x="79" y="51"/>
                  </a:lnTo>
                  <a:lnTo>
                    <a:pt x="86" y="53"/>
                  </a:lnTo>
                  <a:lnTo>
                    <a:pt x="88" y="54"/>
                  </a:lnTo>
                  <a:lnTo>
                    <a:pt x="91" y="55"/>
                  </a:lnTo>
                  <a:lnTo>
                    <a:pt x="95" y="58"/>
                  </a:lnTo>
                  <a:lnTo>
                    <a:pt x="100" y="61"/>
                  </a:lnTo>
                  <a:lnTo>
                    <a:pt x="104" y="64"/>
                  </a:lnTo>
                  <a:lnTo>
                    <a:pt x="108" y="69"/>
                  </a:lnTo>
                  <a:lnTo>
                    <a:pt x="111" y="74"/>
                  </a:lnTo>
                  <a:lnTo>
                    <a:pt x="113" y="79"/>
                  </a:lnTo>
                  <a:lnTo>
                    <a:pt x="115" y="85"/>
                  </a:lnTo>
                  <a:lnTo>
                    <a:pt x="116" y="91"/>
                  </a:lnTo>
                  <a:lnTo>
                    <a:pt x="118" y="97"/>
                  </a:lnTo>
                  <a:lnTo>
                    <a:pt x="118" y="105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013115514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65A825-DB24-4ADB-9E17-08A33D7C4B79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6191026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5B7BCF-1DA1-4E43-96F0-2E96379E17F7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205530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7A29224E-3144-4346-92A7-373CBDF058BE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89546480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F9FF10D-CFDE-4DDE-9106-11235F218D10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2"/>
            <p:cNvSpPr>
              <a:spLocks noEditPoints="1"/>
            </p:cNvSpPr>
            <p:nvPr userDrawn="1"/>
          </p:nvSpPr>
          <p:spPr bwMode="auto">
            <a:xfrm>
              <a:off x="8843371" y="6428428"/>
              <a:ext cx="2004515" cy="290400"/>
            </a:xfrm>
            <a:custGeom>
              <a:avLst/>
              <a:gdLst>
                <a:gd name="T0" fmla="*/ 2079 w 2127"/>
                <a:gd name="T1" fmla="*/ 258 h 308"/>
                <a:gd name="T2" fmla="*/ 1880 w 2127"/>
                <a:gd name="T3" fmla="*/ 86 h 308"/>
                <a:gd name="T4" fmla="*/ 1916 w 2127"/>
                <a:gd name="T5" fmla="*/ 154 h 308"/>
                <a:gd name="T6" fmla="*/ 1918 w 2127"/>
                <a:gd name="T7" fmla="*/ 97 h 308"/>
                <a:gd name="T8" fmla="*/ 1880 w 2127"/>
                <a:gd name="T9" fmla="*/ 86 h 308"/>
                <a:gd name="T10" fmla="*/ 1920 w 2127"/>
                <a:gd name="T11" fmla="*/ 224 h 308"/>
                <a:gd name="T12" fmla="*/ 1900 w 2127"/>
                <a:gd name="T13" fmla="*/ 201 h 308"/>
                <a:gd name="T14" fmla="*/ 1909 w 2127"/>
                <a:gd name="T15" fmla="*/ 49 h 308"/>
                <a:gd name="T16" fmla="*/ 1946 w 2127"/>
                <a:gd name="T17" fmla="*/ 63 h 308"/>
                <a:gd name="T18" fmla="*/ 1961 w 2127"/>
                <a:gd name="T19" fmla="*/ 100 h 308"/>
                <a:gd name="T20" fmla="*/ 1950 w 2127"/>
                <a:gd name="T21" fmla="*/ 166 h 308"/>
                <a:gd name="T22" fmla="*/ 1949 w 2127"/>
                <a:gd name="T23" fmla="*/ 190 h 308"/>
                <a:gd name="T24" fmla="*/ 1961 w 2127"/>
                <a:gd name="T25" fmla="*/ 273 h 308"/>
                <a:gd name="T26" fmla="*/ 1760 w 2127"/>
                <a:gd name="T27" fmla="*/ 223 h 308"/>
                <a:gd name="T28" fmla="*/ 1709 w 2127"/>
                <a:gd name="T29" fmla="*/ 305 h 308"/>
                <a:gd name="T30" fmla="*/ 1663 w 2127"/>
                <a:gd name="T31" fmla="*/ 49 h 308"/>
                <a:gd name="T32" fmla="*/ 1464 w 2127"/>
                <a:gd name="T33" fmla="*/ 223 h 308"/>
                <a:gd name="T34" fmla="*/ 1413 w 2127"/>
                <a:gd name="T35" fmla="*/ 305 h 308"/>
                <a:gd name="T36" fmla="*/ 1374 w 2127"/>
                <a:gd name="T37" fmla="*/ 86 h 308"/>
                <a:gd name="T38" fmla="*/ 1170 w 2127"/>
                <a:gd name="T39" fmla="*/ 45 h 308"/>
                <a:gd name="T40" fmla="*/ 1210 w 2127"/>
                <a:gd name="T41" fmla="*/ 58 h 308"/>
                <a:gd name="T42" fmla="*/ 1228 w 2127"/>
                <a:gd name="T43" fmla="*/ 95 h 308"/>
                <a:gd name="T44" fmla="*/ 1190 w 2127"/>
                <a:gd name="T45" fmla="*/ 96 h 308"/>
                <a:gd name="T46" fmla="*/ 1171 w 2127"/>
                <a:gd name="T47" fmla="*/ 82 h 308"/>
                <a:gd name="T48" fmla="*/ 1152 w 2127"/>
                <a:gd name="T49" fmla="*/ 96 h 308"/>
                <a:gd name="T50" fmla="*/ 1163 w 2127"/>
                <a:gd name="T51" fmla="*/ 141 h 308"/>
                <a:gd name="T52" fmla="*/ 1214 w 2127"/>
                <a:gd name="T53" fmla="*/ 194 h 308"/>
                <a:gd name="T54" fmla="*/ 1229 w 2127"/>
                <a:gd name="T55" fmla="*/ 236 h 308"/>
                <a:gd name="T56" fmla="*/ 1220 w 2127"/>
                <a:gd name="T57" fmla="*/ 281 h 308"/>
                <a:gd name="T58" fmla="*/ 1190 w 2127"/>
                <a:gd name="T59" fmla="*/ 305 h 308"/>
                <a:gd name="T60" fmla="*/ 1143 w 2127"/>
                <a:gd name="T61" fmla="*/ 302 h 308"/>
                <a:gd name="T62" fmla="*/ 1116 w 2127"/>
                <a:gd name="T63" fmla="*/ 276 h 308"/>
                <a:gd name="T64" fmla="*/ 1147 w 2127"/>
                <a:gd name="T65" fmla="*/ 227 h 308"/>
                <a:gd name="T66" fmla="*/ 1160 w 2127"/>
                <a:gd name="T67" fmla="*/ 269 h 308"/>
                <a:gd name="T68" fmla="*/ 1185 w 2127"/>
                <a:gd name="T69" fmla="*/ 261 h 308"/>
                <a:gd name="T70" fmla="*/ 1182 w 2127"/>
                <a:gd name="T71" fmla="*/ 220 h 308"/>
                <a:gd name="T72" fmla="*/ 1128 w 2127"/>
                <a:gd name="T73" fmla="*/ 163 h 308"/>
                <a:gd name="T74" fmla="*/ 1111 w 2127"/>
                <a:gd name="T75" fmla="*/ 123 h 308"/>
                <a:gd name="T76" fmla="*/ 1117 w 2127"/>
                <a:gd name="T77" fmla="*/ 77 h 308"/>
                <a:gd name="T78" fmla="*/ 1144 w 2127"/>
                <a:gd name="T79" fmla="*/ 50 h 308"/>
                <a:gd name="T80" fmla="*/ 1078 w 2127"/>
                <a:gd name="T81" fmla="*/ 305 h 308"/>
                <a:gd name="T82" fmla="*/ 985 w 2127"/>
                <a:gd name="T83" fmla="*/ 0 h 308"/>
                <a:gd name="T84" fmla="*/ 894 w 2127"/>
                <a:gd name="T85" fmla="*/ 35 h 308"/>
                <a:gd name="T86" fmla="*/ 905 w 2127"/>
                <a:gd name="T87" fmla="*/ 305 h 308"/>
                <a:gd name="T88" fmla="*/ 866 w 2127"/>
                <a:gd name="T89" fmla="*/ 86 h 308"/>
                <a:gd name="T90" fmla="*/ 603 w 2127"/>
                <a:gd name="T91" fmla="*/ 49 h 308"/>
                <a:gd name="T92" fmla="*/ 603 w 2127"/>
                <a:gd name="T93" fmla="*/ 86 h 308"/>
                <a:gd name="T94" fmla="*/ 441 w 2127"/>
                <a:gd name="T95" fmla="*/ 257 h 308"/>
                <a:gd name="T96" fmla="*/ 441 w 2127"/>
                <a:gd name="T97" fmla="*/ 257 h 308"/>
                <a:gd name="T98" fmla="*/ 249 w 2127"/>
                <a:gd name="T99" fmla="*/ 35 h 308"/>
                <a:gd name="T100" fmla="*/ 182 w 2127"/>
                <a:gd name="T101" fmla="*/ 223 h 308"/>
                <a:gd name="T102" fmla="*/ 234 w 2127"/>
                <a:gd name="T103" fmla="*/ 305 h 308"/>
                <a:gd name="T104" fmla="*/ 274 w 2127"/>
                <a:gd name="T105" fmla="*/ 305 h 308"/>
                <a:gd name="T106" fmla="*/ 74 w 2127"/>
                <a:gd name="T107" fmla="*/ 166 h 308"/>
                <a:gd name="T108" fmla="*/ 77 w 2127"/>
                <a:gd name="T109" fmla="*/ 97 h 308"/>
                <a:gd name="T110" fmla="*/ 63 w 2127"/>
                <a:gd name="T111" fmla="*/ 86 h 308"/>
                <a:gd name="T112" fmla="*/ 116 w 2127"/>
                <a:gd name="T113" fmla="*/ 166 h 308"/>
                <a:gd name="T114" fmla="*/ 95 w 2127"/>
                <a:gd name="T115" fmla="*/ 199 h 308"/>
                <a:gd name="T116" fmla="*/ 40 w 2127"/>
                <a:gd name="T117" fmla="*/ 208 h 308"/>
                <a:gd name="T118" fmla="*/ 79 w 2127"/>
                <a:gd name="T119" fmla="*/ 51 h 308"/>
                <a:gd name="T120" fmla="*/ 108 w 2127"/>
                <a:gd name="T121" fmla="*/ 69 h 308"/>
                <a:gd name="T122" fmla="*/ 118 w 2127"/>
                <a:gd name="T12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7" h="308">
                  <a:moveTo>
                    <a:pt x="2035" y="223"/>
                  </a:moveTo>
                  <a:lnTo>
                    <a:pt x="2074" y="223"/>
                  </a:lnTo>
                  <a:lnTo>
                    <a:pt x="2054" y="94"/>
                  </a:lnTo>
                  <a:lnTo>
                    <a:pt x="2035" y="223"/>
                  </a:lnTo>
                  <a:close/>
                  <a:moveTo>
                    <a:pt x="2127" y="305"/>
                  </a:moveTo>
                  <a:lnTo>
                    <a:pt x="2085" y="305"/>
                  </a:lnTo>
                  <a:lnTo>
                    <a:pt x="2079" y="258"/>
                  </a:lnTo>
                  <a:lnTo>
                    <a:pt x="2029" y="258"/>
                  </a:lnTo>
                  <a:lnTo>
                    <a:pt x="2023" y="305"/>
                  </a:lnTo>
                  <a:lnTo>
                    <a:pt x="1986" y="305"/>
                  </a:lnTo>
                  <a:lnTo>
                    <a:pt x="2026" y="49"/>
                  </a:lnTo>
                  <a:lnTo>
                    <a:pt x="2085" y="49"/>
                  </a:lnTo>
                  <a:lnTo>
                    <a:pt x="2127" y="305"/>
                  </a:lnTo>
                  <a:close/>
                  <a:moveTo>
                    <a:pt x="1880" y="86"/>
                  </a:moveTo>
                  <a:lnTo>
                    <a:pt x="1880" y="164"/>
                  </a:lnTo>
                  <a:lnTo>
                    <a:pt x="1896" y="164"/>
                  </a:lnTo>
                  <a:lnTo>
                    <a:pt x="1901" y="163"/>
                  </a:lnTo>
                  <a:lnTo>
                    <a:pt x="1907" y="163"/>
                  </a:lnTo>
                  <a:lnTo>
                    <a:pt x="1910" y="161"/>
                  </a:lnTo>
                  <a:lnTo>
                    <a:pt x="1914" y="158"/>
                  </a:lnTo>
                  <a:lnTo>
                    <a:pt x="1916" y="154"/>
                  </a:lnTo>
                  <a:lnTo>
                    <a:pt x="1918" y="149"/>
                  </a:lnTo>
                  <a:lnTo>
                    <a:pt x="1919" y="144"/>
                  </a:lnTo>
                  <a:lnTo>
                    <a:pt x="1920" y="136"/>
                  </a:lnTo>
                  <a:lnTo>
                    <a:pt x="1920" y="111"/>
                  </a:lnTo>
                  <a:lnTo>
                    <a:pt x="1920" y="105"/>
                  </a:lnTo>
                  <a:lnTo>
                    <a:pt x="1919" y="99"/>
                  </a:lnTo>
                  <a:lnTo>
                    <a:pt x="1918" y="97"/>
                  </a:lnTo>
                  <a:lnTo>
                    <a:pt x="1917" y="95"/>
                  </a:lnTo>
                  <a:lnTo>
                    <a:pt x="1915" y="91"/>
                  </a:lnTo>
                  <a:lnTo>
                    <a:pt x="1913" y="89"/>
                  </a:lnTo>
                  <a:lnTo>
                    <a:pt x="1909" y="87"/>
                  </a:lnTo>
                  <a:lnTo>
                    <a:pt x="1905" y="86"/>
                  </a:lnTo>
                  <a:lnTo>
                    <a:pt x="1899" y="86"/>
                  </a:lnTo>
                  <a:lnTo>
                    <a:pt x="1880" y="86"/>
                  </a:lnTo>
                  <a:close/>
                  <a:moveTo>
                    <a:pt x="1925" y="305"/>
                  </a:moveTo>
                  <a:lnTo>
                    <a:pt x="1923" y="299"/>
                  </a:lnTo>
                  <a:lnTo>
                    <a:pt x="1922" y="294"/>
                  </a:lnTo>
                  <a:lnTo>
                    <a:pt x="1920" y="286"/>
                  </a:lnTo>
                  <a:lnTo>
                    <a:pt x="1920" y="273"/>
                  </a:lnTo>
                  <a:lnTo>
                    <a:pt x="1920" y="233"/>
                  </a:lnTo>
                  <a:lnTo>
                    <a:pt x="1920" y="224"/>
                  </a:lnTo>
                  <a:lnTo>
                    <a:pt x="1919" y="218"/>
                  </a:lnTo>
                  <a:lnTo>
                    <a:pt x="1917" y="212"/>
                  </a:lnTo>
                  <a:lnTo>
                    <a:pt x="1914" y="207"/>
                  </a:lnTo>
                  <a:lnTo>
                    <a:pt x="1911" y="204"/>
                  </a:lnTo>
                  <a:lnTo>
                    <a:pt x="1909" y="203"/>
                  </a:lnTo>
                  <a:lnTo>
                    <a:pt x="1906" y="202"/>
                  </a:lnTo>
                  <a:lnTo>
                    <a:pt x="1900" y="201"/>
                  </a:lnTo>
                  <a:lnTo>
                    <a:pt x="1894" y="200"/>
                  </a:lnTo>
                  <a:lnTo>
                    <a:pt x="1880" y="200"/>
                  </a:lnTo>
                  <a:lnTo>
                    <a:pt x="1880" y="305"/>
                  </a:lnTo>
                  <a:lnTo>
                    <a:pt x="1840" y="305"/>
                  </a:lnTo>
                  <a:lnTo>
                    <a:pt x="1840" y="49"/>
                  </a:lnTo>
                  <a:lnTo>
                    <a:pt x="1901" y="49"/>
                  </a:lnTo>
                  <a:lnTo>
                    <a:pt x="1909" y="49"/>
                  </a:lnTo>
                  <a:lnTo>
                    <a:pt x="1915" y="50"/>
                  </a:lnTo>
                  <a:lnTo>
                    <a:pt x="1922" y="51"/>
                  </a:lnTo>
                  <a:lnTo>
                    <a:pt x="1928" y="52"/>
                  </a:lnTo>
                  <a:lnTo>
                    <a:pt x="1933" y="54"/>
                  </a:lnTo>
                  <a:lnTo>
                    <a:pt x="1938" y="57"/>
                  </a:lnTo>
                  <a:lnTo>
                    <a:pt x="1943" y="60"/>
                  </a:lnTo>
                  <a:lnTo>
                    <a:pt x="1946" y="63"/>
                  </a:lnTo>
                  <a:lnTo>
                    <a:pt x="1950" y="67"/>
                  </a:lnTo>
                  <a:lnTo>
                    <a:pt x="1952" y="72"/>
                  </a:lnTo>
                  <a:lnTo>
                    <a:pt x="1955" y="76"/>
                  </a:lnTo>
                  <a:lnTo>
                    <a:pt x="1957" y="81"/>
                  </a:lnTo>
                  <a:lnTo>
                    <a:pt x="1959" y="88"/>
                  </a:lnTo>
                  <a:lnTo>
                    <a:pt x="1960" y="93"/>
                  </a:lnTo>
                  <a:lnTo>
                    <a:pt x="1961" y="100"/>
                  </a:lnTo>
                  <a:lnTo>
                    <a:pt x="1961" y="108"/>
                  </a:lnTo>
                  <a:lnTo>
                    <a:pt x="1961" y="128"/>
                  </a:lnTo>
                  <a:lnTo>
                    <a:pt x="1960" y="137"/>
                  </a:lnTo>
                  <a:lnTo>
                    <a:pt x="1959" y="146"/>
                  </a:lnTo>
                  <a:lnTo>
                    <a:pt x="1956" y="153"/>
                  </a:lnTo>
                  <a:lnTo>
                    <a:pt x="1954" y="160"/>
                  </a:lnTo>
                  <a:lnTo>
                    <a:pt x="1950" y="166"/>
                  </a:lnTo>
                  <a:lnTo>
                    <a:pt x="1946" y="171"/>
                  </a:lnTo>
                  <a:lnTo>
                    <a:pt x="1941" y="176"/>
                  </a:lnTo>
                  <a:lnTo>
                    <a:pt x="1934" y="180"/>
                  </a:lnTo>
                  <a:lnTo>
                    <a:pt x="1941" y="183"/>
                  </a:lnTo>
                  <a:lnTo>
                    <a:pt x="1944" y="185"/>
                  </a:lnTo>
                  <a:lnTo>
                    <a:pt x="1947" y="187"/>
                  </a:lnTo>
                  <a:lnTo>
                    <a:pt x="1949" y="190"/>
                  </a:lnTo>
                  <a:lnTo>
                    <a:pt x="1951" y="194"/>
                  </a:lnTo>
                  <a:lnTo>
                    <a:pt x="1955" y="200"/>
                  </a:lnTo>
                  <a:lnTo>
                    <a:pt x="1957" y="207"/>
                  </a:lnTo>
                  <a:lnTo>
                    <a:pt x="1960" y="216"/>
                  </a:lnTo>
                  <a:lnTo>
                    <a:pt x="1961" y="224"/>
                  </a:lnTo>
                  <a:lnTo>
                    <a:pt x="1961" y="234"/>
                  </a:lnTo>
                  <a:lnTo>
                    <a:pt x="1961" y="273"/>
                  </a:lnTo>
                  <a:lnTo>
                    <a:pt x="1961" y="282"/>
                  </a:lnTo>
                  <a:lnTo>
                    <a:pt x="1962" y="290"/>
                  </a:lnTo>
                  <a:lnTo>
                    <a:pt x="1963" y="297"/>
                  </a:lnTo>
                  <a:lnTo>
                    <a:pt x="1965" y="305"/>
                  </a:lnTo>
                  <a:lnTo>
                    <a:pt x="1925" y="305"/>
                  </a:lnTo>
                  <a:close/>
                  <a:moveTo>
                    <a:pt x="1721" y="223"/>
                  </a:moveTo>
                  <a:lnTo>
                    <a:pt x="1760" y="223"/>
                  </a:lnTo>
                  <a:lnTo>
                    <a:pt x="1740" y="94"/>
                  </a:lnTo>
                  <a:lnTo>
                    <a:pt x="1721" y="223"/>
                  </a:lnTo>
                  <a:close/>
                  <a:moveTo>
                    <a:pt x="1813" y="305"/>
                  </a:moveTo>
                  <a:lnTo>
                    <a:pt x="1772" y="305"/>
                  </a:lnTo>
                  <a:lnTo>
                    <a:pt x="1765" y="258"/>
                  </a:lnTo>
                  <a:lnTo>
                    <a:pt x="1715" y="258"/>
                  </a:lnTo>
                  <a:lnTo>
                    <a:pt x="1709" y="305"/>
                  </a:lnTo>
                  <a:lnTo>
                    <a:pt x="1672" y="305"/>
                  </a:lnTo>
                  <a:lnTo>
                    <a:pt x="1713" y="49"/>
                  </a:lnTo>
                  <a:lnTo>
                    <a:pt x="1771" y="49"/>
                  </a:lnTo>
                  <a:lnTo>
                    <a:pt x="1813" y="305"/>
                  </a:lnTo>
                  <a:close/>
                  <a:moveTo>
                    <a:pt x="1596" y="257"/>
                  </a:moveTo>
                  <a:lnTo>
                    <a:pt x="1626" y="49"/>
                  </a:lnTo>
                  <a:lnTo>
                    <a:pt x="1663" y="49"/>
                  </a:lnTo>
                  <a:lnTo>
                    <a:pt x="1624" y="305"/>
                  </a:lnTo>
                  <a:lnTo>
                    <a:pt x="1564" y="305"/>
                  </a:lnTo>
                  <a:lnTo>
                    <a:pt x="1525" y="49"/>
                  </a:lnTo>
                  <a:lnTo>
                    <a:pt x="1565" y="49"/>
                  </a:lnTo>
                  <a:lnTo>
                    <a:pt x="1596" y="257"/>
                  </a:lnTo>
                  <a:close/>
                  <a:moveTo>
                    <a:pt x="1426" y="223"/>
                  </a:moveTo>
                  <a:lnTo>
                    <a:pt x="1464" y="223"/>
                  </a:lnTo>
                  <a:lnTo>
                    <a:pt x="1445" y="94"/>
                  </a:lnTo>
                  <a:lnTo>
                    <a:pt x="1426" y="223"/>
                  </a:lnTo>
                  <a:close/>
                  <a:moveTo>
                    <a:pt x="1516" y="305"/>
                  </a:moveTo>
                  <a:lnTo>
                    <a:pt x="1476" y="305"/>
                  </a:lnTo>
                  <a:lnTo>
                    <a:pt x="1469" y="258"/>
                  </a:lnTo>
                  <a:lnTo>
                    <a:pt x="1420" y="258"/>
                  </a:lnTo>
                  <a:lnTo>
                    <a:pt x="1413" y="305"/>
                  </a:lnTo>
                  <a:lnTo>
                    <a:pt x="1376" y="305"/>
                  </a:lnTo>
                  <a:lnTo>
                    <a:pt x="1417" y="49"/>
                  </a:lnTo>
                  <a:lnTo>
                    <a:pt x="1476" y="49"/>
                  </a:lnTo>
                  <a:lnTo>
                    <a:pt x="1516" y="305"/>
                  </a:lnTo>
                  <a:close/>
                  <a:moveTo>
                    <a:pt x="1250" y="49"/>
                  </a:moveTo>
                  <a:lnTo>
                    <a:pt x="1374" y="49"/>
                  </a:lnTo>
                  <a:lnTo>
                    <a:pt x="1374" y="86"/>
                  </a:lnTo>
                  <a:lnTo>
                    <a:pt x="1332" y="86"/>
                  </a:lnTo>
                  <a:lnTo>
                    <a:pt x="1332" y="305"/>
                  </a:lnTo>
                  <a:lnTo>
                    <a:pt x="1292" y="305"/>
                  </a:lnTo>
                  <a:lnTo>
                    <a:pt x="1292" y="86"/>
                  </a:lnTo>
                  <a:lnTo>
                    <a:pt x="1250" y="86"/>
                  </a:lnTo>
                  <a:lnTo>
                    <a:pt x="1250" y="49"/>
                  </a:lnTo>
                  <a:close/>
                  <a:moveTo>
                    <a:pt x="1170" y="45"/>
                  </a:moveTo>
                  <a:lnTo>
                    <a:pt x="1177" y="45"/>
                  </a:lnTo>
                  <a:lnTo>
                    <a:pt x="1183" y="47"/>
                  </a:lnTo>
                  <a:lnTo>
                    <a:pt x="1190" y="48"/>
                  </a:lnTo>
                  <a:lnTo>
                    <a:pt x="1195" y="50"/>
                  </a:lnTo>
                  <a:lnTo>
                    <a:pt x="1201" y="53"/>
                  </a:lnTo>
                  <a:lnTo>
                    <a:pt x="1206" y="55"/>
                  </a:lnTo>
                  <a:lnTo>
                    <a:pt x="1210" y="58"/>
                  </a:lnTo>
                  <a:lnTo>
                    <a:pt x="1214" y="62"/>
                  </a:lnTo>
                  <a:lnTo>
                    <a:pt x="1217" y="67"/>
                  </a:lnTo>
                  <a:lnTo>
                    <a:pt x="1220" y="72"/>
                  </a:lnTo>
                  <a:lnTo>
                    <a:pt x="1224" y="77"/>
                  </a:lnTo>
                  <a:lnTo>
                    <a:pt x="1226" y="82"/>
                  </a:lnTo>
                  <a:lnTo>
                    <a:pt x="1227" y="89"/>
                  </a:lnTo>
                  <a:lnTo>
                    <a:pt x="1228" y="95"/>
                  </a:lnTo>
                  <a:lnTo>
                    <a:pt x="1229" y="103"/>
                  </a:lnTo>
                  <a:lnTo>
                    <a:pt x="1229" y="110"/>
                  </a:lnTo>
                  <a:lnTo>
                    <a:pt x="1229" y="118"/>
                  </a:lnTo>
                  <a:lnTo>
                    <a:pt x="1191" y="118"/>
                  </a:lnTo>
                  <a:lnTo>
                    <a:pt x="1191" y="108"/>
                  </a:lnTo>
                  <a:lnTo>
                    <a:pt x="1191" y="102"/>
                  </a:lnTo>
                  <a:lnTo>
                    <a:pt x="1190" y="96"/>
                  </a:lnTo>
                  <a:lnTo>
                    <a:pt x="1188" y="91"/>
                  </a:lnTo>
                  <a:lnTo>
                    <a:pt x="1187" y="90"/>
                  </a:lnTo>
                  <a:lnTo>
                    <a:pt x="1185" y="88"/>
                  </a:lnTo>
                  <a:lnTo>
                    <a:pt x="1183" y="86"/>
                  </a:lnTo>
                  <a:lnTo>
                    <a:pt x="1179" y="84"/>
                  </a:lnTo>
                  <a:lnTo>
                    <a:pt x="1175" y="82"/>
                  </a:lnTo>
                  <a:lnTo>
                    <a:pt x="1171" y="82"/>
                  </a:lnTo>
                  <a:lnTo>
                    <a:pt x="1166" y="82"/>
                  </a:lnTo>
                  <a:lnTo>
                    <a:pt x="1162" y="84"/>
                  </a:lnTo>
                  <a:lnTo>
                    <a:pt x="1159" y="86"/>
                  </a:lnTo>
                  <a:lnTo>
                    <a:pt x="1156" y="88"/>
                  </a:lnTo>
                  <a:lnTo>
                    <a:pt x="1154" y="91"/>
                  </a:lnTo>
                  <a:lnTo>
                    <a:pt x="1153" y="93"/>
                  </a:lnTo>
                  <a:lnTo>
                    <a:pt x="1152" y="96"/>
                  </a:lnTo>
                  <a:lnTo>
                    <a:pt x="1152" y="102"/>
                  </a:lnTo>
                  <a:lnTo>
                    <a:pt x="1151" y="108"/>
                  </a:lnTo>
                  <a:lnTo>
                    <a:pt x="1152" y="116"/>
                  </a:lnTo>
                  <a:lnTo>
                    <a:pt x="1153" y="122"/>
                  </a:lnTo>
                  <a:lnTo>
                    <a:pt x="1154" y="126"/>
                  </a:lnTo>
                  <a:lnTo>
                    <a:pt x="1158" y="133"/>
                  </a:lnTo>
                  <a:lnTo>
                    <a:pt x="1163" y="141"/>
                  </a:lnTo>
                  <a:lnTo>
                    <a:pt x="1169" y="147"/>
                  </a:lnTo>
                  <a:lnTo>
                    <a:pt x="1176" y="154"/>
                  </a:lnTo>
                  <a:lnTo>
                    <a:pt x="1190" y="167"/>
                  </a:lnTo>
                  <a:lnTo>
                    <a:pt x="1197" y="174"/>
                  </a:lnTo>
                  <a:lnTo>
                    <a:pt x="1205" y="182"/>
                  </a:lnTo>
                  <a:lnTo>
                    <a:pt x="1211" y="189"/>
                  </a:lnTo>
                  <a:lnTo>
                    <a:pt x="1214" y="194"/>
                  </a:lnTo>
                  <a:lnTo>
                    <a:pt x="1217" y="199"/>
                  </a:lnTo>
                  <a:lnTo>
                    <a:pt x="1222" y="208"/>
                  </a:lnTo>
                  <a:lnTo>
                    <a:pt x="1225" y="213"/>
                  </a:lnTo>
                  <a:lnTo>
                    <a:pt x="1226" y="218"/>
                  </a:lnTo>
                  <a:lnTo>
                    <a:pt x="1228" y="224"/>
                  </a:lnTo>
                  <a:lnTo>
                    <a:pt x="1229" y="229"/>
                  </a:lnTo>
                  <a:lnTo>
                    <a:pt x="1229" y="236"/>
                  </a:lnTo>
                  <a:lnTo>
                    <a:pt x="1229" y="243"/>
                  </a:lnTo>
                  <a:lnTo>
                    <a:pt x="1229" y="251"/>
                  </a:lnTo>
                  <a:lnTo>
                    <a:pt x="1229" y="257"/>
                  </a:lnTo>
                  <a:lnTo>
                    <a:pt x="1227" y="264"/>
                  </a:lnTo>
                  <a:lnTo>
                    <a:pt x="1226" y="271"/>
                  </a:lnTo>
                  <a:lnTo>
                    <a:pt x="1224" y="276"/>
                  </a:lnTo>
                  <a:lnTo>
                    <a:pt x="1220" y="281"/>
                  </a:lnTo>
                  <a:lnTo>
                    <a:pt x="1217" y="287"/>
                  </a:lnTo>
                  <a:lnTo>
                    <a:pt x="1214" y="291"/>
                  </a:lnTo>
                  <a:lnTo>
                    <a:pt x="1210" y="294"/>
                  </a:lnTo>
                  <a:lnTo>
                    <a:pt x="1206" y="298"/>
                  </a:lnTo>
                  <a:lnTo>
                    <a:pt x="1200" y="300"/>
                  </a:lnTo>
                  <a:lnTo>
                    <a:pt x="1195" y="302"/>
                  </a:lnTo>
                  <a:lnTo>
                    <a:pt x="1190" y="305"/>
                  </a:lnTo>
                  <a:lnTo>
                    <a:pt x="1183" y="307"/>
                  </a:lnTo>
                  <a:lnTo>
                    <a:pt x="1177" y="307"/>
                  </a:lnTo>
                  <a:lnTo>
                    <a:pt x="1170" y="308"/>
                  </a:lnTo>
                  <a:lnTo>
                    <a:pt x="1162" y="307"/>
                  </a:lnTo>
                  <a:lnTo>
                    <a:pt x="1156" y="307"/>
                  </a:lnTo>
                  <a:lnTo>
                    <a:pt x="1150" y="305"/>
                  </a:lnTo>
                  <a:lnTo>
                    <a:pt x="1143" y="302"/>
                  </a:lnTo>
                  <a:lnTo>
                    <a:pt x="1138" y="300"/>
                  </a:lnTo>
                  <a:lnTo>
                    <a:pt x="1133" y="298"/>
                  </a:lnTo>
                  <a:lnTo>
                    <a:pt x="1128" y="294"/>
                  </a:lnTo>
                  <a:lnTo>
                    <a:pt x="1124" y="291"/>
                  </a:lnTo>
                  <a:lnTo>
                    <a:pt x="1121" y="287"/>
                  </a:lnTo>
                  <a:lnTo>
                    <a:pt x="1118" y="281"/>
                  </a:lnTo>
                  <a:lnTo>
                    <a:pt x="1116" y="276"/>
                  </a:lnTo>
                  <a:lnTo>
                    <a:pt x="1114" y="271"/>
                  </a:lnTo>
                  <a:lnTo>
                    <a:pt x="1111" y="264"/>
                  </a:lnTo>
                  <a:lnTo>
                    <a:pt x="1110" y="257"/>
                  </a:lnTo>
                  <a:lnTo>
                    <a:pt x="1109" y="251"/>
                  </a:lnTo>
                  <a:lnTo>
                    <a:pt x="1109" y="243"/>
                  </a:lnTo>
                  <a:lnTo>
                    <a:pt x="1109" y="227"/>
                  </a:lnTo>
                  <a:lnTo>
                    <a:pt x="1147" y="227"/>
                  </a:lnTo>
                  <a:lnTo>
                    <a:pt x="1147" y="245"/>
                  </a:lnTo>
                  <a:lnTo>
                    <a:pt x="1147" y="252"/>
                  </a:lnTo>
                  <a:lnTo>
                    <a:pt x="1148" y="257"/>
                  </a:lnTo>
                  <a:lnTo>
                    <a:pt x="1151" y="261"/>
                  </a:lnTo>
                  <a:lnTo>
                    <a:pt x="1153" y="264"/>
                  </a:lnTo>
                  <a:lnTo>
                    <a:pt x="1156" y="268"/>
                  </a:lnTo>
                  <a:lnTo>
                    <a:pt x="1160" y="269"/>
                  </a:lnTo>
                  <a:lnTo>
                    <a:pt x="1163" y="270"/>
                  </a:lnTo>
                  <a:lnTo>
                    <a:pt x="1169" y="271"/>
                  </a:lnTo>
                  <a:lnTo>
                    <a:pt x="1173" y="270"/>
                  </a:lnTo>
                  <a:lnTo>
                    <a:pt x="1177" y="269"/>
                  </a:lnTo>
                  <a:lnTo>
                    <a:pt x="1180" y="268"/>
                  </a:lnTo>
                  <a:lnTo>
                    <a:pt x="1183" y="264"/>
                  </a:lnTo>
                  <a:lnTo>
                    <a:pt x="1185" y="261"/>
                  </a:lnTo>
                  <a:lnTo>
                    <a:pt x="1188" y="257"/>
                  </a:lnTo>
                  <a:lnTo>
                    <a:pt x="1189" y="252"/>
                  </a:lnTo>
                  <a:lnTo>
                    <a:pt x="1189" y="245"/>
                  </a:lnTo>
                  <a:lnTo>
                    <a:pt x="1189" y="236"/>
                  </a:lnTo>
                  <a:lnTo>
                    <a:pt x="1188" y="232"/>
                  </a:lnTo>
                  <a:lnTo>
                    <a:pt x="1185" y="227"/>
                  </a:lnTo>
                  <a:lnTo>
                    <a:pt x="1182" y="220"/>
                  </a:lnTo>
                  <a:lnTo>
                    <a:pt x="1177" y="213"/>
                  </a:lnTo>
                  <a:lnTo>
                    <a:pt x="1171" y="205"/>
                  </a:lnTo>
                  <a:lnTo>
                    <a:pt x="1164" y="199"/>
                  </a:lnTo>
                  <a:lnTo>
                    <a:pt x="1150" y="185"/>
                  </a:lnTo>
                  <a:lnTo>
                    <a:pt x="1142" y="179"/>
                  </a:lnTo>
                  <a:lnTo>
                    <a:pt x="1136" y="171"/>
                  </a:lnTo>
                  <a:lnTo>
                    <a:pt x="1128" y="163"/>
                  </a:lnTo>
                  <a:lnTo>
                    <a:pt x="1126" y="159"/>
                  </a:lnTo>
                  <a:lnTo>
                    <a:pt x="1123" y="154"/>
                  </a:lnTo>
                  <a:lnTo>
                    <a:pt x="1118" y="145"/>
                  </a:lnTo>
                  <a:lnTo>
                    <a:pt x="1116" y="140"/>
                  </a:lnTo>
                  <a:lnTo>
                    <a:pt x="1114" y="134"/>
                  </a:lnTo>
                  <a:lnTo>
                    <a:pt x="1113" y="129"/>
                  </a:lnTo>
                  <a:lnTo>
                    <a:pt x="1111" y="123"/>
                  </a:lnTo>
                  <a:lnTo>
                    <a:pt x="1110" y="116"/>
                  </a:lnTo>
                  <a:lnTo>
                    <a:pt x="1110" y="110"/>
                  </a:lnTo>
                  <a:lnTo>
                    <a:pt x="1110" y="103"/>
                  </a:lnTo>
                  <a:lnTo>
                    <a:pt x="1111" y="95"/>
                  </a:lnTo>
                  <a:lnTo>
                    <a:pt x="1113" y="89"/>
                  </a:lnTo>
                  <a:lnTo>
                    <a:pt x="1115" y="82"/>
                  </a:lnTo>
                  <a:lnTo>
                    <a:pt x="1117" y="77"/>
                  </a:lnTo>
                  <a:lnTo>
                    <a:pt x="1119" y="72"/>
                  </a:lnTo>
                  <a:lnTo>
                    <a:pt x="1122" y="67"/>
                  </a:lnTo>
                  <a:lnTo>
                    <a:pt x="1125" y="62"/>
                  </a:lnTo>
                  <a:lnTo>
                    <a:pt x="1129" y="58"/>
                  </a:lnTo>
                  <a:lnTo>
                    <a:pt x="1134" y="55"/>
                  </a:lnTo>
                  <a:lnTo>
                    <a:pt x="1139" y="53"/>
                  </a:lnTo>
                  <a:lnTo>
                    <a:pt x="1144" y="50"/>
                  </a:lnTo>
                  <a:lnTo>
                    <a:pt x="1150" y="48"/>
                  </a:lnTo>
                  <a:lnTo>
                    <a:pt x="1156" y="47"/>
                  </a:lnTo>
                  <a:lnTo>
                    <a:pt x="1162" y="45"/>
                  </a:lnTo>
                  <a:lnTo>
                    <a:pt x="1170" y="45"/>
                  </a:lnTo>
                  <a:close/>
                  <a:moveTo>
                    <a:pt x="1037" y="49"/>
                  </a:moveTo>
                  <a:lnTo>
                    <a:pt x="1078" y="49"/>
                  </a:lnTo>
                  <a:lnTo>
                    <a:pt x="1078" y="305"/>
                  </a:lnTo>
                  <a:lnTo>
                    <a:pt x="1037" y="305"/>
                  </a:lnTo>
                  <a:lnTo>
                    <a:pt x="1037" y="49"/>
                  </a:lnTo>
                  <a:close/>
                  <a:moveTo>
                    <a:pt x="985" y="0"/>
                  </a:moveTo>
                  <a:lnTo>
                    <a:pt x="985" y="35"/>
                  </a:lnTo>
                  <a:lnTo>
                    <a:pt x="949" y="35"/>
                  </a:lnTo>
                  <a:lnTo>
                    <a:pt x="949" y="0"/>
                  </a:lnTo>
                  <a:lnTo>
                    <a:pt x="985" y="0"/>
                  </a:lnTo>
                  <a:close/>
                  <a:moveTo>
                    <a:pt x="918" y="223"/>
                  </a:moveTo>
                  <a:lnTo>
                    <a:pt x="956" y="223"/>
                  </a:lnTo>
                  <a:lnTo>
                    <a:pt x="937" y="94"/>
                  </a:lnTo>
                  <a:lnTo>
                    <a:pt x="918" y="223"/>
                  </a:lnTo>
                  <a:close/>
                  <a:moveTo>
                    <a:pt x="929" y="0"/>
                  </a:moveTo>
                  <a:lnTo>
                    <a:pt x="929" y="35"/>
                  </a:lnTo>
                  <a:lnTo>
                    <a:pt x="894" y="35"/>
                  </a:lnTo>
                  <a:lnTo>
                    <a:pt x="894" y="0"/>
                  </a:lnTo>
                  <a:lnTo>
                    <a:pt x="929" y="0"/>
                  </a:lnTo>
                  <a:close/>
                  <a:moveTo>
                    <a:pt x="1009" y="305"/>
                  </a:moveTo>
                  <a:lnTo>
                    <a:pt x="969" y="305"/>
                  </a:lnTo>
                  <a:lnTo>
                    <a:pt x="962" y="258"/>
                  </a:lnTo>
                  <a:lnTo>
                    <a:pt x="913" y="258"/>
                  </a:lnTo>
                  <a:lnTo>
                    <a:pt x="905" y="305"/>
                  </a:lnTo>
                  <a:lnTo>
                    <a:pt x="868" y="305"/>
                  </a:lnTo>
                  <a:lnTo>
                    <a:pt x="909" y="49"/>
                  </a:lnTo>
                  <a:lnTo>
                    <a:pt x="969" y="49"/>
                  </a:lnTo>
                  <a:lnTo>
                    <a:pt x="1009" y="305"/>
                  </a:lnTo>
                  <a:close/>
                  <a:moveTo>
                    <a:pt x="742" y="49"/>
                  </a:moveTo>
                  <a:lnTo>
                    <a:pt x="866" y="49"/>
                  </a:lnTo>
                  <a:lnTo>
                    <a:pt x="866" y="86"/>
                  </a:lnTo>
                  <a:lnTo>
                    <a:pt x="825" y="86"/>
                  </a:lnTo>
                  <a:lnTo>
                    <a:pt x="825" y="305"/>
                  </a:lnTo>
                  <a:lnTo>
                    <a:pt x="785" y="305"/>
                  </a:lnTo>
                  <a:lnTo>
                    <a:pt x="785" y="86"/>
                  </a:lnTo>
                  <a:lnTo>
                    <a:pt x="742" y="86"/>
                  </a:lnTo>
                  <a:lnTo>
                    <a:pt x="742" y="49"/>
                  </a:lnTo>
                  <a:close/>
                  <a:moveTo>
                    <a:pt x="603" y="49"/>
                  </a:moveTo>
                  <a:lnTo>
                    <a:pt x="728" y="49"/>
                  </a:lnTo>
                  <a:lnTo>
                    <a:pt x="728" y="86"/>
                  </a:lnTo>
                  <a:lnTo>
                    <a:pt x="685" y="86"/>
                  </a:lnTo>
                  <a:lnTo>
                    <a:pt x="685" y="305"/>
                  </a:lnTo>
                  <a:lnTo>
                    <a:pt x="645" y="305"/>
                  </a:lnTo>
                  <a:lnTo>
                    <a:pt x="645" y="86"/>
                  </a:lnTo>
                  <a:lnTo>
                    <a:pt x="603" y="86"/>
                  </a:lnTo>
                  <a:lnTo>
                    <a:pt x="603" y="49"/>
                  </a:lnTo>
                  <a:close/>
                  <a:moveTo>
                    <a:pt x="536" y="49"/>
                  </a:moveTo>
                  <a:lnTo>
                    <a:pt x="576" y="49"/>
                  </a:lnTo>
                  <a:lnTo>
                    <a:pt x="576" y="305"/>
                  </a:lnTo>
                  <a:lnTo>
                    <a:pt x="536" y="305"/>
                  </a:lnTo>
                  <a:lnTo>
                    <a:pt x="536" y="49"/>
                  </a:lnTo>
                  <a:close/>
                  <a:moveTo>
                    <a:pt x="441" y="257"/>
                  </a:moveTo>
                  <a:lnTo>
                    <a:pt x="472" y="49"/>
                  </a:lnTo>
                  <a:lnTo>
                    <a:pt x="509" y="49"/>
                  </a:lnTo>
                  <a:lnTo>
                    <a:pt x="468" y="305"/>
                  </a:lnTo>
                  <a:lnTo>
                    <a:pt x="409" y="305"/>
                  </a:lnTo>
                  <a:lnTo>
                    <a:pt x="370" y="49"/>
                  </a:lnTo>
                  <a:lnTo>
                    <a:pt x="410" y="49"/>
                  </a:lnTo>
                  <a:lnTo>
                    <a:pt x="441" y="257"/>
                  </a:lnTo>
                  <a:close/>
                  <a:moveTo>
                    <a:pt x="301" y="49"/>
                  </a:moveTo>
                  <a:lnTo>
                    <a:pt x="342" y="49"/>
                  </a:lnTo>
                  <a:lnTo>
                    <a:pt x="342" y="305"/>
                  </a:lnTo>
                  <a:lnTo>
                    <a:pt x="301" y="305"/>
                  </a:lnTo>
                  <a:lnTo>
                    <a:pt x="301" y="49"/>
                  </a:lnTo>
                  <a:close/>
                  <a:moveTo>
                    <a:pt x="249" y="0"/>
                  </a:moveTo>
                  <a:lnTo>
                    <a:pt x="249" y="35"/>
                  </a:lnTo>
                  <a:lnTo>
                    <a:pt x="214" y="35"/>
                  </a:lnTo>
                  <a:lnTo>
                    <a:pt x="214" y="0"/>
                  </a:lnTo>
                  <a:lnTo>
                    <a:pt x="249" y="0"/>
                  </a:lnTo>
                  <a:close/>
                  <a:moveTo>
                    <a:pt x="182" y="223"/>
                  </a:moveTo>
                  <a:lnTo>
                    <a:pt x="221" y="223"/>
                  </a:lnTo>
                  <a:lnTo>
                    <a:pt x="202" y="94"/>
                  </a:lnTo>
                  <a:lnTo>
                    <a:pt x="182" y="223"/>
                  </a:lnTo>
                  <a:close/>
                  <a:moveTo>
                    <a:pt x="194" y="0"/>
                  </a:moveTo>
                  <a:lnTo>
                    <a:pt x="194" y="35"/>
                  </a:lnTo>
                  <a:lnTo>
                    <a:pt x="158" y="35"/>
                  </a:lnTo>
                  <a:lnTo>
                    <a:pt x="158" y="0"/>
                  </a:lnTo>
                  <a:lnTo>
                    <a:pt x="194" y="0"/>
                  </a:lnTo>
                  <a:close/>
                  <a:moveTo>
                    <a:pt x="274" y="305"/>
                  </a:moveTo>
                  <a:lnTo>
                    <a:pt x="234" y="305"/>
                  </a:lnTo>
                  <a:lnTo>
                    <a:pt x="226" y="258"/>
                  </a:lnTo>
                  <a:lnTo>
                    <a:pt x="177" y="258"/>
                  </a:lnTo>
                  <a:lnTo>
                    <a:pt x="170" y="305"/>
                  </a:lnTo>
                  <a:lnTo>
                    <a:pt x="133" y="305"/>
                  </a:lnTo>
                  <a:lnTo>
                    <a:pt x="174" y="49"/>
                  </a:lnTo>
                  <a:lnTo>
                    <a:pt x="233" y="49"/>
                  </a:lnTo>
                  <a:lnTo>
                    <a:pt x="274" y="305"/>
                  </a:lnTo>
                  <a:close/>
                  <a:moveTo>
                    <a:pt x="40" y="86"/>
                  </a:moveTo>
                  <a:lnTo>
                    <a:pt x="40" y="171"/>
                  </a:lnTo>
                  <a:lnTo>
                    <a:pt x="59" y="171"/>
                  </a:lnTo>
                  <a:lnTo>
                    <a:pt x="63" y="171"/>
                  </a:lnTo>
                  <a:lnTo>
                    <a:pt x="68" y="170"/>
                  </a:lnTo>
                  <a:lnTo>
                    <a:pt x="71" y="169"/>
                  </a:lnTo>
                  <a:lnTo>
                    <a:pt x="74" y="166"/>
                  </a:lnTo>
                  <a:lnTo>
                    <a:pt x="76" y="163"/>
                  </a:lnTo>
                  <a:lnTo>
                    <a:pt x="77" y="159"/>
                  </a:lnTo>
                  <a:lnTo>
                    <a:pt x="78" y="154"/>
                  </a:lnTo>
                  <a:lnTo>
                    <a:pt x="78" y="148"/>
                  </a:lnTo>
                  <a:lnTo>
                    <a:pt x="78" y="109"/>
                  </a:lnTo>
                  <a:lnTo>
                    <a:pt x="78" y="103"/>
                  </a:lnTo>
                  <a:lnTo>
                    <a:pt x="77" y="97"/>
                  </a:lnTo>
                  <a:lnTo>
                    <a:pt x="76" y="94"/>
                  </a:lnTo>
                  <a:lnTo>
                    <a:pt x="74" y="90"/>
                  </a:lnTo>
                  <a:lnTo>
                    <a:pt x="72" y="89"/>
                  </a:lnTo>
                  <a:lnTo>
                    <a:pt x="71" y="88"/>
                  </a:lnTo>
                  <a:lnTo>
                    <a:pt x="69" y="87"/>
                  </a:lnTo>
                  <a:lnTo>
                    <a:pt x="68" y="87"/>
                  </a:lnTo>
                  <a:lnTo>
                    <a:pt x="63" y="86"/>
                  </a:lnTo>
                  <a:lnTo>
                    <a:pt x="59" y="86"/>
                  </a:lnTo>
                  <a:lnTo>
                    <a:pt x="40" y="86"/>
                  </a:lnTo>
                  <a:close/>
                  <a:moveTo>
                    <a:pt x="118" y="112"/>
                  </a:moveTo>
                  <a:lnTo>
                    <a:pt x="118" y="145"/>
                  </a:lnTo>
                  <a:lnTo>
                    <a:pt x="118" y="152"/>
                  </a:lnTo>
                  <a:lnTo>
                    <a:pt x="118" y="160"/>
                  </a:lnTo>
                  <a:lnTo>
                    <a:pt x="116" y="166"/>
                  </a:lnTo>
                  <a:lnTo>
                    <a:pt x="115" y="172"/>
                  </a:lnTo>
                  <a:lnTo>
                    <a:pt x="113" y="178"/>
                  </a:lnTo>
                  <a:lnTo>
                    <a:pt x="111" y="183"/>
                  </a:lnTo>
                  <a:lnTo>
                    <a:pt x="108" y="188"/>
                  </a:lnTo>
                  <a:lnTo>
                    <a:pt x="104" y="192"/>
                  </a:lnTo>
                  <a:lnTo>
                    <a:pt x="100" y="196"/>
                  </a:lnTo>
                  <a:lnTo>
                    <a:pt x="95" y="199"/>
                  </a:lnTo>
                  <a:lnTo>
                    <a:pt x="91" y="202"/>
                  </a:lnTo>
                  <a:lnTo>
                    <a:pt x="86" y="204"/>
                  </a:lnTo>
                  <a:lnTo>
                    <a:pt x="79" y="206"/>
                  </a:lnTo>
                  <a:lnTo>
                    <a:pt x="73" y="207"/>
                  </a:lnTo>
                  <a:lnTo>
                    <a:pt x="67" y="208"/>
                  </a:lnTo>
                  <a:lnTo>
                    <a:pt x="59" y="208"/>
                  </a:lnTo>
                  <a:lnTo>
                    <a:pt x="40" y="208"/>
                  </a:lnTo>
                  <a:lnTo>
                    <a:pt x="40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59" y="49"/>
                  </a:lnTo>
                  <a:lnTo>
                    <a:pt x="67" y="49"/>
                  </a:lnTo>
                  <a:lnTo>
                    <a:pt x="73" y="50"/>
                  </a:lnTo>
                  <a:lnTo>
                    <a:pt x="79" y="51"/>
                  </a:lnTo>
                  <a:lnTo>
                    <a:pt x="86" y="53"/>
                  </a:lnTo>
                  <a:lnTo>
                    <a:pt x="88" y="54"/>
                  </a:lnTo>
                  <a:lnTo>
                    <a:pt x="91" y="55"/>
                  </a:lnTo>
                  <a:lnTo>
                    <a:pt x="95" y="58"/>
                  </a:lnTo>
                  <a:lnTo>
                    <a:pt x="100" y="61"/>
                  </a:lnTo>
                  <a:lnTo>
                    <a:pt x="104" y="64"/>
                  </a:lnTo>
                  <a:lnTo>
                    <a:pt x="108" y="69"/>
                  </a:lnTo>
                  <a:lnTo>
                    <a:pt x="111" y="74"/>
                  </a:lnTo>
                  <a:lnTo>
                    <a:pt x="113" y="79"/>
                  </a:lnTo>
                  <a:lnTo>
                    <a:pt x="115" y="85"/>
                  </a:lnTo>
                  <a:lnTo>
                    <a:pt x="116" y="91"/>
                  </a:lnTo>
                  <a:lnTo>
                    <a:pt x="118" y="97"/>
                  </a:lnTo>
                  <a:lnTo>
                    <a:pt x="118" y="105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805468381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98F31C-11E5-40FF-8375-CF48518BFC89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2"/>
            <p:cNvSpPr>
              <a:spLocks noEditPoints="1"/>
            </p:cNvSpPr>
            <p:nvPr userDrawn="1"/>
          </p:nvSpPr>
          <p:spPr bwMode="auto">
            <a:xfrm>
              <a:off x="8843371" y="6428428"/>
              <a:ext cx="2004515" cy="290400"/>
            </a:xfrm>
            <a:custGeom>
              <a:avLst/>
              <a:gdLst>
                <a:gd name="T0" fmla="*/ 2079 w 2127"/>
                <a:gd name="T1" fmla="*/ 258 h 308"/>
                <a:gd name="T2" fmla="*/ 1880 w 2127"/>
                <a:gd name="T3" fmla="*/ 86 h 308"/>
                <a:gd name="T4" fmla="*/ 1916 w 2127"/>
                <a:gd name="T5" fmla="*/ 154 h 308"/>
                <a:gd name="T6" fmla="*/ 1918 w 2127"/>
                <a:gd name="T7" fmla="*/ 97 h 308"/>
                <a:gd name="T8" fmla="*/ 1880 w 2127"/>
                <a:gd name="T9" fmla="*/ 86 h 308"/>
                <a:gd name="T10" fmla="*/ 1920 w 2127"/>
                <a:gd name="T11" fmla="*/ 224 h 308"/>
                <a:gd name="T12" fmla="*/ 1900 w 2127"/>
                <a:gd name="T13" fmla="*/ 201 h 308"/>
                <a:gd name="T14" fmla="*/ 1909 w 2127"/>
                <a:gd name="T15" fmla="*/ 49 h 308"/>
                <a:gd name="T16" fmla="*/ 1946 w 2127"/>
                <a:gd name="T17" fmla="*/ 63 h 308"/>
                <a:gd name="T18" fmla="*/ 1961 w 2127"/>
                <a:gd name="T19" fmla="*/ 100 h 308"/>
                <a:gd name="T20" fmla="*/ 1950 w 2127"/>
                <a:gd name="T21" fmla="*/ 166 h 308"/>
                <a:gd name="T22" fmla="*/ 1949 w 2127"/>
                <a:gd name="T23" fmla="*/ 190 h 308"/>
                <a:gd name="T24" fmla="*/ 1961 w 2127"/>
                <a:gd name="T25" fmla="*/ 273 h 308"/>
                <a:gd name="T26" fmla="*/ 1760 w 2127"/>
                <a:gd name="T27" fmla="*/ 223 h 308"/>
                <a:gd name="T28" fmla="*/ 1709 w 2127"/>
                <a:gd name="T29" fmla="*/ 305 h 308"/>
                <a:gd name="T30" fmla="*/ 1663 w 2127"/>
                <a:gd name="T31" fmla="*/ 49 h 308"/>
                <a:gd name="T32" fmla="*/ 1464 w 2127"/>
                <a:gd name="T33" fmla="*/ 223 h 308"/>
                <a:gd name="T34" fmla="*/ 1413 w 2127"/>
                <a:gd name="T35" fmla="*/ 305 h 308"/>
                <a:gd name="T36" fmla="*/ 1374 w 2127"/>
                <a:gd name="T37" fmla="*/ 86 h 308"/>
                <a:gd name="T38" fmla="*/ 1170 w 2127"/>
                <a:gd name="T39" fmla="*/ 45 h 308"/>
                <a:gd name="T40" fmla="*/ 1210 w 2127"/>
                <a:gd name="T41" fmla="*/ 58 h 308"/>
                <a:gd name="T42" fmla="*/ 1228 w 2127"/>
                <a:gd name="T43" fmla="*/ 95 h 308"/>
                <a:gd name="T44" fmla="*/ 1190 w 2127"/>
                <a:gd name="T45" fmla="*/ 96 h 308"/>
                <a:gd name="T46" fmla="*/ 1171 w 2127"/>
                <a:gd name="T47" fmla="*/ 82 h 308"/>
                <a:gd name="T48" fmla="*/ 1152 w 2127"/>
                <a:gd name="T49" fmla="*/ 96 h 308"/>
                <a:gd name="T50" fmla="*/ 1163 w 2127"/>
                <a:gd name="T51" fmla="*/ 141 h 308"/>
                <a:gd name="T52" fmla="*/ 1214 w 2127"/>
                <a:gd name="T53" fmla="*/ 194 h 308"/>
                <a:gd name="T54" fmla="*/ 1229 w 2127"/>
                <a:gd name="T55" fmla="*/ 236 h 308"/>
                <a:gd name="T56" fmla="*/ 1220 w 2127"/>
                <a:gd name="T57" fmla="*/ 281 h 308"/>
                <a:gd name="T58" fmla="*/ 1190 w 2127"/>
                <a:gd name="T59" fmla="*/ 305 h 308"/>
                <a:gd name="T60" fmla="*/ 1143 w 2127"/>
                <a:gd name="T61" fmla="*/ 302 h 308"/>
                <a:gd name="T62" fmla="*/ 1116 w 2127"/>
                <a:gd name="T63" fmla="*/ 276 h 308"/>
                <a:gd name="T64" fmla="*/ 1147 w 2127"/>
                <a:gd name="T65" fmla="*/ 227 h 308"/>
                <a:gd name="T66" fmla="*/ 1160 w 2127"/>
                <a:gd name="T67" fmla="*/ 269 h 308"/>
                <a:gd name="T68" fmla="*/ 1185 w 2127"/>
                <a:gd name="T69" fmla="*/ 261 h 308"/>
                <a:gd name="T70" fmla="*/ 1182 w 2127"/>
                <a:gd name="T71" fmla="*/ 220 h 308"/>
                <a:gd name="T72" fmla="*/ 1128 w 2127"/>
                <a:gd name="T73" fmla="*/ 163 h 308"/>
                <a:gd name="T74" fmla="*/ 1111 w 2127"/>
                <a:gd name="T75" fmla="*/ 123 h 308"/>
                <a:gd name="T76" fmla="*/ 1117 w 2127"/>
                <a:gd name="T77" fmla="*/ 77 h 308"/>
                <a:gd name="T78" fmla="*/ 1144 w 2127"/>
                <a:gd name="T79" fmla="*/ 50 h 308"/>
                <a:gd name="T80" fmla="*/ 1078 w 2127"/>
                <a:gd name="T81" fmla="*/ 305 h 308"/>
                <a:gd name="T82" fmla="*/ 985 w 2127"/>
                <a:gd name="T83" fmla="*/ 0 h 308"/>
                <a:gd name="T84" fmla="*/ 894 w 2127"/>
                <a:gd name="T85" fmla="*/ 35 h 308"/>
                <a:gd name="T86" fmla="*/ 905 w 2127"/>
                <a:gd name="T87" fmla="*/ 305 h 308"/>
                <a:gd name="T88" fmla="*/ 866 w 2127"/>
                <a:gd name="T89" fmla="*/ 86 h 308"/>
                <a:gd name="T90" fmla="*/ 603 w 2127"/>
                <a:gd name="T91" fmla="*/ 49 h 308"/>
                <a:gd name="T92" fmla="*/ 603 w 2127"/>
                <a:gd name="T93" fmla="*/ 86 h 308"/>
                <a:gd name="T94" fmla="*/ 441 w 2127"/>
                <a:gd name="T95" fmla="*/ 257 h 308"/>
                <a:gd name="T96" fmla="*/ 441 w 2127"/>
                <a:gd name="T97" fmla="*/ 257 h 308"/>
                <a:gd name="T98" fmla="*/ 249 w 2127"/>
                <a:gd name="T99" fmla="*/ 35 h 308"/>
                <a:gd name="T100" fmla="*/ 182 w 2127"/>
                <a:gd name="T101" fmla="*/ 223 h 308"/>
                <a:gd name="T102" fmla="*/ 234 w 2127"/>
                <a:gd name="T103" fmla="*/ 305 h 308"/>
                <a:gd name="T104" fmla="*/ 274 w 2127"/>
                <a:gd name="T105" fmla="*/ 305 h 308"/>
                <a:gd name="T106" fmla="*/ 74 w 2127"/>
                <a:gd name="T107" fmla="*/ 166 h 308"/>
                <a:gd name="T108" fmla="*/ 77 w 2127"/>
                <a:gd name="T109" fmla="*/ 97 h 308"/>
                <a:gd name="T110" fmla="*/ 63 w 2127"/>
                <a:gd name="T111" fmla="*/ 86 h 308"/>
                <a:gd name="T112" fmla="*/ 116 w 2127"/>
                <a:gd name="T113" fmla="*/ 166 h 308"/>
                <a:gd name="T114" fmla="*/ 95 w 2127"/>
                <a:gd name="T115" fmla="*/ 199 h 308"/>
                <a:gd name="T116" fmla="*/ 40 w 2127"/>
                <a:gd name="T117" fmla="*/ 208 h 308"/>
                <a:gd name="T118" fmla="*/ 79 w 2127"/>
                <a:gd name="T119" fmla="*/ 51 h 308"/>
                <a:gd name="T120" fmla="*/ 108 w 2127"/>
                <a:gd name="T121" fmla="*/ 69 h 308"/>
                <a:gd name="T122" fmla="*/ 118 w 2127"/>
                <a:gd name="T12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7" h="308">
                  <a:moveTo>
                    <a:pt x="2035" y="223"/>
                  </a:moveTo>
                  <a:lnTo>
                    <a:pt x="2074" y="223"/>
                  </a:lnTo>
                  <a:lnTo>
                    <a:pt x="2054" y="94"/>
                  </a:lnTo>
                  <a:lnTo>
                    <a:pt x="2035" y="223"/>
                  </a:lnTo>
                  <a:close/>
                  <a:moveTo>
                    <a:pt x="2127" y="305"/>
                  </a:moveTo>
                  <a:lnTo>
                    <a:pt x="2085" y="305"/>
                  </a:lnTo>
                  <a:lnTo>
                    <a:pt x="2079" y="258"/>
                  </a:lnTo>
                  <a:lnTo>
                    <a:pt x="2029" y="258"/>
                  </a:lnTo>
                  <a:lnTo>
                    <a:pt x="2023" y="305"/>
                  </a:lnTo>
                  <a:lnTo>
                    <a:pt x="1986" y="305"/>
                  </a:lnTo>
                  <a:lnTo>
                    <a:pt x="2026" y="49"/>
                  </a:lnTo>
                  <a:lnTo>
                    <a:pt x="2085" y="49"/>
                  </a:lnTo>
                  <a:lnTo>
                    <a:pt x="2127" y="305"/>
                  </a:lnTo>
                  <a:close/>
                  <a:moveTo>
                    <a:pt x="1880" y="86"/>
                  </a:moveTo>
                  <a:lnTo>
                    <a:pt x="1880" y="164"/>
                  </a:lnTo>
                  <a:lnTo>
                    <a:pt x="1896" y="164"/>
                  </a:lnTo>
                  <a:lnTo>
                    <a:pt x="1901" y="163"/>
                  </a:lnTo>
                  <a:lnTo>
                    <a:pt x="1907" y="163"/>
                  </a:lnTo>
                  <a:lnTo>
                    <a:pt x="1910" y="161"/>
                  </a:lnTo>
                  <a:lnTo>
                    <a:pt x="1914" y="158"/>
                  </a:lnTo>
                  <a:lnTo>
                    <a:pt x="1916" y="154"/>
                  </a:lnTo>
                  <a:lnTo>
                    <a:pt x="1918" y="149"/>
                  </a:lnTo>
                  <a:lnTo>
                    <a:pt x="1919" y="144"/>
                  </a:lnTo>
                  <a:lnTo>
                    <a:pt x="1920" y="136"/>
                  </a:lnTo>
                  <a:lnTo>
                    <a:pt x="1920" y="111"/>
                  </a:lnTo>
                  <a:lnTo>
                    <a:pt x="1920" y="105"/>
                  </a:lnTo>
                  <a:lnTo>
                    <a:pt x="1919" y="99"/>
                  </a:lnTo>
                  <a:lnTo>
                    <a:pt x="1918" y="97"/>
                  </a:lnTo>
                  <a:lnTo>
                    <a:pt x="1917" y="95"/>
                  </a:lnTo>
                  <a:lnTo>
                    <a:pt x="1915" y="91"/>
                  </a:lnTo>
                  <a:lnTo>
                    <a:pt x="1913" y="89"/>
                  </a:lnTo>
                  <a:lnTo>
                    <a:pt x="1909" y="87"/>
                  </a:lnTo>
                  <a:lnTo>
                    <a:pt x="1905" y="86"/>
                  </a:lnTo>
                  <a:lnTo>
                    <a:pt x="1899" y="86"/>
                  </a:lnTo>
                  <a:lnTo>
                    <a:pt x="1880" y="86"/>
                  </a:lnTo>
                  <a:close/>
                  <a:moveTo>
                    <a:pt x="1925" y="305"/>
                  </a:moveTo>
                  <a:lnTo>
                    <a:pt x="1923" y="299"/>
                  </a:lnTo>
                  <a:lnTo>
                    <a:pt x="1922" y="294"/>
                  </a:lnTo>
                  <a:lnTo>
                    <a:pt x="1920" y="286"/>
                  </a:lnTo>
                  <a:lnTo>
                    <a:pt x="1920" y="273"/>
                  </a:lnTo>
                  <a:lnTo>
                    <a:pt x="1920" y="233"/>
                  </a:lnTo>
                  <a:lnTo>
                    <a:pt x="1920" y="224"/>
                  </a:lnTo>
                  <a:lnTo>
                    <a:pt x="1919" y="218"/>
                  </a:lnTo>
                  <a:lnTo>
                    <a:pt x="1917" y="212"/>
                  </a:lnTo>
                  <a:lnTo>
                    <a:pt x="1914" y="207"/>
                  </a:lnTo>
                  <a:lnTo>
                    <a:pt x="1911" y="204"/>
                  </a:lnTo>
                  <a:lnTo>
                    <a:pt x="1909" y="203"/>
                  </a:lnTo>
                  <a:lnTo>
                    <a:pt x="1906" y="202"/>
                  </a:lnTo>
                  <a:lnTo>
                    <a:pt x="1900" y="201"/>
                  </a:lnTo>
                  <a:lnTo>
                    <a:pt x="1894" y="200"/>
                  </a:lnTo>
                  <a:lnTo>
                    <a:pt x="1880" y="200"/>
                  </a:lnTo>
                  <a:lnTo>
                    <a:pt x="1880" y="305"/>
                  </a:lnTo>
                  <a:lnTo>
                    <a:pt x="1840" y="305"/>
                  </a:lnTo>
                  <a:lnTo>
                    <a:pt x="1840" y="49"/>
                  </a:lnTo>
                  <a:lnTo>
                    <a:pt x="1901" y="49"/>
                  </a:lnTo>
                  <a:lnTo>
                    <a:pt x="1909" y="49"/>
                  </a:lnTo>
                  <a:lnTo>
                    <a:pt x="1915" y="50"/>
                  </a:lnTo>
                  <a:lnTo>
                    <a:pt x="1922" y="51"/>
                  </a:lnTo>
                  <a:lnTo>
                    <a:pt x="1928" y="52"/>
                  </a:lnTo>
                  <a:lnTo>
                    <a:pt x="1933" y="54"/>
                  </a:lnTo>
                  <a:lnTo>
                    <a:pt x="1938" y="57"/>
                  </a:lnTo>
                  <a:lnTo>
                    <a:pt x="1943" y="60"/>
                  </a:lnTo>
                  <a:lnTo>
                    <a:pt x="1946" y="63"/>
                  </a:lnTo>
                  <a:lnTo>
                    <a:pt x="1950" y="67"/>
                  </a:lnTo>
                  <a:lnTo>
                    <a:pt x="1952" y="72"/>
                  </a:lnTo>
                  <a:lnTo>
                    <a:pt x="1955" y="76"/>
                  </a:lnTo>
                  <a:lnTo>
                    <a:pt x="1957" y="81"/>
                  </a:lnTo>
                  <a:lnTo>
                    <a:pt x="1959" y="88"/>
                  </a:lnTo>
                  <a:lnTo>
                    <a:pt x="1960" y="93"/>
                  </a:lnTo>
                  <a:lnTo>
                    <a:pt x="1961" y="100"/>
                  </a:lnTo>
                  <a:lnTo>
                    <a:pt x="1961" y="108"/>
                  </a:lnTo>
                  <a:lnTo>
                    <a:pt x="1961" y="128"/>
                  </a:lnTo>
                  <a:lnTo>
                    <a:pt x="1960" y="137"/>
                  </a:lnTo>
                  <a:lnTo>
                    <a:pt x="1959" y="146"/>
                  </a:lnTo>
                  <a:lnTo>
                    <a:pt x="1956" y="153"/>
                  </a:lnTo>
                  <a:lnTo>
                    <a:pt x="1954" y="160"/>
                  </a:lnTo>
                  <a:lnTo>
                    <a:pt x="1950" y="166"/>
                  </a:lnTo>
                  <a:lnTo>
                    <a:pt x="1946" y="171"/>
                  </a:lnTo>
                  <a:lnTo>
                    <a:pt x="1941" y="176"/>
                  </a:lnTo>
                  <a:lnTo>
                    <a:pt x="1934" y="180"/>
                  </a:lnTo>
                  <a:lnTo>
                    <a:pt x="1941" y="183"/>
                  </a:lnTo>
                  <a:lnTo>
                    <a:pt x="1944" y="185"/>
                  </a:lnTo>
                  <a:lnTo>
                    <a:pt x="1947" y="187"/>
                  </a:lnTo>
                  <a:lnTo>
                    <a:pt x="1949" y="190"/>
                  </a:lnTo>
                  <a:lnTo>
                    <a:pt x="1951" y="194"/>
                  </a:lnTo>
                  <a:lnTo>
                    <a:pt x="1955" y="200"/>
                  </a:lnTo>
                  <a:lnTo>
                    <a:pt x="1957" y="207"/>
                  </a:lnTo>
                  <a:lnTo>
                    <a:pt x="1960" y="216"/>
                  </a:lnTo>
                  <a:lnTo>
                    <a:pt x="1961" y="224"/>
                  </a:lnTo>
                  <a:lnTo>
                    <a:pt x="1961" y="234"/>
                  </a:lnTo>
                  <a:lnTo>
                    <a:pt x="1961" y="273"/>
                  </a:lnTo>
                  <a:lnTo>
                    <a:pt x="1961" y="282"/>
                  </a:lnTo>
                  <a:lnTo>
                    <a:pt x="1962" y="290"/>
                  </a:lnTo>
                  <a:lnTo>
                    <a:pt x="1963" y="297"/>
                  </a:lnTo>
                  <a:lnTo>
                    <a:pt x="1965" y="305"/>
                  </a:lnTo>
                  <a:lnTo>
                    <a:pt x="1925" y="305"/>
                  </a:lnTo>
                  <a:close/>
                  <a:moveTo>
                    <a:pt x="1721" y="223"/>
                  </a:moveTo>
                  <a:lnTo>
                    <a:pt x="1760" y="223"/>
                  </a:lnTo>
                  <a:lnTo>
                    <a:pt x="1740" y="94"/>
                  </a:lnTo>
                  <a:lnTo>
                    <a:pt x="1721" y="223"/>
                  </a:lnTo>
                  <a:close/>
                  <a:moveTo>
                    <a:pt x="1813" y="305"/>
                  </a:moveTo>
                  <a:lnTo>
                    <a:pt x="1772" y="305"/>
                  </a:lnTo>
                  <a:lnTo>
                    <a:pt x="1765" y="258"/>
                  </a:lnTo>
                  <a:lnTo>
                    <a:pt x="1715" y="258"/>
                  </a:lnTo>
                  <a:lnTo>
                    <a:pt x="1709" y="305"/>
                  </a:lnTo>
                  <a:lnTo>
                    <a:pt x="1672" y="305"/>
                  </a:lnTo>
                  <a:lnTo>
                    <a:pt x="1713" y="49"/>
                  </a:lnTo>
                  <a:lnTo>
                    <a:pt x="1771" y="49"/>
                  </a:lnTo>
                  <a:lnTo>
                    <a:pt x="1813" y="305"/>
                  </a:lnTo>
                  <a:close/>
                  <a:moveTo>
                    <a:pt x="1596" y="257"/>
                  </a:moveTo>
                  <a:lnTo>
                    <a:pt x="1626" y="49"/>
                  </a:lnTo>
                  <a:lnTo>
                    <a:pt x="1663" y="49"/>
                  </a:lnTo>
                  <a:lnTo>
                    <a:pt x="1624" y="305"/>
                  </a:lnTo>
                  <a:lnTo>
                    <a:pt x="1564" y="305"/>
                  </a:lnTo>
                  <a:lnTo>
                    <a:pt x="1525" y="49"/>
                  </a:lnTo>
                  <a:lnTo>
                    <a:pt x="1565" y="49"/>
                  </a:lnTo>
                  <a:lnTo>
                    <a:pt x="1596" y="257"/>
                  </a:lnTo>
                  <a:close/>
                  <a:moveTo>
                    <a:pt x="1426" y="223"/>
                  </a:moveTo>
                  <a:lnTo>
                    <a:pt x="1464" y="223"/>
                  </a:lnTo>
                  <a:lnTo>
                    <a:pt x="1445" y="94"/>
                  </a:lnTo>
                  <a:lnTo>
                    <a:pt x="1426" y="223"/>
                  </a:lnTo>
                  <a:close/>
                  <a:moveTo>
                    <a:pt x="1516" y="305"/>
                  </a:moveTo>
                  <a:lnTo>
                    <a:pt x="1476" y="305"/>
                  </a:lnTo>
                  <a:lnTo>
                    <a:pt x="1469" y="258"/>
                  </a:lnTo>
                  <a:lnTo>
                    <a:pt x="1420" y="258"/>
                  </a:lnTo>
                  <a:lnTo>
                    <a:pt x="1413" y="305"/>
                  </a:lnTo>
                  <a:lnTo>
                    <a:pt x="1376" y="305"/>
                  </a:lnTo>
                  <a:lnTo>
                    <a:pt x="1417" y="49"/>
                  </a:lnTo>
                  <a:lnTo>
                    <a:pt x="1476" y="49"/>
                  </a:lnTo>
                  <a:lnTo>
                    <a:pt x="1516" y="305"/>
                  </a:lnTo>
                  <a:close/>
                  <a:moveTo>
                    <a:pt x="1250" y="49"/>
                  </a:moveTo>
                  <a:lnTo>
                    <a:pt x="1374" y="49"/>
                  </a:lnTo>
                  <a:lnTo>
                    <a:pt x="1374" y="86"/>
                  </a:lnTo>
                  <a:lnTo>
                    <a:pt x="1332" y="86"/>
                  </a:lnTo>
                  <a:lnTo>
                    <a:pt x="1332" y="305"/>
                  </a:lnTo>
                  <a:lnTo>
                    <a:pt x="1292" y="305"/>
                  </a:lnTo>
                  <a:lnTo>
                    <a:pt x="1292" y="86"/>
                  </a:lnTo>
                  <a:lnTo>
                    <a:pt x="1250" y="86"/>
                  </a:lnTo>
                  <a:lnTo>
                    <a:pt x="1250" y="49"/>
                  </a:lnTo>
                  <a:close/>
                  <a:moveTo>
                    <a:pt x="1170" y="45"/>
                  </a:moveTo>
                  <a:lnTo>
                    <a:pt x="1177" y="45"/>
                  </a:lnTo>
                  <a:lnTo>
                    <a:pt x="1183" y="47"/>
                  </a:lnTo>
                  <a:lnTo>
                    <a:pt x="1190" y="48"/>
                  </a:lnTo>
                  <a:lnTo>
                    <a:pt x="1195" y="50"/>
                  </a:lnTo>
                  <a:lnTo>
                    <a:pt x="1201" y="53"/>
                  </a:lnTo>
                  <a:lnTo>
                    <a:pt x="1206" y="55"/>
                  </a:lnTo>
                  <a:lnTo>
                    <a:pt x="1210" y="58"/>
                  </a:lnTo>
                  <a:lnTo>
                    <a:pt x="1214" y="62"/>
                  </a:lnTo>
                  <a:lnTo>
                    <a:pt x="1217" y="67"/>
                  </a:lnTo>
                  <a:lnTo>
                    <a:pt x="1220" y="72"/>
                  </a:lnTo>
                  <a:lnTo>
                    <a:pt x="1224" y="77"/>
                  </a:lnTo>
                  <a:lnTo>
                    <a:pt x="1226" y="82"/>
                  </a:lnTo>
                  <a:lnTo>
                    <a:pt x="1227" y="89"/>
                  </a:lnTo>
                  <a:lnTo>
                    <a:pt x="1228" y="95"/>
                  </a:lnTo>
                  <a:lnTo>
                    <a:pt x="1229" y="103"/>
                  </a:lnTo>
                  <a:lnTo>
                    <a:pt x="1229" y="110"/>
                  </a:lnTo>
                  <a:lnTo>
                    <a:pt x="1229" y="118"/>
                  </a:lnTo>
                  <a:lnTo>
                    <a:pt x="1191" y="118"/>
                  </a:lnTo>
                  <a:lnTo>
                    <a:pt x="1191" y="108"/>
                  </a:lnTo>
                  <a:lnTo>
                    <a:pt x="1191" y="102"/>
                  </a:lnTo>
                  <a:lnTo>
                    <a:pt x="1190" y="96"/>
                  </a:lnTo>
                  <a:lnTo>
                    <a:pt x="1188" y="91"/>
                  </a:lnTo>
                  <a:lnTo>
                    <a:pt x="1187" y="90"/>
                  </a:lnTo>
                  <a:lnTo>
                    <a:pt x="1185" y="88"/>
                  </a:lnTo>
                  <a:lnTo>
                    <a:pt x="1183" y="86"/>
                  </a:lnTo>
                  <a:lnTo>
                    <a:pt x="1179" y="84"/>
                  </a:lnTo>
                  <a:lnTo>
                    <a:pt x="1175" y="82"/>
                  </a:lnTo>
                  <a:lnTo>
                    <a:pt x="1171" y="82"/>
                  </a:lnTo>
                  <a:lnTo>
                    <a:pt x="1166" y="82"/>
                  </a:lnTo>
                  <a:lnTo>
                    <a:pt x="1162" y="84"/>
                  </a:lnTo>
                  <a:lnTo>
                    <a:pt x="1159" y="86"/>
                  </a:lnTo>
                  <a:lnTo>
                    <a:pt x="1156" y="88"/>
                  </a:lnTo>
                  <a:lnTo>
                    <a:pt x="1154" y="91"/>
                  </a:lnTo>
                  <a:lnTo>
                    <a:pt x="1153" y="93"/>
                  </a:lnTo>
                  <a:lnTo>
                    <a:pt x="1152" y="96"/>
                  </a:lnTo>
                  <a:lnTo>
                    <a:pt x="1152" y="102"/>
                  </a:lnTo>
                  <a:lnTo>
                    <a:pt x="1151" y="108"/>
                  </a:lnTo>
                  <a:lnTo>
                    <a:pt x="1152" y="116"/>
                  </a:lnTo>
                  <a:lnTo>
                    <a:pt x="1153" y="122"/>
                  </a:lnTo>
                  <a:lnTo>
                    <a:pt x="1154" y="126"/>
                  </a:lnTo>
                  <a:lnTo>
                    <a:pt x="1158" y="133"/>
                  </a:lnTo>
                  <a:lnTo>
                    <a:pt x="1163" y="141"/>
                  </a:lnTo>
                  <a:lnTo>
                    <a:pt x="1169" y="147"/>
                  </a:lnTo>
                  <a:lnTo>
                    <a:pt x="1176" y="154"/>
                  </a:lnTo>
                  <a:lnTo>
                    <a:pt x="1190" y="167"/>
                  </a:lnTo>
                  <a:lnTo>
                    <a:pt x="1197" y="174"/>
                  </a:lnTo>
                  <a:lnTo>
                    <a:pt x="1205" y="182"/>
                  </a:lnTo>
                  <a:lnTo>
                    <a:pt x="1211" y="189"/>
                  </a:lnTo>
                  <a:lnTo>
                    <a:pt x="1214" y="194"/>
                  </a:lnTo>
                  <a:lnTo>
                    <a:pt x="1217" y="199"/>
                  </a:lnTo>
                  <a:lnTo>
                    <a:pt x="1222" y="208"/>
                  </a:lnTo>
                  <a:lnTo>
                    <a:pt x="1225" y="213"/>
                  </a:lnTo>
                  <a:lnTo>
                    <a:pt x="1226" y="218"/>
                  </a:lnTo>
                  <a:lnTo>
                    <a:pt x="1228" y="224"/>
                  </a:lnTo>
                  <a:lnTo>
                    <a:pt x="1229" y="229"/>
                  </a:lnTo>
                  <a:lnTo>
                    <a:pt x="1229" y="236"/>
                  </a:lnTo>
                  <a:lnTo>
                    <a:pt x="1229" y="243"/>
                  </a:lnTo>
                  <a:lnTo>
                    <a:pt x="1229" y="251"/>
                  </a:lnTo>
                  <a:lnTo>
                    <a:pt x="1229" y="257"/>
                  </a:lnTo>
                  <a:lnTo>
                    <a:pt x="1227" y="264"/>
                  </a:lnTo>
                  <a:lnTo>
                    <a:pt x="1226" y="271"/>
                  </a:lnTo>
                  <a:lnTo>
                    <a:pt x="1224" y="276"/>
                  </a:lnTo>
                  <a:lnTo>
                    <a:pt x="1220" y="281"/>
                  </a:lnTo>
                  <a:lnTo>
                    <a:pt x="1217" y="287"/>
                  </a:lnTo>
                  <a:lnTo>
                    <a:pt x="1214" y="291"/>
                  </a:lnTo>
                  <a:lnTo>
                    <a:pt x="1210" y="294"/>
                  </a:lnTo>
                  <a:lnTo>
                    <a:pt x="1206" y="298"/>
                  </a:lnTo>
                  <a:lnTo>
                    <a:pt x="1200" y="300"/>
                  </a:lnTo>
                  <a:lnTo>
                    <a:pt x="1195" y="302"/>
                  </a:lnTo>
                  <a:lnTo>
                    <a:pt x="1190" y="305"/>
                  </a:lnTo>
                  <a:lnTo>
                    <a:pt x="1183" y="307"/>
                  </a:lnTo>
                  <a:lnTo>
                    <a:pt x="1177" y="307"/>
                  </a:lnTo>
                  <a:lnTo>
                    <a:pt x="1170" y="308"/>
                  </a:lnTo>
                  <a:lnTo>
                    <a:pt x="1162" y="307"/>
                  </a:lnTo>
                  <a:lnTo>
                    <a:pt x="1156" y="307"/>
                  </a:lnTo>
                  <a:lnTo>
                    <a:pt x="1150" y="305"/>
                  </a:lnTo>
                  <a:lnTo>
                    <a:pt x="1143" y="302"/>
                  </a:lnTo>
                  <a:lnTo>
                    <a:pt x="1138" y="300"/>
                  </a:lnTo>
                  <a:lnTo>
                    <a:pt x="1133" y="298"/>
                  </a:lnTo>
                  <a:lnTo>
                    <a:pt x="1128" y="294"/>
                  </a:lnTo>
                  <a:lnTo>
                    <a:pt x="1124" y="291"/>
                  </a:lnTo>
                  <a:lnTo>
                    <a:pt x="1121" y="287"/>
                  </a:lnTo>
                  <a:lnTo>
                    <a:pt x="1118" y="281"/>
                  </a:lnTo>
                  <a:lnTo>
                    <a:pt x="1116" y="276"/>
                  </a:lnTo>
                  <a:lnTo>
                    <a:pt x="1114" y="271"/>
                  </a:lnTo>
                  <a:lnTo>
                    <a:pt x="1111" y="264"/>
                  </a:lnTo>
                  <a:lnTo>
                    <a:pt x="1110" y="257"/>
                  </a:lnTo>
                  <a:lnTo>
                    <a:pt x="1109" y="251"/>
                  </a:lnTo>
                  <a:lnTo>
                    <a:pt x="1109" y="243"/>
                  </a:lnTo>
                  <a:lnTo>
                    <a:pt x="1109" y="227"/>
                  </a:lnTo>
                  <a:lnTo>
                    <a:pt x="1147" y="227"/>
                  </a:lnTo>
                  <a:lnTo>
                    <a:pt x="1147" y="245"/>
                  </a:lnTo>
                  <a:lnTo>
                    <a:pt x="1147" y="252"/>
                  </a:lnTo>
                  <a:lnTo>
                    <a:pt x="1148" y="257"/>
                  </a:lnTo>
                  <a:lnTo>
                    <a:pt x="1151" y="261"/>
                  </a:lnTo>
                  <a:lnTo>
                    <a:pt x="1153" y="264"/>
                  </a:lnTo>
                  <a:lnTo>
                    <a:pt x="1156" y="268"/>
                  </a:lnTo>
                  <a:lnTo>
                    <a:pt x="1160" y="269"/>
                  </a:lnTo>
                  <a:lnTo>
                    <a:pt x="1163" y="270"/>
                  </a:lnTo>
                  <a:lnTo>
                    <a:pt x="1169" y="271"/>
                  </a:lnTo>
                  <a:lnTo>
                    <a:pt x="1173" y="270"/>
                  </a:lnTo>
                  <a:lnTo>
                    <a:pt x="1177" y="269"/>
                  </a:lnTo>
                  <a:lnTo>
                    <a:pt x="1180" y="268"/>
                  </a:lnTo>
                  <a:lnTo>
                    <a:pt x="1183" y="264"/>
                  </a:lnTo>
                  <a:lnTo>
                    <a:pt x="1185" y="261"/>
                  </a:lnTo>
                  <a:lnTo>
                    <a:pt x="1188" y="257"/>
                  </a:lnTo>
                  <a:lnTo>
                    <a:pt x="1189" y="252"/>
                  </a:lnTo>
                  <a:lnTo>
                    <a:pt x="1189" y="245"/>
                  </a:lnTo>
                  <a:lnTo>
                    <a:pt x="1189" y="236"/>
                  </a:lnTo>
                  <a:lnTo>
                    <a:pt x="1188" y="232"/>
                  </a:lnTo>
                  <a:lnTo>
                    <a:pt x="1185" y="227"/>
                  </a:lnTo>
                  <a:lnTo>
                    <a:pt x="1182" y="220"/>
                  </a:lnTo>
                  <a:lnTo>
                    <a:pt x="1177" y="213"/>
                  </a:lnTo>
                  <a:lnTo>
                    <a:pt x="1171" y="205"/>
                  </a:lnTo>
                  <a:lnTo>
                    <a:pt x="1164" y="199"/>
                  </a:lnTo>
                  <a:lnTo>
                    <a:pt x="1150" y="185"/>
                  </a:lnTo>
                  <a:lnTo>
                    <a:pt x="1142" y="179"/>
                  </a:lnTo>
                  <a:lnTo>
                    <a:pt x="1136" y="171"/>
                  </a:lnTo>
                  <a:lnTo>
                    <a:pt x="1128" y="163"/>
                  </a:lnTo>
                  <a:lnTo>
                    <a:pt x="1126" y="159"/>
                  </a:lnTo>
                  <a:lnTo>
                    <a:pt x="1123" y="154"/>
                  </a:lnTo>
                  <a:lnTo>
                    <a:pt x="1118" y="145"/>
                  </a:lnTo>
                  <a:lnTo>
                    <a:pt x="1116" y="140"/>
                  </a:lnTo>
                  <a:lnTo>
                    <a:pt x="1114" y="134"/>
                  </a:lnTo>
                  <a:lnTo>
                    <a:pt x="1113" y="129"/>
                  </a:lnTo>
                  <a:lnTo>
                    <a:pt x="1111" y="123"/>
                  </a:lnTo>
                  <a:lnTo>
                    <a:pt x="1110" y="116"/>
                  </a:lnTo>
                  <a:lnTo>
                    <a:pt x="1110" y="110"/>
                  </a:lnTo>
                  <a:lnTo>
                    <a:pt x="1110" y="103"/>
                  </a:lnTo>
                  <a:lnTo>
                    <a:pt x="1111" y="95"/>
                  </a:lnTo>
                  <a:lnTo>
                    <a:pt x="1113" y="89"/>
                  </a:lnTo>
                  <a:lnTo>
                    <a:pt x="1115" y="82"/>
                  </a:lnTo>
                  <a:lnTo>
                    <a:pt x="1117" y="77"/>
                  </a:lnTo>
                  <a:lnTo>
                    <a:pt x="1119" y="72"/>
                  </a:lnTo>
                  <a:lnTo>
                    <a:pt x="1122" y="67"/>
                  </a:lnTo>
                  <a:lnTo>
                    <a:pt x="1125" y="62"/>
                  </a:lnTo>
                  <a:lnTo>
                    <a:pt x="1129" y="58"/>
                  </a:lnTo>
                  <a:lnTo>
                    <a:pt x="1134" y="55"/>
                  </a:lnTo>
                  <a:lnTo>
                    <a:pt x="1139" y="53"/>
                  </a:lnTo>
                  <a:lnTo>
                    <a:pt x="1144" y="50"/>
                  </a:lnTo>
                  <a:lnTo>
                    <a:pt x="1150" y="48"/>
                  </a:lnTo>
                  <a:lnTo>
                    <a:pt x="1156" y="47"/>
                  </a:lnTo>
                  <a:lnTo>
                    <a:pt x="1162" y="45"/>
                  </a:lnTo>
                  <a:lnTo>
                    <a:pt x="1170" y="45"/>
                  </a:lnTo>
                  <a:close/>
                  <a:moveTo>
                    <a:pt x="1037" y="49"/>
                  </a:moveTo>
                  <a:lnTo>
                    <a:pt x="1078" y="49"/>
                  </a:lnTo>
                  <a:lnTo>
                    <a:pt x="1078" y="305"/>
                  </a:lnTo>
                  <a:lnTo>
                    <a:pt x="1037" y="305"/>
                  </a:lnTo>
                  <a:lnTo>
                    <a:pt x="1037" y="49"/>
                  </a:lnTo>
                  <a:close/>
                  <a:moveTo>
                    <a:pt x="985" y="0"/>
                  </a:moveTo>
                  <a:lnTo>
                    <a:pt x="985" y="35"/>
                  </a:lnTo>
                  <a:lnTo>
                    <a:pt x="949" y="35"/>
                  </a:lnTo>
                  <a:lnTo>
                    <a:pt x="949" y="0"/>
                  </a:lnTo>
                  <a:lnTo>
                    <a:pt x="985" y="0"/>
                  </a:lnTo>
                  <a:close/>
                  <a:moveTo>
                    <a:pt x="918" y="223"/>
                  </a:moveTo>
                  <a:lnTo>
                    <a:pt x="956" y="223"/>
                  </a:lnTo>
                  <a:lnTo>
                    <a:pt x="937" y="94"/>
                  </a:lnTo>
                  <a:lnTo>
                    <a:pt x="918" y="223"/>
                  </a:lnTo>
                  <a:close/>
                  <a:moveTo>
                    <a:pt x="929" y="0"/>
                  </a:moveTo>
                  <a:lnTo>
                    <a:pt x="929" y="35"/>
                  </a:lnTo>
                  <a:lnTo>
                    <a:pt x="894" y="35"/>
                  </a:lnTo>
                  <a:lnTo>
                    <a:pt x="894" y="0"/>
                  </a:lnTo>
                  <a:lnTo>
                    <a:pt x="929" y="0"/>
                  </a:lnTo>
                  <a:close/>
                  <a:moveTo>
                    <a:pt x="1009" y="305"/>
                  </a:moveTo>
                  <a:lnTo>
                    <a:pt x="969" y="305"/>
                  </a:lnTo>
                  <a:lnTo>
                    <a:pt x="962" y="258"/>
                  </a:lnTo>
                  <a:lnTo>
                    <a:pt x="913" y="258"/>
                  </a:lnTo>
                  <a:lnTo>
                    <a:pt x="905" y="305"/>
                  </a:lnTo>
                  <a:lnTo>
                    <a:pt x="868" y="305"/>
                  </a:lnTo>
                  <a:lnTo>
                    <a:pt x="909" y="49"/>
                  </a:lnTo>
                  <a:lnTo>
                    <a:pt x="969" y="49"/>
                  </a:lnTo>
                  <a:lnTo>
                    <a:pt x="1009" y="305"/>
                  </a:lnTo>
                  <a:close/>
                  <a:moveTo>
                    <a:pt x="742" y="49"/>
                  </a:moveTo>
                  <a:lnTo>
                    <a:pt x="866" y="49"/>
                  </a:lnTo>
                  <a:lnTo>
                    <a:pt x="866" y="86"/>
                  </a:lnTo>
                  <a:lnTo>
                    <a:pt x="825" y="86"/>
                  </a:lnTo>
                  <a:lnTo>
                    <a:pt x="825" y="305"/>
                  </a:lnTo>
                  <a:lnTo>
                    <a:pt x="785" y="305"/>
                  </a:lnTo>
                  <a:lnTo>
                    <a:pt x="785" y="86"/>
                  </a:lnTo>
                  <a:lnTo>
                    <a:pt x="742" y="86"/>
                  </a:lnTo>
                  <a:lnTo>
                    <a:pt x="742" y="49"/>
                  </a:lnTo>
                  <a:close/>
                  <a:moveTo>
                    <a:pt x="603" y="49"/>
                  </a:moveTo>
                  <a:lnTo>
                    <a:pt x="728" y="49"/>
                  </a:lnTo>
                  <a:lnTo>
                    <a:pt x="728" y="86"/>
                  </a:lnTo>
                  <a:lnTo>
                    <a:pt x="685" y="86"/>
                  </a:lnTo>
                  <a:lnTo>
                    <a:pt x="685" y="305"/>
                  </a:lnTo>
                  <a:lnTo>
                    <a:pt x="645" y="305"/>
                  </a:lnTo>
                  <a:lnTo>
                    <a:pt x="645" y="86"/>
                  </a:lnTo>
                  <a:lnTo>
                    <a:pt x="603" y="86"/>
                  </a:lnTo>
                  <a:lnTo>
                    <a:pt x="603" y="49"/>
                  </a:lnTo>
                  <a:close/>
                  <a:moveTo>
                    <a:pt x="536" y="49"/>
                  </a:moveTo>
                  <a:lnTo>
                    <a:pt x="576" y="49"/>
                  </a:lnTo>
                  <a:lnTo>
                    <a:pt x="576" y="305"/>
                  </a:lnTo>
                  <a:lnTo>
                    <a:pt x="536" y="305"/>
                  </a:lnTo>
                  <a:lnTo>
                    <a:pt x="536" y="49"/>
                  </a:lnTo>
                  <a:close/>
                  <a:moveTo>
                    <a:pt x="441" y="257"/>
                  </a:moveTo>
                  <a:lnTo>
                    <a:pt x="472" y="49"/>
                  </a:lnTo>
                  <a:lnTo>
                    <a:pt x="509" y="49"/>
                  </a:lnTo>
                  <a:lnTo>
                    <a:pt x="468" y="305"/>
                  </a:lnTo>
                  <a:lnTo>
                    <a:pt x="409" y="305"/>
                  </a:lnTo>
                  <a:lnTo>
                    <a:pt x="370" y="49"/>
                  </a:lnTo>
                  <a:lnTo>
                    <a:pt x="410" y="49"/>
                  </a:lnTo>
                  <a:lnTo>
                    <a:pt x="441" y="257"/>
                  </a:lnTo>
                  <a:close/>
                  <a:moveTo>
                    <a:pt x="301" y="49"/>
                  </a:moveTo>
                  <a:lnTo>
                    <a:pt x="342" y="49"/>
                  </a:lnTo>
                  <a:lnTo>
                    <a:pt x="342" y="305"/>
                  </a:lnTo>
                  <a:lnTo>
                    <a:pt x="301" y="305"/>
                  </a:lnTo>
                  <a:lnTo>
                    <a:pt x="301" y="49"/>
                  </a:lnTo>
                  <a:close/>
                  <a:moveTo>
                    <a:pt x="249" y="0"/>
                  </a:moveTo>
                  <a:lnTo>
                    <a:pt x="249" y="35"/>
                  </a:lnTo>
                  <a:lnTo>
                    <a:pt x="214" y="35"/>
                  </a:lnTo>
                  <a:lnTo>
                    <a:pt x="214" y="0"/>
                  </a:lnTo>
                  <a:lnTo>
                    <a:pt x="249" y="0"/>
                  </a:lnTo>
                  <a:close/>
                  <a:moveTo>
                    <a:pt x="182" y="223"/>
                  </a:moveTo>
                  <a:lnTo>
                    <a:pt x="221" y="223"/>
                  </a:lnTo>
                  <a:lnTo>
                    <a:pt x="202" y="94"/>
                  </a:lnTo>
                  <a:lnTo>
                    <a:pt x="182" y="223"/>
                  </a:lnTo>
                  <a:close/>
                  <a:moveTo>
                    <a:pt x="194" y="0"/>
                  </a:moveTo>
                  <a:lnTo>
                    <a:pt x="194" y="35"/>
                  </a:lnTo>
                  <a:lnTo>
                    <a:pt x="158" y="35"/>
                  </a:lnTo>
                  <a:lnTo>
                    <a:pt x="158" y="0"/>
                  </a:lnTo>
                  <a:lnTo>
                    <a:pt x="194" y="0"/>
                  </a:lnTo>
                  <a:close/>
                  <a:moveTo>
                    <a:pt x="274" y="305"/>
                  </a:moveTo>
                  <a:lnTo>
                    <a:pt x="234" y="305"/>
                  </a:lnTo>
                  <a:lnTo>
                    <a:pt x="226" y="258"/>
                  </a:lnTo>
                  <a:lnTo>
                    <a:pt x="177" y="258"/>
                  </a:lnTo>
                  <a:lnTo>
                    <a:pt x="170" y="305"/>
                  </a:lnTo>
                  <a:lnTo>
                    <a:pt x="133" y="305"/>
                  </a:lnTo>
                  <a:lnTo>
                    <a:pt x="174" y="49"/>
                  </a:lnTo>
                  <a:lnTo>
                    <a:pt x="233" y="49"/>
                  </a:lnTo>
                  <a:lnTo>
                    <a:pt x="274" y="305"/>
                  </a:lnTo>
                  <a:close/>
                  <a:moveTo>
                    <a:pt x="40" y="86"/>
                  </a:moveTo>
                  <a:lnTo>
                    <a:pt x="40" y="171"/>
                  </a:lnTo>
                  <a:lnTo>
                    <a:pt x="59" y="171"/>
                  </a:lnTo>
                  <a:lnTo>
                    <a:pt x="63" y="171"/>
                  </a:lnTo>
                  <a:lnTo>
                    <a:pt x="68" y="170"/>
                  </a:lnTo>
                  <a:lnTo>
                    <a:pt x="71" y="169"/>
                  </a:lnTo>
                  <a:lnTo>
                    <a:pt x="74" y="166"/>
                  </a:lnTo>
                  <a:lnTo>
                    <a:pt x="76" y="163"/>
                  </a:lnTo>
                  <a:lnTo>
                    <a:pt x="77" y="159"/>
                  </a:lnTo>
                  <a:lnTo>
                    <a:pt x="78" y="154"/>
                  </a:lnTo>
                  <a:lnTo>
                    <a:pt x="78" y="148"/>
                  </a:lnTo>
                  <a:lnTo>
                    <a:pt x="78" y="109"/>
                  </a:lnTo>
                  <a:lnTo>
                    <a:pt x="78" y="103"/>
                  </a:lnTo>
                  <a:lnTo>
                    <a:pt x="77" y="97"/>
                  </a:lnTo>
                  <a:lnTo>
                    <a:pt x="76" y="94"/>
                  </a:lnTo>
                  <a:lnTo>
                    <a:pt x="74" y="90"/>
                  </a:lnTo>
                  <a:lnTo>
                    <a:pt x="72" y="89"/>
                  </a:lnTo>
                  <a:lnTo>
                    <a:pt x="71" y="88"/>
                  </a:lnTo>
                  <a:lnTo>
                    <a:pt x="69" y="87"/>
                  </a:lnTo>
                  <a:lnTo>
                    <a:pt x="68" y="87"/>
                  </a:lnTo>
                  <a:lnTo>
                    <a:pt x="63" y="86"/>
                  </a:lnTo>
                  <a:lnTo>
                    <a:pt x="59" y="86"/>
                  </a:lnTo>
                  <a:lnTo>
                    <a:pt x="40" y="86"/>
                  </a:lnTo>
                  <a:close/>
                  <a:moveTo>
                    <a:pt x="118" y="112"/>
                  </a:moveTo>
                  <a:lnTo>
                    <a:pt x="118" y="145"/>
                  </a:lnTo>
                  <a:lnTo>
                    <a:pt x="118" y="152"/>
                  </a:lnTo>
                  <a:lnTo>
                    <a:pt x="118" y="160"/>
                  </a:lnTo>
                  <a:lnTo>
                    <a:pt x="116" y="166"/>
                  </a:lnTo>
                  <a:lnTo>
                    <a:pt x="115" y="172"/>
                  </a:lnTo>
                  <a:lnTo>
                    <a:pt x="113" y="178"/>
                  </a:lnTo>
                  <a:lnTo>
                    <a:pt x="111" y="183"/>
                  </a:lnTo>
                  <a:lnTo>
                    <a:pt x="108" y="188"/>
                  </a:lnTo>
                  <a:lnTo>
                    <a:pt x="104" y="192"/>
                  </a:lnTo>
                  <a:lnTo>
                    <a:pt x="100" y="196"/>
                  </a:lnTo>
                  <a:lnTo>
                    <a:pt x="95" y="199"/>
                  </a:lnTo>
                  <a:lnTo>
                    <a:pt x="91" y="202"/>
                  </a:lnTo>
                  <a:lnTo>
                    <a:pt x="86" y="204"/>
                  </a:lnTo>
                  <a:lnTo>
                    <a:pt x="79" y="206"/>
                  </a:lnTo>
                  <a:lnTo>
                    <a:pt x="73" y="207"/>
                  </a:lnTo>
                  <a:lnTo>
                    <a:pt x="67" y="208"/>
                  </a:lnTo>
                  <a:lnTo>
                    <a:pt x="59" y="208"/>
                  </a:lnTo>
                  <a:lnTo>
                    <a:pt x="40" y="208"/>
                  </a:lnTo>
                  <a:lnTo>
                    <a:pt x="40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59" y="49"/>
                  </a:lnTo>
                  <a:lnTo>
                    <a:pt x="67" y="49"/>
                  </a:lnTo>
                  <a:lnTo>
                    <a:pt x="73" y="50"/>
                  </a:lnTo>
                  <a:lnTo>
                    <a:pt x="79" y="51"/>
                  </a:lnTo>
                  <a:lnTo>
                    <a:pt x="86" y="53"/>
                  </a:lnTo>
                  <a:lnTo>
                    <a:pt x="88" y="54"/>
                  </a:lnTo>
                  <a:lnTo>
                    <a:pt x="91" y="55"/>
                  </a:lnTo>
                  <a:lnTo>
                    <a:pt x="95" y="58"/>
                  </a:lnTo>
                  <a:lnTo>
                    <a:pt x="100" y="61"/>
                  </a:lnTo>
                  <a:lnTo>
                    <a:pt x="104" y="64"/>
                  </a:lnTo>
                  <a:lnTo>
                    <a:pt x="108" y="69"/>
                  </a:lnTo>
                  <a:lnTo>
                    <a:pt x="111" y="74"/>
                  </a:lnTo>
                  <a:lnTo>
                    <a:pt x="113" y="79"/>
                  </a:lnTo>
                  <a:lnTo>
                    <a:pt x="115" y="85"/>
                  </a:lnTo>
                  <a:lnTo>
                    <a:pt x="116" y="91"/>
                  </a:lnTo>
                  <a:lnTo>
                    <a:pt x="118" y="97"/>
                  </a:lnTo>
                  <a:lnTo>
                    <a:pt x="118" y="105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396264499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CEB4D5C-DF47-4ECC-9570-7AD28B5CA760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2"/>
            <p:cNvSpPr>
              <a:spLocks noEditPoints="1"/>
            </p:cNvSpPr>
            <p:nvPr userDrawn="1"/>
          </p:nvSpPr>
          <p:spPr bwMode="auto">
            <a:xfrm>
              <a:off x="8843371" y="6428428"/>
              <a:ext cx="2004515" cy="290400"/>
            </a:xfrm>
            <a:custGeom>
              <a:avLst/>
              <a:gdLst>
                <a:gd name="T0" fmla="*/ 2079 w 2127"/>
                <a:gd name="T1" fmla="*/ 258 h 308"/>
                <a:gd name="T2" fmla="*/ 1880 w 2127"/>
                <a:gd name="T3" fmla="*/ 86 h 308"/>
                <a:gd name="T4" fmla="*/ 1916 w 2127"/>
                <a:gd name="T5" fmla="*/ 154 h 308"/>
                <a:gd name="T6" fmla="*/ 1918 w 2127"/>
                <a:gd name="T7" fmla="*/ 97 h 308"/>
                <a:gd name="T8" fmla="*/ 1880 w 2127"/>
                <a:gd name="T9" fmla="*/ 86 h 308"/>
                <a:gd name="T10" fmla="*/ 1920 w 2127"/>
                <a:gd name="T11" fmla="*/ 224 h 308"/>
                <a:gd name="T12" fmla="*/ 1900 w 2127"/>
                <a:gd name="T13" fmla="*/ 201 h 308"/>
                <a:gd name="T14" fmla="*/ 1909 w 2127"/>
                <a:gd name="T15" fmla="*/ 49 h 308"/>
                <a:gd name="T16" fmla="*/ 1946 w 2127"/>
                <a:gd name="T17" fmla="*/ 63 h 308"/>
                <a:gd name="T18" fmla="*/ 1961 w 2127"/>
                <a:gd name="T19" fmla="*/ 100 h 308"/>
                <a:gd name="T20" fmla="*/ 1950 w 2127"/>
                <a:gd name="T21" fmla="*/ 166 h 308"/>
                <a:gd name="T22" fmla="*/ 1949 w 2127"/>
                <a:gd name="T23" fmla="*/ 190 h 308"/>
                <a:gd name="T24" fmla="*/ 1961 w 2127"/>
                <a:gd name="T25" fmla="*/ 273 h 308"/>
                <a:gd name="T26" fmla="*/ 1760 w 2127"/>
                <a:gd name="T27" fmla="*/ 223 h 308"/>
                <a:gd name="T28" fmla="*/ 1709 w 2127"/>
                <a:gd name="T29" fmla="*/ 305 h 308"/>
                <a:gd name="T30" fmla="*/ 1663 w 2127"/>
                <a:gd name="T31" fmla="*/ 49 h 308"/>
                <a:gd name="T32" fmla="*/ 1464 w 2127"/>
                <a:gd name="T33" fmla="*/ 223 h 308"/>
                <a:gd name="T34" fmla="*/ 1413 w 2127"/>
                <a:gd name="T35" fmla="*/ 305 h 308"/>
                <a:gd name="T36" fmla="*/ 1374 w 2127"/>
                <a:gd name="T37" fmla="*/ 86 h 308"/>
                <a:gd name="T38" fmla="*/ 1170 w 2127"/>
                <a:gd name="T39" fmla="*/ 45 h 308"/>
                <a:gd name="T40" fmla="*/ 1210 w 2127"/>
                <a:gd name="T41" fmla="*/ 58 h 308"/>
                <a:gd name="T42" fmla="*/ 1228 w 2127"/>
                <a:gd name="T43" fmla="*/ 95 h 308"/>
                <a:gd name="T44" fmla="*/ 1190 w 2127"/>
                <a:gd name="T45" fmla="*/ 96 h 308"/>
                <a:gd name="T46" fmla="*/ 1171 w 2127"/>
                <a:gd name="T47" fmla="*/ 82 h 308"/>
                <a:gd name="T48" fmla="*/ 1152 w 2127"/>
                <a:gd name="T49" fmla="*/ 96 h 308"/>
                <a:gd name="T50" fmla="*/ 1163 w 2127"/>
                <a:gd name="T51" fmla="*/ 141 h 308"/>
                <a:gd name="T52" fmla="*/ 1214 w 2127"/>
                <a:gd name="T53" fmla="*/ 194 h 308"/>
                <a:gd name="T54" fmla="*/ 1229 w 2127"/>
                <a:gd name="T55" fmla="*/ 236 h 308"/>
                <a:gd name="T56" fmla="*/ 1220 w 2127"/>
                <a:gd name="T57" fmla="*/ 281 h 308"/>
                <a:gd name="T58" fmla="*/ 1190 w 2127"/>
                <a:gd name="T59" fmla="*/ 305 h 308"/>
                <a:gd name="T60" fmla="*/ 1143 w 2127"/>
                <a:gd name="T61" fmla="*/ 302 h 308"/>
                <a:gd name="T62" fmla="*/ 1116 w 2127"/>
                <a:gd name="T63" fmla="*/ 276 h 308"/>
                <a:gd name="T64" fmla="*/ 1147 w 2127"/>
                <a:gd name="T65" fmla="*/ 227 h 308"/>
                <a:gd name="T66" fmla="*/ 1160 w 2127"/>
                <a:gd name="T67" fmla="*/ 269 h 308"/>
                <a:gd name="T68" fmla="*/ 1185 w 2127"/>
                <a:gd name="T69" fmla="*/ 261 h 308"/>
                <a:gd name="T70" fmla="*/ 1182 w 2127"/>
                <a:gd name="T71" fmla="*/ 220 h 308"/>
                <a:gd name="T72" fmla="*/ 1128 w 2127"/>
                <a:gd name="T73" fmla="*/ 163 h 308"/>
                <a:gd name="T74" fmla="*/ 1111 w 2127"/>
                <a:gd name="T75" fmla="*/ 123 h 308"/>
                <a:gd name="T76" fmla="*/ 1117 w 2127"/>
                <a:gd name="T77" fmla="*/ 77 h 308"/>
                <a:gd name="T78" fmla="*/ 1144 w 2127"/>
                <a:gd name="T79" fmla="*/ 50 h 308"/>
                <a:gd name="T80" fmla="*/ 1078 w 2127"/>
                <a:gd name="T81" fmla="*/ 305 h 308"/>
                <a:gd name="T82" fmla="*/ 985 w 2127"/>
                <a:gd name="T83" fmla="*/ 0 h 308"/>
                <a:gd name="T84" fmla="*/ 894 w 2127"/>
                <a:gd name="T85" fmla="*/ 35 h 308"/>
                <a:gd name="T86" fmla="*/ 905 w 2127"/>
                <a:gd name="T87" fmla="*/ 305 h 308"/>
                <a:gd name="T88" fmla="*/ 866 w 2127"/>
                <a:gd name="T89" fmla="*/ 86 h 308"/>
                <a:gd name="T90" fmla="*/ 603 w 2127"/>
                <a:gd name="T91" fmla="*/ 49 h 308"/>
                <a:gd name="T92" fmla="*/ 603 w 2127"/>
                <a:gd name="T93" fmla="*/ 86 h 308"/>
                <a:gd name="T94" fmla="*/ 441 w 2127"/>
                <a:gd name="T95" fmla="*/ 257 h 308"/>
                <a:gd name="T96" fmla="*/ 441 w 2127"/>
                <a:gd name="T97" fmla="*/ 257 h 308"/>
                <a:gd name="T98" fmla="*/ 249 w 2127"/>
                <a:gd name="T99" fmla="*/ 35 h 308"/>
                <a:gd name="T100" fmla="*/ 182 w 2127"/>
                <a:gd name="T101" fmla="*/ 223 h 308"/>
                <a:gd name="T102" fmla="*/ 234 w 2127"/>
                <a:gd name="T103" fmla="*/ 305 h 308"/>
                <a:gd name="T104" fmla="*/ 274 w 2127"/>
                <a:gd name="T105" fmla="*/ 305 h 308"/>
                <a:gd name="T106" fmla="*/ 74 w 2127"/>
                <a:gd name="T107" fmla="*/ 166 h 308"/>
                <a:gd name="T108" fmla="*/ 77 w 2127"/>
                <a:gd name="T109" fmla="*/ 97 h 308"/>
                <a:gd name="T110" fmla="*/ 63 w 2127"/>
                <a:gd name="T111" fmla="*/ 86 h 308"/>
                <a:gd name="T112" fmla="*/ 116 w 2127"/>
                <a:gd name="T113" fmla="*/ 166 h 308"/>
                <a:gd name="T114" fmla="*/ 95 w 2127"/>
                <a:gd name="T115" fmla="*/ 199 h 308"/>
                <a:gd name="T116" fmla="*/ 40 w 2127"/>
                <a:gd name="T117" fmla="*/ 208 h 308"/>
                <a:gd name="T118" fmla="*/ 79 w 2127"/>
                <a:gd name="T119" fmla="*/ 51 h 308"/>
                <a:gd name="T120" fmla="*/ 108 w 2127"/>
                <a:gd name="T121" fmla="*/ 69 h 308"/>
                <a:gd name="T122" fmla="*/ 118 w 2127"/>
                <a:gd name="T12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7" h="308">
                  <a:moveTo>
                    <a:pt x="2035" y="223"/>
                  </a:moveTo>
                  <a:lnTo>
                    <a:pt x="2074" y="223"/>
                  </a:lnTo>
                  <a:lnTo>
                    <a:pt x="2054" y="94"/>
                  </a:lnTo>
                  <a:lnTo>
                    <a:pt x="2035" y="223"/>
                  </a:lnTo>
                  <a:close/>
                  <a:moveTo>
                    <a:pt x="2127" y="305"/>
                  </a:moveTo>
                  <a:lnTo>
                    <a:pt x="2085" y="305"/>
                  </a:lnTo>
                  <a:lnTo>
                    <a:pt x="2079" y="258"/>
                  </a:lnTo>
                  <a:lnTo>
                    <a:pt x="2029" y="258"/>
                  </a:lnTo>
                  <a:lnTo>
                    <a:pt x="2023" y="305"/>
                  </a:lnTo>
                  <a:lnTo>
                    <a:pt x="1986" y="305"/>
                  </a:lnTo>
                  <a:lnTo>
                    <a:pt x="2026" y="49"/>
                  </a:lnTo>
                  <a:lnTo>
                    <a:pt x="2085" y="49"/>
                  </a:lnTo>
                  <a:lnTo>
                    <a:pt x="2127" y="305"/>
                  </a:lnTo>
                  <a:close/>
                  <a:moveTo>
                    <a:pt x="1880" y="86"/>
                  </a:moveTo>
                  <a:lnTo>
                    <a:pt x="1880" y="164"/>
                  </a:lnTo>
                  <a:lnTo>
                    <a:pt x="1896" y="164"/>
                  </a:lnTo>
                  <a:lnTo>
                    <a:pt x="1901" y="163"/>
                  </a:lnTo>
                  <a:lnTo>
                    <a:pt x="1907" y="163"/>
                  </a:lnTo>
                  <a:lnTo>
                    <a:pt x="1910" y="161"/>
                  </a:lnTo>
                  <a:lnTo>
                    <a:pt x="1914" y="158"/>
                  </a:lnTo>
                  <a:lnTo>
                    <a:pt x="1916" y="154"/>
                  </a:lnTo>
                  <a:lnTo>
                    <a:pt x="1918" y="149"/>
                  </a:lnTo>
                  <a:lnTo>
                    <a:pt x="1919" y="144"/>
                  </a:lnTo>
                  <a:lnTo>
                    <a:pt x="1920" y="136"/>
                  </a:lnTo>
                  <a:lnTo>
                    <a:pt x="1920" y="111"/>
                  </a:lnTo>
                  <a:lnTo>
                    <a:pt x="1920" y="105"/>
                  </a:lnTo>
                  <a:lnTo>
                    <a:pt x="1919" y="99"/>
                  </a:lnTo>
                  <a:lnTo>
                    <a:pt x="1918" y="97"/>
                  </a:lnTo>
                  <a:lnTo>
                    <a:pt x="1917" y="95"/>
                  </a:lnTo>
                  <a:lnTo>
                    <a:pt x="1915" y="91"/>
                  </a:lnTo>
                  <a:lnTo>
                    <a:pt x="1913" y="89"/>
                  </a:lnTo>
                  <a:lnTo>
                    <a:pt x="1909" y="87"/>
                  </a:lnTo>
                  <a:lnTo>
                    <a:pt x="1905" y="86"/>
                  </a:lnTo>
                  <a:lnTo>
                    <a:pt x="1899" y="86"/>
                  </a:lnTo>
                  <a:lnTo>
                    <a:pt x="1880" y="86"/>
                  </a:lnTo>
                  <a:close/>
                  <a:moveTo>
                    <a:pt x="1925" y="305"/>
                  </a:moveTo>
                  <a:lnTo>
                    <a:pt x="1923" y="299"/>
                  </a:lnTo>
                  <a:lnTo>
                    <a:pt x="1922" y="294"/>
                  </a:lnTo>
                  <a:lnTo>
                    <a:pt x="1920" y="286"/>
                  </a:lnTo>
                  <a:lnTo>
                    <a:pt x="1920" y="273"/>
                  </a:lnTo>
                  <a:lnTo>
                    <a:pt x="1920" y="233"/>
                  </a:lnTo>
                  <a:lnTo>
                    <a:pt x="1920" y="224"/>
                  </a:lnTo>
                  <a:lnTo>
                    <a:pt x="1919" y="218"/>
                  </a:lnTo>
                  <a:lnTo>
                    <a:pt x="1917" y="212"/>
                  </a:lnTo>
                  <a:lnTo>
                    <a:pt x="1914" y="207"/>
                  </a:lnTo>
                  <a:lnTo>
                    <a:pt x="1911" y="204"/>
                  </a:lnTo>
                  <a:lnTo>
                    <a:pt x="1909" y="203"/>
                  </a:lnTo>
                  <a:lnTo>
                    <a:pt x="1906" y="202"/>
                  </a:lnTo>
                  <a:lnTo>
                    <a:pt x="1900" y="201"/>
                  </a:lnTo>
                  <a:lnTo>
                    <a:pt x="1894" y="200"/>
                  </a:lnTo>
                  <a:lnTo>
                    <a:pt x="1880" y="200"/>
                  </a:lnTo>
                  <a:lnTo>
                    <a:pt x="1880" y="305"/>
                  </a:lnTo>
                  <a:lnTo>
                    <a:pt x="1840" y="305"/>
                  </a:lnTo>
                  <a:lnTo>
                    <a:pt x="1840" y="49"/>
                  </a:lnTo>
                  <a:lnTo>
                    <a:pt x="1901" y="49"/>
                  </a:lnTo>
                  <a:lnTo>
                    <a:pt x="1909" y="49"/>
                  </a:lnTo>
                  <a:lnTo>
                    <a:pt x="1915" y="50"/>
                  </a:lnTo>
                  <a:lnTo>
                    <a:pt x="1922" y="51"/>
                  </a:lnTo>
                  <a:lnTo>
                    <a:pt x="1928" y="52"/>
                  </a:lnTo>
                  <a:lnTo>
                    <a:pt x="1933" y="54"/>
                  </a:lnTo>
                  <a:lnTo>
                    <a:pt x="1938" y="57"/>
                  </a:lnTo>
                  <a:lnTo>
                    <a:pt x="1943" y="60"/>
                  </a:lnTo>
                  <a:lnTo>
                    <a:pt x="1946" y="63"/>
                  </a:lnTo>
                  <a:lnTo>
                    <a:pt x="1950" y="67"/>
                  </a:lnTo>
                  <a:lnTo>
                    <a:pt x="1952" y="72"/>
                  </a:lnTo>
                  <a:lnTo>
                    <a:pt x="1955" y="76"/>
                  </a:lnTo>
                  <a:lnTo>
                    <a:pt x="1957" y="81"/>
                  </a:lnTo>
                  <a:lnTo>
                    <a:pt x="1959" y="88"/>
                  </a:lnTo>
                  <a:lnTo>
                    <a:pt x="1960" y="93"/>
                  </a:lnTo>
                  <a:lnTo>
                    <a:pt x="1961" y="100"/>
                  </a:lnTo>
                  <a:lnTo>
                    <a:pt x="1961" y="108"/>
                  </a:lnTo>
                  <a:lnTo>
                    <a:pt x="1961" y="128"/>
                  </a:lnTo>
                  <a:lnTo>
                    <a:pt x="1960" y="137"/>
                  </a:lnTo>
                  <a:lnTo>
                    <a:pt x="1959" y="146"/>
                  </a:lnTo>
                  <a:lnTo>
                    <a:pt x="1956" y="153"/>
                  </a:lnTo>
                  <a:lnTo>
                    <a:pt x="1954" y="160"/>
                  </a:lnTo>
                  <a:lnTo>
                    <a:pt x="1950" y="166"/>
                  </a:lnTo>
                  <a:lnTo>
                    <a:pt x="1946" y="171"/>
                  </a:lnTo>
                  <a:lnTo>
                    <a:pt x="1941" y="176"/>
                  </a:lnTo>
                  <a:lnTo>
                    <a:pt x="1934" y="180"/>
                  </a:lnTo>
                  <a:lnTo>
                    <a:pt x="1941" y="183"/>
                  </a:lnTo>
                  <a:lnTo>
                    <a:pt x="1944" y="185"/>
                  </a:lnTo>
                  <a:lnTo>
                    <a:pt x="1947" y="187"/>
                  </a:lnTo>
                  <a:lnTo>
                    <a:pt x="1949" y="190"/>
                  </a:lnTo>
                  <a:lnTo>
                    <a:pt x="1951" y="194"/>
                  </a:lnTo>
                  <a:lnTo>
                    <a:pt x="1955" y="200"/>
                  </a:lnTo>
                  <a:lnTo>
                    <a:pt x="1957" y="207"/>
                  </a:lnTo>
                  <a:lnTo>
                    <a:pt x="1960" y="216"/>
                  </a:lnTo>
                  <a:lnTo>
                    <a:pt x="1961" y="224"/>
                  </a:lnTo>
                  <a:lnTo>
                    <a:pt x="1961" y="234"/>
                  </a:lnTo>
                  <a:lnTo>
                    <a:pt x="1961" y="273"/>
                  </a:lnTo>
                  <a:lnTo>
                    <a:pt x="1961" y="282"/>
                  </a:lnTo>
                  <a:lnTo>
                    <a:pt x="1962" y="290"/>
                  </a:lnTo>
                  <a:lnTo>
                    <a:pt x="1963" y="297"/>
                  </a:lnTo>
                  <a:lnTo>
                    <a:pt x="1965" y="305"/>
                  </a:lnTo>
                  <a:lnTo>
                    <a:pt x="1925" y="305"/>
                  </a:lnTo>
                  <a:close/>
                  <a:moveTo>
                    <a:pt x="1721" y="223"/>
                  </a:moveTo>
                  <a:lnTo>
                    <a:pt x="1760" y="223"/>
                  </a:lnTo>
                  <a:lnTo>
                    <a:pt x="1740" y="94"/>
                  </a:lnTo>
                  <a:lnTo>
                    <a:pt x="1721" y="223"/>
                  </a:lnTo>
                  <a:close/>
                  <a:moveTo>
                    <a:pt x="1813" y="305"/>
                  </a:moveTo>
                  <a:lnTo>
                    <a:pt x="1772" y="305"/>
                  </a:lnTo>
                  <a:lnTo>
                    <a:pt x="1765" y="258"/>
                  </a:lnTo>
                  <a:lnTo>
                    <a:pt x="1715" y="258"/>
                  </a:lnTo>
                  <a:lnTo>
                    <a:pt x="1709" y="305"/>
                  </a:lnTo>
                  <a:lnTo>
                    <a:pt x="1672" y="305"/>
                  </a:lnTo>
                  <a:lnTo>
                    <a:pt x="1713" y="49"/>
                  </a:lnTo>
                  <a:lnTo>
                    <a:pt x="1771" y="49"/>
                  </a:lnTo>
                  <a:lnTo>
                    <a:pt x="1813" y="305"/>
                  </a:lnTo>
                  <a:close/>
                  <a:moveTo>
                    <a:pt x="1596" y="257"/>
                  </a:moveTo>
                  <a:lnTo>
                    <a:pt x="1626" y="49"/>
                  </a:lnTo>
                  <a:lnTo>
                    <a:pt x="1663" y="49"/>
                  </a:lnTo>
                  <a:lnTo>
                    <a:pt x="1624" y="305"/>
                  </a:lnTo>
                  <a:lnTo>
                    <a:pt x="1564" y="305"/>
                  </a:lnTo>
                  <a:lnTo>
                    <a:pt x="1525" y="49"/>
                  </a:lnTo>
                  <a:lnTo>
                    <a:pt x="1565" y="49"/>
                  </a:lnTo>
                  <a:lnTo>
                    <a:pt x="1596" y="257"/>
                  </a:lnTo>
                  <a:close/>
                  <a:moveTo>
                    <a:pt x="1426" y="223"/>
                  </a:moveTo>
                  <a:lnTo>
                    <a:pt x="1464" y="223"/>
                  </a:lnTo>
                  <a:lnTo>
                    <a:pt x="1445" y="94"/>
                  </a:lnTo>
                  <a:lnTo>
                    <a:pt x="1426" y="223"/>
                  </a:lnTo>
                  <a:close/>
                  <a:moveTo>
                    <a:pt x="1516" y="305"/>
                  </a:moveTo>
                  <a:lnTo>
                    <a:pt x="1476" y="305"/>
                  </a:lnTo>
                  <a:lnTo>
                    <a:pt x="1469" y="258"/>
                  </a:lnTo>
                  <a:lnTo>
                    <a:pt x="1420" y="258"/>
                  </a:lnTo>
                  <a:lnTo>
                    <a:pt x="1413" y="305"/>
                  </a:lnTo>
                  <a:lnTo>
                    <a:pt x="1376" y="305"/>
                  </a:lnTo>
                  <a:lnTo>
                    <a:pt x="1417" y="49"/>
                  </a:lnTo>
                  <a:lnTo>
                    <a:pt x="1476" y="49"/>
                  </a:lnTo>
                  <a:lnTo>
                    <a:pt x="1516" y="305"/>
                  </a:lnTo>
                  <a:close/>
                  <a:moveTo>
                    <a:pt x="1250" y="49"/>
                  </a:moveTo>
                  <a:lnTo>
                    <a:pt x="1374" y="49"/>
                  </a:lnTo>
                  <a:lnTo>
                    <a:pt x="1374" y="86"/>
                  </a:lnTo>
                  <a:lnTo>
                    <a:pt x="1332" y="86"/>
                  </a:lnTo>
                  <a:lnTo>
                    <a:pt x="1332" y="305"/>
                  </a:lnTo>
                  <a:lnTo>
                    <a:pt x="1292" y="305"/>
                  </a:lnTo>
                  <a:lnTo>
                    <a:pt x="1292" y="86"/>
                  </a:lnTo>
                  <a:lnTo>
                    <a:pt x="1250" y="86"/>
                  </a:lnTo>
                  <a:lnTo>
                    <a:pt x="1250" y="49"/>
                  </a:lnTo>
                  <a:close/>
                  <a:moveTo>
                    <a:pt x="1170" y="45"/>
                  </a:moveTo>
                  <a:lnTo>
                    <a:pt x="1177" y="45"/>
                  </a:lnTo>
                  <a:lnTo>
                    <a:pt x="1183" y="47"/>
                  </a:lnTo>
                  <a:lnTo>
                    <a:pt x="1190" y="48"/>
                  </a:lnTo>
                  <a:lnTo>
                    <a:pt x="1195" y="50"/>
                  </a:lnTo>
                  <a:lnTo>
                    <a:pt x="1201" y="53"/>
                  </a:lnTo>
                  <a:lnTo>
                    <a:pt x="1206" y="55"/>
                  </a:lnTo>
                  <a:lnTo>
                    <a:pt x="1210" y="58"/>
                  </a:lnTo>
                  <a:lnTo>
                    <a:pt x="1214" y="62"/>
                  </a:lnTo>
                  <a:lnTo>
                    <a:pt x="1217" y="67"/>
                  </a:lnTo>
                  <a:lnTo>
                    <a:pt x="1220" y="72"/>
                  </a:lnTo>
                  <a:lnTo>
                    <a:pt x="1224" y="77"/>
                  </a:lnTo>
                  <a:lnTo>
                    <a:pt x="1226" y="82"/>
                  </a:lnTo>
                  <a:lnTo>
                    <a:pt x="1227" y="89"/>
                  </a:lnTo>
                  <a:lnTo>
                    <a:pt x="1228" y="95"/>
                  </a:lnTo>
                  <a:lnTo>
                    <a:pt x="1229" y="103"/>
                  </a:lnTo>
                  <a:lnTo>
                    <a:pt x="1229" y="110"/>
                  </a:lnTo>
                  <a:lnTo>
                    <a:pt x="1229" y="118"/>
                  </a:lnTo>
                  <a:lnTo>
                    <a:pt x="1191" y="118"/>
                  </a:lnTo>
                  <a:lnTo>
                    <a:pt x="1191" y="108"/>
                  </a:lnTo>
                  <a:lnTo>
                    <a:pt x="1191" y="102"/>
                  </a:lnTo>
                  <a:lnTo>
                    <a:pt x="1190" y="96"/>
                  </a:lnTo>
                  <a:lnTo>
                    <a:pt x="1188" y="91"/>
                  </a:lnTo>
                  <a:lnTo>
                    <a:pt x="1187" y="90"/>
                  </a:lnTo>
                  <a:lnTo>
                    <a:pt x="1185" y="88"/>
                  </a:lnTo>
                  <a:lnTo>
                    <a:pt x="1183" y="86"/>
                  </a:lnTo>
                  <a:lnTo>
                    <a:pt x="1179" y="84"/>
                  </a:lnTo>
                  <a:lnTo>
                    <a:pt x="1175" y="82"/>
                  </a:lnTo>
                  <a:lnTo>
                    <a:pt x="1171" y="82"/>
                  </a:lnTo>
                  <a:lnTo>
                    <a:pt x="1166" y="82"/>
                  </a:lnTo>
                  <a:lnTo>
                    <a:pt x="1162" y="84"/>
                  </a:lnTo>
                  <a:lnTo>
                    <a:pt x="1159" y="86"/>
                  </a:lnTo>
                  <a:lnTo>
                    <a:pt x="1156" y="88"/>
                  </a:lnTo>
                  <a:lnTo>
                    <a:pt x="1154" y="91"/>
                  </a:lnTo>
                  <a:lnTo>
                    <a:pt x="1153" y="93"/>
                  </a:lnTo>
                  <a:lnTo>
                    <a:pt x="1152" y="96"/>
                  </a:lnTo>
                  <a:lnTo>
                    <a:pt x="1152" y="102"/>
                  </a:lnTo>
                  <a:lnTo>
                    <a:pt x="1151" y="108"/>
                  </a:lnTo>
                  <a:lnTo>
                    <a:pt x="1152" y="116"/>
                  </a:lnTo>
                  <a:lnTo>
                    <a:pt x="1153" y="122"/>
                  </a:lnTo>
                  <a:lnTo>
                    <a:pt x="1154" y="126"/>
                  </a:lnTo>
                  <a:lnTo>
                    <a:pt x="1158" y="133"/>
                  </a:lnTo>
                  <a:lnTo>
                    <a:pt x="1163" y="141"/>
                  </a:lnTo>
                  <a:lnTo>
                    <a:pt x="1169" y="147"/>
                  </a:lnTo>
                  <a:lnTo>
                    <a:pt x="1176" y="154"/>
                  </a:lnTo>
                  <a:lnTo>
                    <a:pt x="1190" y="167"/>
                  </a:lnTo>
                  <a:lnTo>
                    <a:pt x="1197" y="174"/>
                  </a:lnTo>
                  <a:lnTo>
                    <a:pt x="1205" y="182"/>
                  </a:lnTo>
                  <a:lnTo>
                    <a:pt x="1211" y="189"/>
                  </a:lnTo>
                  <a:lnTo>
                    <a:pt x="1214" y="194"/>
                  </a:lnTo>
                  <a:lnTo>
                    <a:pt x="1217" y="199"/>
                  </a:lnTo>
                  <a:lnTo>
                    <a:pt x="1222" y="208"/>
                  </a:lnTo>
                  <a:lnTo>
                    <a:pt x="1225" y="213"/>
                  </a:lnTo>
                  <a:lnTo>
                    <a:pt x="1226" y="218"/>
                  </a:lnTo>
                  <a:lnTo>
                    <a:pt x="1228" y="224"/>
                  </a:lnTo>
                  <a:lnTo>
                    <a:pt x="1229" y="229"/>
                  </a:lnTo>
                  <a:lnTo>
                    <a:pt x="1229" y="236"/>
                  </a:lnTo>
                  <a:lnTo>
                    <a:pt x="1229" y="243"/>
                  </a:lnTo>
                  <a:lnTo>
                    <a:pt x="1229" y="251"/>
                  </a:lnTo>
                  <a:lnTo>
                    <a:pt x="1229" y="257"/>
                  </a:lnTo>
                  <a:lnTo>
                    <a:pt x="1227" y="264"/>
                  </a:lnTo>
                  <a:lnTo>
                    <a:pt x="1226" y="271"/>
                  </a:lnTo>
                  <a:lnTo>
                    <a:pt x="1224" y="276"/>
                  </a:lnTo>
                  <a:lnTo>
                    <a:pt x="1220" y="281"/>
                  </a:lnTo>
                  <a:lnTo>
                    <a:pt x="1217" y="287"/>
                  </a:lnTo>
                  <a:lnTo>
                    <a:pt x="1214" y="291"/>
                  </a:lnTo>
                  <a:lnTo>
                    <a:pt x="1210" y="294"/>
                  </a:lnTo>
                  <a:lnTo>
                    <a:pt x="1206" y="298"/>
                  </a:lnTo>
                  <a:lnTo>
                    <a:pt x="1200" y="300"/>
                  </a:lnTo>
                  <a:lnTo>
                    <a:pt x="1195" y="302"/>
                  </a:lnTo>
                  <a:lnTo>
                    <a:pt x="1190" y="305"/>
                  </a:lnTo>
                  <a:lnTo>
                    <a:pt x="1183" y="307"/>
                  </a:lnTo>
                  <a:lnTo>
                    <a:pt x="1177" y="307"/>
                  </a:lnTo>
                  <a:lnTo>
                    <a:pt x="1170" y="308"/>
                  </a:lnTo>
                  <a:lnTo>
                    <a:pt x="1162" y="307"/>
                  </a:lnTo>
                  <a:lnTo>
                    <a:pt x="1156" y="307"/>
                  </a:lnTo>
                  <a:lnTo>
                    <a:pt x="1150" y="305"/>
                  </a:lnTo>
                  <a:lnTo>
                    <a:pt x="1143" y="302"/>
                  </a:lnTo>
                  <a:lnTo>
                    <a:pt x="1138" y="300"/>
                  </a:lnTo>
                  <a:lnTo>
                    <a:pt x="1133" y="298"/>
                  </a:lnTo>
                  <a:lnTo>
                    <a:pt x="1128" y="294"/>
                  </a:lnTo>
                  <a:lnTo>
                    <a:pt x="1124" y="291"/>
                  </a:lnTo>
                  <a:lnTo>
                    <a:pt x="1121" y="287"/>
                  </a:lnTo>
                  <a:lnTo>
                    <a:pt x="1118" y="281"/>
                  </a:lnTo>
                  <a:lnTo>
                    <a:pt x="1116" y="276"/>
                  </a:lnTo>
                  <a:lnTo>
                    <a:pt x="1114" y="271"/>
                  </a:lnTo>
                  <a:lnTo>
                    <a:pt x="1111" y="264"/>
                  </a:lnTo>
                  <a:lnTo>
                    <a:pt x="1110" y="257"/>
                  </a:lnTo>
                  <a:lnTo>
                    <a:pt x="1109" y="251"/>
                  </a:lnTo>
                  <a:lnTo>
                    <a:pt x="1109" y="243"/>
                  </a:lnTo>
                  <a:lnTo>
                    <a:pt x="1109" y="227"/>
                  </a:lnTo>
                  <a:lnTo>
                    <a:pt x="1147" y="227"/>
                  </a:lnTo>
                  <a:lnTo>
                    <a:pt x="1147" y="245"/>
                  </a:lnTo>
                  <a:lnTo>
                    <a:pt x="1147" y="252"/>
                  </a:lnTo>
                  <a:lnTo>
                    <a:pt x="1148" y="257"/>
                  </a:lnTo>
                  <a:lnTo>
                    <a:pt x="1151" y="261"/>
                  </a:lnTo>
                  <a:lnTo>
                    <a:pt x="1153" y="264"/>
                  </a:lnTo>
                  <a:lnTo>
                    <a:pt x="1156" y="268"/>
                  </a:lnTo>
                  <a:lnTo>
                    <a:pt x="1160" y="269"/>
                  </a:lnTo>
                  <a:lnTo>
                    <a:pt x="1163" y="270"/>
                  </a:lnTo>
                  <a:lnTo>
                    <a:pt x="1169" y="271"/>
                  </a:lnTo>
                  <a:lnTo>
                    <a:pt x="1173" y="270"/>
                  </a:lnTo>
                  <a:lnTo>
                    <a:pt x="1177" y="269"/>
                  </a:lnTo>
                  <a:lnTo>
                    <a:pt x="1180" y="268"/>
                  </a:lnTo>
                  <a:lnTo>
                    <a:pt x="1183" y="264"/>
                  </a:lnTo>
                  <a:lnTo>
                    <a:pt x="1185" y="261"/>
                  </a:lnTo>
                  <a:lnTo>
                    <a:pt x="1188" y="257"/>
                  </a:lnTo>
                  <a:lnTo>
                    <a:pt x="1189" y="252"/>
                  </a:lnTo>
                  <a:lnTo>
                    <a:pt x="1189" y="245"/>
                  </a:lnTo>
                  <a:lnTo>
                    <a:pt x="1189" y="236"/>
                  </a:lnTo>
                  <a:lnTo>
                    <a:pt x="1188" y="232"/>
                  </a:lnTo>
                  <a:lnTo>
                    <a:pt x="1185" y="227"/>
                  </a:lnTo>
                  <a:lnTo>
                    <a:pt x="1182" y="220"/>
                  </a:lnTo>
                  <a:lnTo>
                    <a:pt x="1177" y="213"/>
                  </a:lnTo>
                  <a:lnTo>
                    <a:pt x="1171" y="205"/>
                  </a:lnTo>
                  <a:lnTo>
                    <a:pt x="1164" y="199"/>
                  </a:lnTo>
                  <a:lnTo>
                    <a:pt x="1150" y="185"/>
                  </a:lnTo>
                  <a:lnTo>
                    <a:pt x="1142" y="179"/>
                  </a:lnTo>
                  <a:lnTo>
                    <a:pt x="1136" y="171"/>
                  </a:lnTo>
                  <a:lnTo>
                    <a:pt x="1128" y="163"/>
                  </a:lnTo>
                  <a:lnTo>
                    <a:pt x="1126" y="159"/>
                  </a:lnTo>
                  <a:lnTo>
                    <a:pt x="1123" y="154"/>
                  </a:lnTo>
                  <a:lnTo>
                    <a:pt x="1118" y="145"/>
                  </a:lnTo>
                  <a:lnTo>
                    <a:pt x="1116" y="140"/>
                  </a:lnTo>
                  <a:lnTo>
                    <a:pt x="1114" y="134"/>
                  </a:lnTo>
                  <a:lnTo>
                    <a:pt x="1113" y="129"/>
                  </a:lnTo>
                  <a:lnTo>
                    <a:pt x="1111" y="123"/>
                  </a:lnTo>
                  <a:lnTo>
                    <a:pt x="1110" y="116"/>
                  </a:lnTo>
                  <a:lnTo>
                    <a:pt x="1110" y="110"/>
                  </a:lnTo>
                  <a:lnTo>
                    <a:pt x="1110" y="103"/>
                  </a:lnTo>
                  <a:lnTo>
                    <a:pt x="1111" y="95"/>
                  </a:lnTo>
                  <a:lnTo>
                    <a:pt x="1113" y="89"/>
                  </a:lnTo>
                  <a:lnTo>
                    <a:pt x="1115" y="82"/>
                  </a:lnTo>
                  <a:lnTo>
                    <a:pt x="1117" y="77"/>
                  </a:lnTo>
                  <a:lnTo>
                    <a:pt x="1119" y="72"/>
                  </a:lnTo>
                  <a:lnTo>
                    <a:pt x="1122" y="67"/>
                  </a:lnTo>
                  <a:lnTo>
                    <a:pt x="1125" y="62"/>
                  </a:lnTo>
                  <a:lnTo>
                    <a:pt x="1129" y="58"/>
                  </a:lnTo>
                  <a:lnTo>
                    <a:pt x="1134" y="55"/>
                  </a:lnTo>
                  <a:lnTo>
                    <a:pt x="1139" y="53"/>
                  </a:lnTo>
                  <a:lnTo>
                    <a:pt x="1144" y="50"/>
                  </a:lnTo>
                  <a:lnTo>
                    <a:pt x="1150" y="48"/>
                  </a:lnTo>
                  <a:lnTo>
                    <a:pt x="1156" y="47"/>
                  </a:lnTo>
                  <a:lnTo>
                    <a:pt x="1162" y="45"/>
                  </a:lnTo>
                  <a:lnTo>
                    <a:pt x="1170" y="45"/>
                  </a:lnTo>
                  <a:close/>
                  <a:moveTo>
                    <a:pt x="1037" y="49"/>
                  </a:moveTo>
                  <a:lnTo>
                    <a:pt x="1078" y="49"/>
                  </a:lnTo>
                  <a:lnTo>
                    <a:pt x="1078" y="305"/>
                  </a:lnTo>
                  <a:lnTo>
                    <a:pt x="1037" y="305"/>
                  </a:lnTo>
                  <a:lnTo>
                    <a:pt x="1037" y="49"/>
                  </a:lnTo>
                  <a:close/>
                  <a:moveTo>
                    <a:pt x="985" y="0"/>
                  </a:moveTo>
                  <a:lnTo>
                    <a:pt x="985" y="35"/>
                  </a:lnTo>
                  <a:lnTo>
                    <a:pt x="949" y="35"/>
                  </a:lnTo>
                  <a:lnTo>
                    <a:pt x="949" y="0"/>
                  </a:lnTo>
                  <a:lnTo>
                    <a:pt x="985" y="0"/>
                  </a:lnTo>
                  <a:close/>
                  <a:moveTo>
                    <a:pt x="918" y="223"/>
                  </a:moveTo>
                  <a:lnTo>
                    <a:pt x="956" y="223"/>
                  </a:lnTo>
                  <a:lnTo>
                    <a:pt x="937" y="94"/>
                  </a:lnTo>
                  <a:lnTo>
                    <a:pt x="918" y="223"/>
                  </a:lnTo>
                  <a:close/>
                  <a:moveTo>
                    <a:pt x="929" y="0"/>
                  </a:moveTo>
                  <a:lnTo>
                    <a:pt x="929" y="35"/>
                  </a:lnTo>
                  <a:lnTo>
                    <a:pt x="894" y="35"/>
                  </a:lnTo>
                  <a:lnTo>
                    <a:pt x="894" y="0"/>
                  </a:lnTo>
                  <a:lnTo>
                    <a:pt x="929" y="0"/>
                  </a:lnTo>
                  <a:close/>
                  <a:moveTo>
                    <a:pt x="1009" y="305"/>
                  </a:moveTo>
                  <a:lnTo>
                    <a:pt x="969" y="305"/>
                  </a:lnTo>
                  <a:lnTo>
                    <a:pt x="962" y="258"/>
                  </a:lnTo>
                  <a:lnTo>
                    <a:pt x="913" y="258"/>
                  </a:lnTo>
                  <a:lnTo>
                    <a:pt x="905" y="305"/>
                  </a:lnTo>
                  <a:lnTo>
                    <a:pt x="868" y="305"/>
                  </a:lnTo>
                  <a:lnTo>
                    <a:pt x="909" y="49"/>
                  </a:lnTo>
                  <a:lnTo>
                    <a:pt x="969" y="49"/>
                  </a:lnTo>
                  <a:lnTo>
                    <a:pt x="1009" y="305"/>
                  </a:lnTo>
                  <a:close/>
                  <a:moveTo>
                    <a:pt x="742" y="49"/>
                  </a:moveTo>
                  <a:lnTo>
                    <a:pt x="866" y="49"/>
                  </a:lnTo>
                  <a:lnTo>
                    <a:pt x="866" y="86"/>
                  </a:lnTo>
                  <a:lnTo>
                    <a:pt x="825" y="86"/>
                  </a:lnTo>
                  <a:lnTo>
                    <a:pt x="825" y="305"/>
                  </a:lnTo>
                  <a:lnTo>
                    <a:pt x="785" y="305"/>
                  </a:lnTo>
                  <a:lnTo>
                    <a:pt x="785" y="86"/>
                  </a:lnTo>
                  <a:lnTo>
                    <a:pt x="742" y="86"/>
                  </a:lnTo>
                  <a:lnTo>
                    <a:pt x="742" y="49"/>
                  </a:lnTo>
                  <a:close/>
                  <a:moveTo>
                    <a:pt x="603" y="49"/>
                  </a:moveTo>
                  <a:lnTo>
                    <a:pt x="728" y="49"/>
                  </a:lnTo>
                  <a:lnTo>
                    <a:pt x="728" y="86"/>
                  </a:lnTo>
                  <a:lnTo>
                    <a:pt x="685" y="86"/>
                  </a:lnTo>
                  <a:lnTo>
                    <a:pt x="685" y="305"/>
                  </a:lnTo>
                  <a:lnTo>
                    <a:pt x="645" y="305"/>
                  </a:lnTo>
                  <a:lnTo>
                    <a:pt x="645" y="86"/>
                  </a:lnTo>
                  <a:lnTo>
                    <a:pt x="603" y="86"/>
                  </a:lnTo>
                  <a:lnTo>
                    <a:pt x="603" y="49"/>
                  </a:lnTo>
                  <a:close/>
                  <a:moveTo>
                    <a:pt x="536" y="49"/>
                  </a:moveTo>
                  <a:lnTo>
                    <a:pt x="576" y="49"/>
                  </a:lnTo>
                  <a:lnTo>
                    <a:pt x="576" y="305"/>
                  </a:lnTo>
                  <a:lnTo>
                    <a:pt x="536" y="305"/>
                  </a:lnTo>
                  <a:lnTo>
                    <a:pt x="536" y="49"/>
                  </a:lnTo>
                  <a:close/>
                  <a:moveTo>
                    <a:pt x="441" y="257"/>
                  </a:moveTo>
                  <a:lnTo>
                    <a:pt x="472" y="49"/>
                  </a:lnTo>
                  <a:lnTo>
                    <a:pt x="509" y="49"/>
                  </a:lnTo>
                  <a:lnTo>
                    <a:pt x="468" y="305"/>
                  </a:lnTo>
                  <a:lnTo>
                    <a:pt x="409" y="305"/>
                  </a:lnTo>
                  <a:lnTo>
                    <a:pt x="370" y="49"/>
                  </a:lnTo>
                  <a:lnTo>
                    <a:pt x="410" y="49"/>
                  </a:lnTo>
                  <a:lnTo>
                    <a:pt x="441" y="257"/>
                  </a:lnTo>
                  <a:close/>
                  <a:moveTo>
                    <a:pt x="301" y="49"/>
                  </a:moveTo>
                  <a:lnTo>
                    <a:pt x="342" y="49"/>
                  </a:lnTo>
                  <a:lnTo>
                    <a:pt x="342" y="305"/>
                  </a:lnTo>
                  <a:lnTo>
                    <a:pt x="301" y="305"/>
                  </a:lnTo>
                  <a:lnTo>
                    <a:pt x="301" y="49"/>
                  </a:lnTo>
                  <a:close/>
                  <a:moveTo>
                    <a:pt x="249" y="0"/>
                  </a:moveTo>
                  <a:lnTo>
                    <a:pt x="249" y="35"/>
                  </a:lnTo>
                  <a:lnTo>
                    <a:pt x="214" y="35"/>
                  </a:lnTo>
                  <a:lnTo>
                    <a:pt x="214" y="0"/>
                  </a:lnTo>
                  <a:lnTo>
                    <a:pt x="249" y="0"/>
                  </a:lnTo>
                  <a:close/>
                  <a:moveTo>
                    <a:pt x="182" y="223"/>
                  </a:moveTo>
                  <a:lnTo>
                    <a:pt x="221" y="223"/>
                  </a:lnTo>
                  <a:lnTo>
                    <a:pt x="202" y="94"/>
                  </a:lnTo>
                  <a:lnTo>
                    <a:pt x="182" y="223"/>
                  </a:lnTo>
                  <a:close/>
                  <a:moveTo>
                    <a:pt x="194" y="0"/>
                  </a:moveTo>
                  <a:lnTo>
                    <a:pt x="194" y="35"/>
                  </a:lnTo>
                  <a:lnTo>
                    <a:pt x="158" y="35"/>
                  </a:lnTo>
                  <a:lnTo>
                    <a:pt x="158" y="0"/>
                  </a:lnTo>
                  <a:lnTo>
                    <a:pt x="194" y="0"/>
                  </a:lnTo>
                  <a:close/>
                  <a:moveTo>
                    <a:pt x="274" y="305"/>
                  </a:moveTo>
                  <a:lnTo>
                    <a:pt x="234" y="305"/>
                  </a:lnTo>
                  <a:lnTo>
                    <a:pt x="226" y="258"/>
                  </a:lnTo>
                  <a:lnTo>
                    <a:pt x="177" y="258"/>
                  </a:lnTo>
                  <a:lnTo>
                    <a:pt x="170" y="305"/>
                  </a:lnTo>
                  <a:lnTo>
                    <a:pt x="133" y="305"/>
                  </a:lnTo>
                  <a:lnTo>
                    <a:pt x="174" y="49"/>
                  </a:lnTo>
                  <a:lnTo>
                    <a:pt x="233" y="49"/>
                  </a:lnTo>
                  <a:lnTo>
                    <a:pt x="274" y="305"/>
                  </a:lnTo>
                  <a:close/>
                  <a:moveTo>
                    <a:pt x="40" y="86"/>
                  </a:moveTo>
                  <a:lnTo>
                    <a:pt x="40" y="171"/>
                  </a:lnTo>
                  <a:lnTo>
                    <a:pt x="59" y="171"/>
                  </a:lnTo>
                  <a:lnTo>
                    <a:pt x="63" y="171"/>
                  </a:lnTo>
                  <a:lnTo>
                    <a:pt x="68" y="170"/>
                  </a:lnTo>
                  <a:lnTo>
                    <a:pt x="71" y="169"/>
                  </a:lnTo>
                  <a:lnTo>
                    <a:pt x="74" y="166"/>
                  </a:lnTo>
                  <a:lnTo>
                    <a:pt x="76" y="163"/>
                  </a:lnTo>
                  <a:lnTo>
                    <a:pt x="77" y="159"/>
                  </a:lnTo>
                  <a:lnTo>
                    <a:pt x="78" y="154"/>
                  </a:lnTo>
                  <a:lnTo>
                    <a:pt x="78" y="148"/>
                  </a:lnTo>
                  <a:lnTo>
                    <a:pt x="78" y="109"/>
                  </a:lnTo>
                  <a:lnTo>
                    <a:pt x="78" y="103"/>
                  </a:lnTo>
                  <a:lnTo>
                    <a:pt x="77" y="97"/>
                  </a:lnTo>
                  <a:lnTo>
                    <a:pt x="76" y="94"/>
                  </a:lnTo>
                  <a:lnTo>
                    <a:pt x="74" y="90"/>
                  </a:lnTo>
                  <a:lnTo>
                    <a:pt x="72" y="89"/>
                  </a:lnTo>
                  <a:lnTo>
                    <a:pt x="71" y="88"/>
                  </a:lnTo>
                  <a:lnTo>
                    <a:pt x="69" y="87"/>
                  </a:lnTo>
                  <a:lnTo>
                    <a:pt x="68" y="87"/>
                  </a:lnTo>
                  <a:lnTo>
                    <a:pt x="63" y="86"/>
                  </a:lnTo>
                  <a:lnTo>
                    <a:pt x="59" y="86"/>
                  </a:lnTo>
                  <a:lnTo>
                    <a:pt x="40" y="86"/>
                  </a:lnTo>
                  <a:close/>
                  <a:moveTo>
                    <a:pt x="118" y="112"/>
                  </a:moveTo>
                  <a:lnTo>
                    <a:pt x="118" y="145"/>
                  </a:lnTo>
                  <a:lnTo>
                    <a:pt x="118" y="152"/>
                  </a:lnTo>
                  <a:lnTo>
                    <a:pt x="118" y="160"/>
                  </a:lnTo>
                  <a:lnTo>
                    <a:pt x="116" y="166"/>
                  </a:lnTo>
                  <a:lnTo>
                    <a:pt x="115" y="172"/>
                  </a:lnTo>
                  <a:lnTo>
                    <a:pt x="113" y="178"/>
                  </a:lnTo>
                  <a:lnTo>
                    <a:pt x="111" y="183"/>
                  </a:lnTo>
                  <a:lnTo>
                    <a:pt x="108" y="188"/>
                  </a:lnTo>
                  <a:lnTo>
                    <a:pt x="104" y="192"/>
                  </a:lnTo>
                  <a:lnTo>
                    <a:pt x="100" y="196"/>
                  </a:lnTo>
                  <a:lnTo>
                    <a:pt x="95" y="199"/>
                  </a:lnTo>
                  <a:lnTo>
                    <a:pt x="91" y="202"/>
                  </a:lnTo>
                  <a:lnTo>
                    <a:pt x="86" y="204"/>
                  </a:lnTo>
                  <a:lnTo>
                    <a:pt x="79" y="206"/>
                  </a:lnTo>
                  <a:lnTo>
                    <a:pt x="73" y="207"/>
                  </a:lnTo>
                  <a:lnTo>
                    <a:pt x="67" y="208"/>
                  </a:lnTo>
                  <a:lnTo>
                    <a:pt x="59" y="208"/>
                  </a:lnTo>
                  <a:lnTo>
                    <a:pt x="40" y="208"/>
                  </a:lnTo>
                  <a:lnTo>
                    <a:pt x="40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59" y="49"/>
                  </a:lnTo>
                  <a:lnTo>
                    <a:pt x="67" y="49"/>
                  </a:lnTo>
                  <a:lnTo>
                    <a:pt x="73" y="50"/>
                  </a:lnTo>
                  <a:lnTo>
                    <a:pt x="79" y="51"/>
                  </a:lnTo>
                  <a:lnTo>
                    <a:pt x="86" y="53"/>
                  </a:lnTo>
                  <a:lnTo>
                    <a:pt x="88" y="54"/>
                  </a:lnTo>
                  <a:lnTo>
                    <a:pt x="91" y="55"/>
                  </a:lnTo>
                  <a:lnTo>
                    <a:pt x="95" y="58"/>
                  </a:lnTo>
                  <a:lnTo>
                    <a:pt x="100" y="61"/>
                  </a:lnTo>
                  <a:lnTo>
                    <a:pt x="104" y="64"/>
                  </a:lnTo>
                  <a:lnTo>
                    <a:pt x="108" y="69"/>
                  </a:lnTo>
                  <a:lnTo>
                    <a:pt x="111" y="74"/>
                  </a:lnTo>
                  <a:lnTo>
                    <a:pt x="113" y="79"/>
                  </a:lnTo>
                  <a:lnTo>
                    <a:pt x="115" y="85"/>
                  </a:lnTo>
                  <a:lnTo>
                    <a:pt x="116" y="91"/>
                  </a:lnTo>
                  <a:lnTo>
                    <a:pt x="118" y="97"/>
                  </a:lnTo>
                  <a:lnTo>
                    <a:pt x="118" y="105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658813122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B80C01ED-AA46-4CB3-BC62-548B628C2D8F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740587062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24028-C322-4977-A4B5-E5BA25863D30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656364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D82F41-2C20-4BDB-AC97-C4757E5BFDDE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1291" y="5301208"/>
            <a:ext cx="937041" cy="934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0323769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75F4A-483B-4FDF-8C39-7219B3145E57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5251079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96CE9A-F1F3-4519-AAD5-F2E331A46D1E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62422156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76B848-E8D4-4E63-8250-D31A3B4F99F1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64101590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584A5-A18D-48BB-AF07-1630B57DB0F3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54942410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65DE970F-077A-478B-A153-497847BFBAC6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22"/>
            <p:cNvSpPr>
              <a:spLocks noEditPoints="1"/>
            </p:cNvSpPr>
            <p:nvPr userDrawn="1"/>
          </p:nvSpPr>
          <p:spPr bwMode="auto">
            <a:xfrm>
              <a:off x="8843371" y="6428428"/>
              <a:ext cx="2004515" cy="290400"/>
            </a:xfrm>
            <a:custGeom>
              <a:avLst/>
              <a:gdLst>
                <a:gd name="T0" fmla="*/ 2079 w 2127"/>
                <a:gd name="T1" fmla="*/ 258 h 308"/>
                <a:gd name="T2" fmla="*/ 1880 w 2127"/>
                <a:gd name="T3" fmla="*/ 86 h 308"/>
                <a:gd name="T4" fmla="*/ 1916 w 2127"/>
                <a:gd name="T5" fmla="*/ 154 h 308"/>
                <a:gd name="T6" fmla="*/ 1918 w 2127"/>
                <a:gd name="T7" fmla="*/ 97 h 308"/>
                <a:gd name="T8" fmla="*/ 1880 w 2127"/>
                <a:gd name="T9" fmla="*/ 86 h 308"/>
                <a:gd name="T10" fmla="*/ 1920 w 2127"/>
                <a:gd name="T11" fmla="*/ 224 h 308"/>
                <a:gd name="T12" fmla="*/ 1900 w 2127"/>
                <a:gd name="T13" fmla="*/ 201 h 308"/>
                <a:gd name="T14" fmla="*/ 1909 w 2127"/>
                <a:gd name="T15" fmla="*/ 49 h 308"/>
                <a:gd name="T16" fmla="*/ 1946 w 2127"/>
                <a:gd name="T17" fmla="*/ 63 h 308"/>
                <a:gd name="T18" fmla="*/ 1961 w 2127"/>
                <a:gd name="T19" fmla="*/ 100 h 308"/>
                <a:gd name="T20" fmla="*/ 1950 w 2127"/>
                <a:gd name="T21" fmla="*/ 166 h 308"/>
                <a:gd name="T22" fmla="*/ 1949 w 2127"/>
                <a:gd name="T23" fmla="*/ 190 h 308"/>
                <a:gd name="T24" fmla="*/ 1961 w 2127"/>
                <a:gd name="T25" fmla="*/ 273 h 308"/>
                <a:gd name="T26" fmla="*/ 1760 w 2127"/>
                <a:gd name="T27" fmla="*/ 223 h 308"/>
                <a:gd name="T28" fmla="*/ 1709 w 2127"/>
                <a:gd name="T29" fmla="*/ 305 h 308"/>
                <a:gd name="T30" fmla="*/ 1663 w 2127"/>
                <a:gd name="T31" fmla="*/ 49 h 308"/>
                <a:gd name="T32" fmla="*/ 1464 w 2127"/>
                <a:gd name="T33" fmla="*/ 223 h 308"/>
                <a:gd name="T34" fmla="*/ 1413 w 2127"/>
                <a:gd name="T35" fmla="*/ 305 h 308"/>
                <a:gd name="T36" fmla="*/ 1374 w 2127"/>
                <a:gd name="T37" fmla="*/ 86 h 308"/>
                <a:gd name="T38" fmla="*/ 1170 w 2127"/>
                <a:gd name="T39" fmla="*/ 45 h 308"/>
                <a:gd name="T40" fmla="*/ 1210 w 2127"/>
                <a:gd name="T41" fmla="*/ 58 h 308"/>
                <a:gd name="T42" fmla="*/ 1228 w 2127"/>
                <a:gd name="T43" fmla="*/ 95 h 308"/>
                <a:gd name="T44" fmla="*/ 1190 w 2127"/>
                <a:gd name="T45" fmla="*/ 96 h 308"/>
                <a:gd name="T46" fmla="*/ 1171 w 2127"/>
                <a:gd name="T47" fmla="*/ 82 h 308"/>
                <a:gd name="T48" fmla="*/ 1152 w 2127"/>
                <a:gd name="T49" fmla="*/ 96 h 308"/>
                <a:gd name="T50" fmla="*/ 1163 w 2127"/>
                <a:gd name="T51" fmla="*/ 141 h 308"/>
                <a:gd name="T52" fmla="*/ 1214 w 2127"/>
                <a:gd name="T53" fmla="*/ 194 h 308"/>
                <a:gd name="T54" fmla="*/ 1229 w 2127"/>
                <a:gd name="T55" fmla="*/ 236 h 308"/>
                <a:gd name="T56" fmla="*/ 1220 w 2127"/>
                <a:gd name="T57" fmla="*/ 281 h 308"/>
                <a:gd name="T58" fmla="*/ 1190 w 2127"/>
                <a:gd name="T59" fmla="*/ 305 h 308"/>
                <a:gd name="T60" fmla="*/ 1143 w 2127"/>
                <a:gd name="T61" fmla="*/ 302 h 308"/>
                <a:gd name="T62" fmla="*/ 1116 w 2127"/>
                <a:gd name="T63" fmla="*/ 276 h 308"/>
                <a:gd name="T64" fmla="*/ 1147 w 2127"/>
                <a:gd name="T65" fmla="*/ 227 h 308"/>
                <a:gd name="T66" fmla="*/ 1160 w 2127"/>
                <a:gd name="T67" fmla="*/ 269 h 308"/>
                <a:gd name="T68" fmla="*/ 1185 w 2127"/>
                <a:gd name="T69" fmla="*/ 261 h 308"/>
                <a:gd name="T70" fmla="*/ 1182 w 2127"/>
                <a:gd name="T71" fmla="*/ 220 h 308"/>
                <a:gd name="T72" fmla="*/ 1128 w 2127"/>
                <a:gd name="T73" fmla="*/ 163 h 308"/>
                <a:gd name="T74" fmla="*/ 1111 w 2127"/>
                <a:gd name="T75" fmla="*/ 123 h 308"/>
                <a:gd name="T76" fmla="*/ 1117 w 2127"/>
                <a:gd name="T77" fmla="*/ 77 h 308"/>
                <a:gd name="T78" fmla="*/ 1144 w 2127"/>
                <a:gd name="T79" fmla="*/ 50 h 308"/>
                <a:gd name="T80" fmla="*/ 1078 w 2127"/>
                <a:gd name="T81" fmla="*/ 305 h 308"/>
                <a:gd name="T82" fmla="*/ 985 w 2127"/>
                <a:gd name="T83" fmla="*/ 0 h 308"/>
                <a:gd name="T84" fmla="*/ 894 w 2127"/>
                <a:gd name="T85" fmla="*/ 35 h 308"/>
                <a:gd name="T86" fmla="*/ 905 w 2127"/>
                <a:gd name="T87" fmla="*/ 305 h 308"/>
                <a:gd name="T88" fmla="*/ 866 w 2127"/>
                <a:gd name="T89" fmla="*/ 86 h 308"/>
                <a:gd name="T90" fmla="*/ 603 w 2127"/>
                <a:gd name="T91" fmla="*/ 49 h 308"/>
                <a:gd name="T92" fmla="*/ 603 w 2127"/>
                <a:gd name="T93" fmla="*/ 86 h 308"/>
                <a:gd name="T94" fmla="*/ 441 w 2127"/>
                <a:gd name="T95" fmla="*/ 257 h 308"/>
                <a:gd name="T96" fmla="*/ 441 w 2127"/>
                <a:gd name="T97" fmla="*/ 257 h 308"/>
                <a:gd name="T98" fmla="*/ 249 w 2127"/>
                <a:gd name="T99" fmla="*/ 35 h 308"/>
                <a:gd name="T100" fmla="*/ 182 w 2127"/>
                <a:gd name="T101" fmla="*/ 223 h 308"/>
                <a:gd name="T102" fmla="*/ 234 w 2127"/>
                <a:gd name="T103" fmla="*/ 305 h 308"/>
                <a:gd name="T104" fmla="*/ 274 w 2127"/>
                <a:gd name="T105" fmla="*/ 305 h 308"/>
                <a:gd name="T106" fmla="*/ 74 w 2127"/>
                <a:gd name="T107" fmla="*/ 166 h 308"/>
                <a:gd name="T108" fmla="*/ 77 w 2127"/>
                <a:gd name="T109" fmla="*/ 97 h 308"/>
                <a:gd name="T110" fmla="*/ 63 w 2127"/>
                <a:gd name="T111" fmla="*/ 86 h 308"/>
                <a:gd name="T112" fmla="*/ 116 w 2127"/>
                <a:gd name="T113" fmla="*/ 166 h 308"/>
                <a:gd name="T114" fmla="*/ 95 w 2127"/>
                <a:gd name="T115" fmla="*/ 199 h 308"/>
                <a:gd name="T116" fmla="*/ 40 w 2127"/>
                <a:gd name="T117" fmla="*/ 208 h 308"/>
                <a:gd name="T118" fmla="*/ 79 w 2127"/>
                <a:gd name="T119" fmla="*/ 51 h 308"/>
                <a:gd name="T120" fmla="*/ 108 w 2127"/>
                <a:gd name="T121" fmla="*/ 69 h 308"/>
                <a:gd name="T122" fmla="*/ 118 w 2127"/>
                <a:gd name="T12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7" h="308">
                  <a:moveTo>
                    <a:pt x="2035" y="223"/>
                  </a:moveTo>
                  <a:lnTo>
                    <a:pt x="2074" y="223"/>
                  </a:lnTo>
                  <a:lnTo>
                    <a:pt x="2054" y="94"/>
                  </a:lnTo>
                  <a:lnTo>
                    <a:pt x="2035" y="223"/>
                  </a:lnTo>
                  <a:close/>
                  <a:moveTo>
                    <a:pt x="2127" y="305"/>
                  </a:moveTo>
                  <a:lnTo>
                    <a:pt x="2085" y="305"/>
                  </a:lnTo>
                  <a:lnTo>
                    <a:pt x="2079" y="258"/>
                  </a:lnTo>
                  <a:lnTo>
                    <a:pt x="2029" y="258"/>
                  </a:lnTo>
                  <a:lnTo>
                    <a:pt x="2023" y="305"/>
                  </a:lnTo>
                  <a:lnTo>
                    <a:pt x="1986" y="305"/>
                  </a:lnTo>
                  <a:lnTo>
                    <a:pt x="2026" y="49"/>
                  </a:lnTo>
                  <a:lnTo>
                    <a:pt x="2085" y="49"/>
                  </a:lnTo>
                  <a:lnTo>
                    <a:pt x="2127" y="305"/>
                  </a:lnTo>
                  <a:close/>
                  <a:moveTo>
                    <a:pt x="1880" y="86"/>
                  </a:moveTo>
                  <a:lnTo>
                    <a:pt x="1880" y="164"/>
                  </a:lnTo>
                  <a:lnTo>
                    <a:pt x="1896" y="164"/>
                  </a:lnTo>
                  <a:lnTo>
                    <a:pt x="1901" y="163"/>
                  </a:lnTo>
                  <a:lnTo>
                    <a:pt x="1907" y="163"/>
                  </a:lnTo>
                  <a:lnTo>
                    <a:pt x="1910" y="161"/>
                  </a:lnTo>
                  <a:lnTo>
                    <a:pt x="1914" y="158"/>
                  </a:lnTo>
                  <a:lnTo>
                    <a:pt x="1916" y="154"/>
                  </a:lnTo>
                  <a:lnTo>
                    <a:pt x="1918" y="149"/>
                  </a:lnTo>
                  <a:lnTo>
                    <a:pt x="1919" y="144"/>
                  </a:lnTo>
                  <a:lnTo>
                    <a:pt x="1920" y="136"/>
                  </a:lnTo>
                  <a:lnTo>
                    <a:pt x="1920" y="111"/>
                  </a:lnTo>
                  <a:lnTo>
                    <a:pt x="1920" y="105"/>
                  </a:lnTo>
                  <a:lnTo>
                    <a:pt x="1919" y="99"/>
                  </a:lnTo>
                  <a:lnTo>
                    <a:pt x="1918" y="97"/>
                  </a:lnTo>
                  <a:lnTo>
                    <a:pt x="1917" y="95"/>
                  </a:lnTo>
                  <a:lnTo>
                    <a:pt x="1915" y="91"/>
                  </a:lnTo>
                  <a:lnTo>
                    <a:pt x="1913" y="89"/>
                  </a:lnTo>
                  <a:lnTo>
                    <a:pt x="1909" y="87"/>
                  </a:lnTo>
                  <a:lnTo>
                    <a:pt x="1905" y="86"/>
                  </a:lnTo>
                  <a:lnTo>
                    <a:pt x="1899" y="86"/>
                  </a:lnTo>
                  <a:lnTo>
                    <a:pt x="1880" y="86"/>
                  </a:lnTo>
                  <a:close/>
                  <a:moveTo>
                    <a:pt x="1925" y="305"/>
                  </a:moveTo>
                  <a:lnTo>
                    <a:pt x="1923" y="299"/>
                  </a:lnTo>
                  <a:lnTo>
                    <a:pt x="1922" y="294"/>
                  </a:lnTo>
                  <a:lnTo>
                    <a:pt x="1920" y="286"/>
                  </a:lnTo>
                  <a:lnTo>
                    <a:pt x="1920" y="273"/>
                  </a:lnTo>
                  <a:lnTo>
                    <a:pt x="1920" y="233"/>
                  </a:lnTo>
                  <a:lnTo>
                    <a:pt x="1920" y="224"/>
                  </a:lnTo>
                  <a:lnTo>
                    <a:pt x="1919" y="218"/>
                  </a:lnTo>
                  <a:lnTo>
                    <a:pt x="1917" y="212"/>
                  </a:lnTo>
                  <a:lnTo>
                    <a:pt x="1914" y="207"/>
                  </a:lnTo>
                  <a:lnTo>
                    <a:pt x="1911" y="204"/>
                  </a:lnTo>
                  <a:lnTo>
                    <a:pt x="1909" y="203"/>
                  </a:lnTo>
                  <a:lnTo>
                    <a:pt x="1906" y="202"/>
                  </a:lnTo>
                  <a:lnTo>
                    <a:pt x="1900" y="201"/>
                  </a:lnTo>
                  <a:lnTo>
                    <a:pt x="1894" y="200"/>
                  </a:lnTo>
                  <a:lnTo>
                    <a:pt x="1880" y="200"/>
                  </a:lnTo>
                  <a:lnTo>
                    <a:pt x="1880" y="305"/>
                  </a:lnTo>
                  <a:lnTo>
                    <a:pt x="1840" y="305"/>
                  </a:lnTo>
                  <a:lnTo>
                    <a:pt x="1840" y="49"/>
                  </a:lnTo>
                  <a:lnTo>
                    <a:pt x="1901" y="49"/>
                  </a:lnTo>
                  <a:lnTo>
                    <a:pt x="1909" y="49"/>
                  </a:lnTo>
                  <a:lnTo>
                    <a:pt x="1915" y="50"/>
                  </a:lnTo>
                  <a:lnTo>
                    <a:pt x="1922" y="51"/>
                  </a:lnTo>
                  <a:lnTo>
                    <a:pt x="1928" y="52"/>
                  </a:lnTo>
                  <a:lnTo>
                    <a:pt x="1933" y="54"/>
                  </a:lnTo>
                  <a:lnTo>
                    <a:pt x="1938" y="57"/>
                  </a:lnTo>
                  <a:lnTo>
                    <a:pt x="1943" y="60"/>
                  </a:lnTo>
                  <a:lnTo>
                    <a:pt x="1946" y="63"/>
                  </a:lnTo>
                  <a:lnTo>
                    <a:pt x="1950" y="67"/>
                  </a:lnTo>
                  <a:lnTo>
                    <a:pt x="1952" y="72"/>
                  </a:lnTo>
                  <a:lnTo>
                    <a:pt x="1955" y="76"/>
                  </a:lnTo>
                  <a:lnTo>
                    <a:pt x="1957" y="81"/>
                  </a:lnTo>
                  <a:lnTo>
                    <a:pt x="1959" y="88"/>
                  </a:lnTo>
                  <a:lnTo>
                    <a:pt x="1960" y="93"/>
                  </a:lnTo>
                  <a:lnTo>
                    <a:pt x="1961" y="100"/>
                  </a:lnTo>
                  <a:lnTo>
                    <a:pt x="1961" y="108"/>
                  </a:lnTo>
                  <a:lnTo>
                    <a:pt x="1961" y="128"/>
                  </a:lnTo>
                  <a:lnTo>
                    <a:pt x="1960" y="137"/>
                  </a:lnTo>
                  <a:lnTo>
                    <a:pt x="1959" y="146"/>
                  </a:lnTo>
                  <a:lnTo>
                    <a:pt x="1956" y="153"/>
                  </a:lnTo>
                  <a:lnTo>
                    <a:pt x="1954" y="160"/>
                  </a:lnTo>
                  <a:lnTo>
                    <a:pt x="1950" y="166"/>
                  </a:lnTo>
                  <a:lnTo>
                    <a:pt x="1946" y="171"/>
                  </a:lnTo>
                  <a:lnTo>
                    <a:pt x="1941" y="176"/>
                  </a:lnTo>
                  <a:lnTo>
                    <a:pt x="1934" y="180"/>
                  </a:lnTo>
                  <a:lnTo>
                    <a:pt x="1941" y="183"/>
                  </a:lnTo>
                  <a:lnTo>
                    <a:pt x="1944" y="185"/>
                  </a:lnTo>
                  <a:lnTo>
                    <a:pt x="1947" y="187"/>
                  </a:lnTo>
                  <a:lnTo>
                    <a:pt x="1949" y="190"/>
                  </a:lnTo>
                  <a:lnTo>
                    <a:pt x="1951" y="194"/>
                  </a:lnTo>
                  <a:lnTo>
                    <a:pt x="1955" y="200"/>
                  </a:lnTo>
                  <a:lnTo>
                    <a:pt x="1957" y="207"/>
                  </a:lnTo>
                  <a:lnTo>
                    <a:pt x="1960" y="216"/>
                  </a:lnTo>
                  <a:lnTo>
                    <a:pt x="1961" y="224"/>
                  </a:lnTo>
                  <a:lnTo>
                    <a:pt x="1961" y="234"/>
                  </a:lnTo>
                  <a:lnTo>
                    <a:pt x="1961" y="273"/>
                  </a:lnTo>
                  <a:lnTo>
                    <a:pt x="1961" y="282"/>
                  </a:lnTo>
                  <a:lnTo>
                    <a:pt x="1962" y="290"/>
                  </a:lnTo>
                  <a:lnTo>
                    <a:pt x="1963" y="297"/>
                  </a:lnTo>
                  <a:lnTo>
                    <a:pt x="1965" y="305"/>
                  </a:lnTo>
                  <a:lnTo>
                    <a:pt x="1925" y="305"/>
                  </a:lnTo>
                  <a:close/>
                  <a:moveTo>
                    <a:pt x="1721" y="223"/>
                  </a:moveTo>
                  <a:lnTo>
                    <a:pt x="1760" y="223"/>
                  </a:lnTo>
                  <a:lnTo>
                    <a:pt x="1740" y="94"/>
                  </a:lnTo>
                  <a:lnTo>
                    <a:pt x="1721" y="223"/>
                  </a:lnTo>
                  <a:close/>
                  <a:moveTo>
                    <a:pt x="1813" y="305"/>
                  </a:moveTo>
                  <a:lnTo>
                    <a:pt x="1772" y="305"/>
                  </a:lnTo>
                  <a:lnTo>
                    <a:pt x="1765" y="258"/>
                  </a:lnTo>
                  <a:lnTo>
                    <a:pt x="1715" y="258"/>
                  </a:lnTo>
                  <a:lnTo>
                    <a:pt x="1709" y="305"/>
                  </a:lnTo>
                  <a:lnTo>
                    <a:pt x="1672" y="305"/>
                  </a:lnTo>
                  <a:lnTo>
                    <a:pt x="1713" y="49"/>
                  </a:lnTo>
                  <a:lnTo>
                    <a:pt x="1771" y="49"/>
                  </a:lnTo>
                  <a:lnTo>
                    <a:pt x="1813" y="305"/>
                  </a:lnTo>
                  <a:close/>
                  <a:moveTo>
                    <a:pt x="1596" y="257"/>
                  </a:moveTo>
                  <a:lnTo>
                    <a:pt x="1626" y="49"/>
                  </a:lnTo>
                  <a:lnTo>
                    <a:pt x="1663" y="49"/>
                  </a:lnTo>
                  <a:lnTo>
                    <a:pt x="1624" y="305"/>
                  </a:lnTo>
                  <a:lnTo>
                    <a:pt x="1564" y="305"/>
                  </a:lnTo>
                  <a:lnTo>
                    <a:pt x="1525" y="49"/>
                  </a:lnTo>
                  <a:lnTo>
                    <a:pt x="1565" y="49"/>
                  </a:lnTo>
                  <a:lnTo>
                    <a:pt x="1596" y="257"/>
                  </a:lnTo>
                  <a:close/>
                  <a:moveTo>
                    <a:pt x="1426" y="223"/>
                  </a:moveTo>
                  <a:lnTo>
                    <a:pt x="1464" y="223"/>
                  </a:lnTo>
                  <a:lnTo>
                    <a:pt x="1445" y="94"/>
                  </a:lnTo>
                  <a:lnTo>
                    <a:pt x="1426" y="223"/>
                  </a:lnTo>
                  <a:close/>
                  <a:moveTo>
                    <a:pt x="1516" y="305"/>
                  </a:moveTo>
                  <a:lnTo>
                    <a:pt x="1476" y="305"/>
                  </a:lnTo>
                  <a:lnTo>
                    <a:pt x="1469" y="258"/>
                  </a:lnTo>
                  <a:lnTo>
                    <a:pt x="1420" y="258"/>
                  </a:lnTo>
                  <a:lnTo>
                    <a:pt x="1413" y="305"/>
                  </a:lnTo>
                  <a:lnTo>
                    <a:pt x="1376" y="305"/>
                  </a:lnTo>
                  <a:lnTo>
                    <a:pt x="1417" y="49"/>
                  </a:lnTo>
                  <a:lnTo>
                    <a:pt x="1476" y="49"/>
                  </a:lnTo>
                  <a:lnTo>
                    <a:pt x="1516" y="305"/>
                  </a:lnTo>
                  <a:close/>
                  <a:moveTo>
                    <a:pt x="1250" y="49"/>
                  </a:moveTo>
                  <a:lnTo>
                    <a:pt x="1374" y="49"/>
                  </a:lnTo>
                  <a:lnTo>
                    <a:pt x="1374" y="86"/>
                  </a:lnTo>
                  <a:lnTo>
                    <a:pt x="1332" y="86"/>
                  </a:lnTo>
                  <a:lnTo>
                    <a:pt x="1332" y="305"/>
                  </a:lnTo>
                  <a:lnTo>
                    <a:pt x="1292" y="305"/>
                  </a:lnTo>
                  <a:lnTo>
                    <a:pt x="1292" y="86"/>
                  </a:lnTo>
                  <a:lnTo>
                    <a:pt x="1250" y="86"/>
                  </a:lnTo>
                  <a:lnTo>
                    <a:pt x="1250" y="49"/>
                  </a:lnTo>
                  <a:close/>
                  <a:moveTo>
                    <a:pt x="1170" y="45"/>
                  </a:moveTo>
                  <a:lnTo>
                    <a:pt x="1177" y="45"/>
                  </a:lnTo>
                  <a:lnTo>
                    <a:pt x="1183" y="47"/>
                  </a:lnTo>
                  <a:lnTo>
                    <a:pt x="1190" y="48"/>
                  </a:lnTo>
                  <a:lnTo>
                    <a:pt x="1195" y="50"/>
                  </a:lnTo>
                  <a:lnTo>
                    <a:pt x="1201" y="53"/>
                  </a:lnTo>
                  <a:lnTo>
                    <a:pt x="1206" y="55"/>
                  </a:lnTo>
                  <a:lnTo>
                    <a:pt x="1210" y="58"/>
                  </a:lnTo>
                  <a:lnTo>
                    <a:pt x="1214" y="62"/>
                  </a:lnTo>
                  <a:lnTo>
                    <a:pt x="1217" y="67"/>
                  </a:lnTo>
                  <a:lnTo>
                    <a:pt x="1220" y="72"/>
                  </a:lnTo>
                  <a:lnTo>
                    <a:pt x="1224" y="77"/>
                  </a:lnTo>
                  <a:lnTo>
                    <a:pt x="1226" y="82"/>
                  </a:lnTo>
                  <a:lnTo>
                    <a:pt x="1227" y="89"/>
                  </a:lnTo>
                  <a:lnTo>
                    <a:pt x="1228" y="95"/>
                  </a:lnTo>
                  <a:lnTo>
                    <a:pt x="1229" y="103"/>
                  </a:lnTo>
                  <a:lnTo>
                    <a:pt x="1229" y="110"/>
                  </a:lnTo>
                  <a:lnTo>
                    <a:pt x="1229" y="118"/>
                  </a:lnTo>
                  <a:lnTo>
                    <a:pt x="1191" y="118"/>
                  </a:lnTo>
                  <a:lnTo>
                    <a:pt x="1191" y="108"/>
                  </a:lnTo>
                  <a:lnTo>
                    <a:pt x="1191" y="102"/>
                  </a:lnTo>
                  <a:lnTo>
                    <a:pt x="1190" y="96"/>
                  </a:lnTo>
                  <a:lnTo>
                    <a:pt x="1188" y="91"/>
                  </a:lnTo>
                  <a:lnTo>
                    <a:pt x="1187" y="90"/>
                  </a:lnTo>
                  <a:lnTo>
                    <a:pt x="1185" y="88"/>
                  </a:lnTo>
                  <a:lnTo>
                    <a:pt x="1183" y="86"/>
                  </a:lnTo>
                  <a:lnTo>
                    <a:pt x="1179" y="84"/>
                  </a:lnTo>
                  <a:lnTo>
                    <a:pt x="1175" y="82"/>
                  </a:lnTo>
                  <a:lnTo>
                    <a:pt x="1171" y="82"/>
                  </a:lnTo>
                  <a:lnTo>
                    <a:pt x="1166" y="82"/>
                  </a:lnTo>
                  <a:lnTo>
                    <a:pt x="1162" y="84"/>
                  </a:lnTo>
                  <a:lnTo>
                    <a:pt x="1159" y="86"/>
                  </a:lnTo>
                  <a:lnTo>
                    <a:pt x="1156" y="88"/>
                  </a:lnTo>
                  <a:lnTo>
                    <a:pt x="1154" y="91"/>
                  </a:lnTo>
                  <a:lnTo>
                    <a:pt x="1153" y="93"/>
                  </a:lnTo>
                  <a:lnTo>
                    <a:pt x="1152" y="96"/>
                  </a:lnTo>
                  <a:lnTo>
                    <a:pt x="1152" y="102"/>
                  </a:lnTo>
                  <a:lnTo>
                    <a:pt x="1151" y="108"/>
                  </a:lnTo>
                  <a:lnTo>
                    <a:pt x="1152" y="116"/>
                  </a:lnTo>
                  <a:lnTo>
                    <a:pt x="1153" y="122"/>
                  </a:lnTo>
                  <a:lnTo>
                    <a:pt x="1154" y="126"/>
                  </a:lnTo>
                  <a:lnTo>
                    <a:pt x="1158" y="133"/>
                  </a:lnTo>
                  <a:lnTo>
                    <a:pt x="1163" y="141"/>
                  </a:lnTo>
                  <a:lnTo>
                    <a:pt x="1169" y="147"/>
                  </a:lnTo>
                  <a:lnTo>
                    <a:pt x="1176" y="154"/>
                  </a:lnTo>
                  <a:lnTo>
                    <a:pt x="1190" y="167"/>
                  </a:lnTo>
                  <a:lnTo>
                    <a:pt x="1197" y="174"/>
                  </a:lnTo>
                  <a:lnTo>
                    <a:pt x="1205" y="182"/>
                  </a:lnTo>
                  <a:lnTo>
                    <a:pt x="1211" y="189"/>
                  </a:lnTo>
                  <a:lnTo>
                    <a:pt x="1214" y="194"/>
                  </a:lnTo>
                  <a:lnTo>
                    <a:pt x="1217" y="199"/>
                  </a:lnTo>
                  <a:lnTo>
                    <a:pt x="1222" y="208"/>
                  </a:lnTo>
                  <a:lnTo>
                    <a:pt x="1225" y="213"/>
                  </a:lnTo>
                  <a:lnTo>
                    <a:pt x="1226" y="218"/>
                  </a:lnTo>
                  <a:lnTo>
                    <a:pt x="1228" y="224"/>
                  </a:lnTo>
                  <a:lnTo>
                    <a:pt x="1229" y="229"/>
                  </a:lnTo>
                  <a:lnTo>
                    <a:pt x="1229" y="236"/>
                  </a:lnTo>
                  <a:lnTo>
                    <a:pt x="1229" y="243"/>
                  </a:lnTo>
                  <a:lnTo>
                    <a:pt x="1229" y="251"/>
                  </a:lnTo>
                  <a:lnTo>
                    <a:pt x="1229" y="257"/>
                  </a:lnTo>
                  <a:lnTo>
                    <a:pt x="1227" y="264"/>
                  </a:lnTo>
                  <a:lnTo>
                    <a:pt x="1226" y="271"/>
                  </a:lnTo>
                  <a:lnTo>
                    <a:pt x="1224" y="276"/>
                  </a:lnTo>
                  <a:lnTo>
                    <a:pt x="1220" y="281"/>
                  </a:lnTo>
                  <a:lnTo>
                    <a:pt x="1217" y="287"/>
                  </a:lnTo>
                  <a:lnTo>
                    <a:pt x="1214" y="291"/>
                  </a:lnTo>
                  <a:lnTo>
                    <a:pt x="1210" y="294"/>
                  </a:lnTo>
                  <a:lnTo>
                    <a:pt x="1206" y="298"/>
                  </a:lnTo>
                  <a:lnTo>
                    <a:pt x="1200" y="300"/>
                  </a:lnTo>
                  <a:lnTo>
                    <a:pt x="1195" y="302"/>
                  </a:lnTo>
                  <a:lnTo>
                    <a:pt x="1190" y="305"/>
                  </a:lnTo>
                  <a:lnTo>
                    <a:pt x="1183" y="307"/>
                  </a:lnTo>
                  <a:lnTo>
                    <a:pt x="1177" y="307"/>
                  </a:lnTo>
                  <a:lnTo>
                    <a:pt x="1170" y="308"/>
                  </a:lnTo>
                  <a:lnTo>
                    <a:pt x="1162" y="307"/>
                  </a:lnTo>
                  <a:lnTo>
                    <a:pt x="1156" y="307"/>
                  </a:lnTo>
                  <a:lnTo>
                    <a:pt x="1150" y="305"/>
                  </a:lnTo>
                  <a:lnTo>
                    <a:pt x="1143" y="302"/>
                  </a:lnTo>
                  <a:lnTo>
                    <a:pt x="1138" y="300"/>
                  </a:lnTo>
                  <a:lnTo>
                    <a:pt x="1133" y="298"/>
                  </a:lnTo>
                  <a:lnTo>
                    <a:pt x="1128" y="294"/>
                  </a:lnTo>
                  <a:lnTo>
                    <a:pt x="1124" y="291"/>
                  </a:lnTo>
                  <a:lnTo>
                    <a:pt x="1121" y="287"/>
                  </a:lnTo>
                  <a:lnTo>
                    <a:pt x="1118" y="281"/>
                  </a:lnTo>
                  <a:lnTo>
                    <a:pt x="1116" y="276"/>
                  </a:lnTo>
                  <a:lnTo>
                    <a:pt x="1114" y="271"/>
                  </a:lnTo>
                  <a:lnTo>
                    <a:pt x="1111" y="264"/>
                  </a:lnTo>
                  <a:lnTo>
                    <a:pt x="1110" y="257"/>
                  </a:lnTo>
                  <a:lnTo>
                    <a:pt x="1109" y="251"/>
                  </a:lnTo>
                  <a:lnTo>
                    <a:pt x="1109" y="243"/>
                  </a:lnTo>
                  <a:lnTo>
                    <a:pt x="1109" y="227"/>
                  </a:lnTo>
                  <a:lnTo>
                    <a:pt x="1147" y="227"/>
                  </a:lnTo>
                  <a:lnTo>
                    <a:pt x="1147" y="245"/>
                  </a:lnTo>
                  <a:lnTo>
                    <a:pt x="1147" y="252"/>
                  </a:lnTo>
                  <a:lnTo>
                    <a:pt x="1148" y="257"/>
                  </a:lnTo>
                  <a:lnTo>
                    <a:pt x="1151" y="261"/>
                  </a:lnTo>
                  <a:lnTo>
                    <a:pt x="1153" y="264"/>
                  </a:lnTo>
                  <a:lnTo>
                    <a:pt x="1156" y="268"/>
                  </a:lnTo>
                  <a:lnTo>
                    <a:pt x="1160" y="269"/>
                  </a:lnTo>
                  <a:lnTo>
                    <a:pt x="1163" y="270"/>
                  </a:lnTo>
                  <a:lnTo>
                    <a:pt x="1169" y="271"/>
                  </a:lnTo>
                  <a:lnTo>
                    <a:pt x="1173" y="270"/>
                  </a:lnTo>
                  <a:lnTo>
                    <a:pt x="1177" y="269"/>
                  </a:lnTo>
                  <a:lnTo>
                    <a:pt x="1180" y="268"/>
                  </a:lnTo>
                  <a:lnTo>
                    <a:pt x="1183" y="264"/>
                  </a:lnTo>
                  <a:lnTo>
                    <a:pt x="1185" y="261"/>
                  </a:lnTo>
                  <a:lnTo>
                    <a:pt x="1188" y="257"/>
                  </a:lnTo>
                  <a:lnTo>
                    <a:pt x="1189" y="252"/>
                  </a:lnTo>
                  <a:lnTo>
                    <a:pt x="1189" y="245"/>
                  </a:lnTo>
                  <a:lnTo>
                    <a:pt x="1189" y="236"/>
                  </a:lnTo>
                  <a:lnTo>
                    <a:pt x="1188" y="232"/>
                  </a:lnTo>
                  <a:lnTo>
                    <a:pt x="1185" y="227"/>
                  </a:lnTo>
                  <a:lnTo>
                    <a:pt x="1182" y="220"/>
                  </a:lnTo>
                  <a:lnTo>
                    <a:pt x="1177" y="213"/>
                  </a:lnTo>
                  <a:lnTo>
                    <a:pt x="1171" y="205"/>
                  </a:lnTo>
                  <a:lnTo>
                    <a:pt x="1164" y="199"/>
                  </a:lnTo>
                  <a:lnTo>
                    <a:pt x="1150" y="185"/>
                  </a:lnTo>
                  <a:lnTo>
                    <a:pt x="1142" y="179"/>
                  </a:lnTo>
                  <a:lnTo>
                    <a:pt x="1136" y="171"/>
                  </a:lnTo>
                  <a:lnTo>
                    <a:pt x="1128" y="163"/>
                  </a:lnTo>
                  <a:lnTo>
                    <a:pt x="1126" y="159"/>
                  </a:lnTo>
                  <a:lnTo>
                    <a:pt x="1123" y="154"/>
                  </a:lnTo>
                  <a:lnTo>
                    <a:pt x="1118" y="145"/>
                  </a:lnTo>
                  <a:lnTo>
                    <a:pt x="1116" y="140"/>
                  </a:lnTo>
                  <a:lnTo>
                    <a:pt x="1114" y="134"/>
                  </a:lnTo>
                  <a:lnTo>
                    <a:pt x="1113" y="129"/>
                  </a:lnTo>
                  <a:lnTo>
                    <a:pt x="1111" y="123"/>
                  </a:lnTo>
                  <a:lnTo>
                    <a:pt x="1110" y="116"/>
                  </a:lnTo>
                  <a:lnTo>
                    <a:pt x="1110" y="110"/>
                  </a:lnTo>
                  <a:lnTo>
                    <a:pt x="1110" y="103"/>
                  </a:lnTo>
                  <a:lnTo>
                    <a:pt x="1111" y="95"/>
                  </a:lnTo>
                  <a:lnTo>
                    <a:pt x="1113" y="89"/>
                  </a:lnTo>
                  <a:lnTo>
                    <a:pt x="1115" y="82"/>
                  </a:lnTo>
                  <a:lnTo>
                    <a:pt x="1117" y="77"/>
                  </a:lnTo>
                  <a:lnTo>
                    <a:pt x="1119" y="72"/>
                  </a:lnTo>
                  <a:lnTo>
                    <a:pt x="1122" y="67"/>
                  </a:lnTo>
                  <a:lnTo>
                    <a:pt x="1125" y="62"/>
                  </a:lnTo>
                  <a:lnTo>
                    <a:pt x="1129" y="58"/>
                  </a:lnTo>
                  <a:lnTo>
                    <a:pt x="1134" y="55"/>
                  </a:lnTo>
                  <a:lnTo>
                    <a:pt x="1139" y="53"/>
                  </a:lnTo>
                  <a:lnTo>
                    <a:pt x="1144" y="50"/>
                  </a:lnTo>
                  <a:lnTo>
                    <a:pt x="1150" y="48"/>
                  </a:lnTo>
                  <a:lnTo>
                    <a:pt x="1156" y="47"/>
                  </a:lnTo>
                  <a:lnTo>
                    <a:pt x="1162" y="45"/>
                  </a:lnTo>
                  <a:lnTo>
                    <a:pt x="1170" y="45"/>
                  </a:lnTo>
                  <a:close/>
                  <a:moveTo>
                    <a:pt x="1037" y="49"/>
                  </a:moveTo>
                  <a:lnTo>
                    <a:pt x="1078" y="49"/>
                  </a:lnTo>
                  <a:lnTo>
                    <a:pt x="1078" y="305"/>
                  </a:lnTo>
                  <a:lnTo>
                    <a:pt x="1037" y="305"/>
                  </a:lnTo>
                  <a:lnTo>
                    <a:pt x="1037" y="49"/>
                  </a:lnTo>
                  <a:close/>
                  <a:moveTo>
                    <a:pt x="985" y="0"/>
                  </a:moveTo>
                  <a:lnTo>
                    <a:pt x="985" y="35"/>
                  </a:lnTo>
                  <a:lnTo>
                    <a:pt x="949" y="35"/>
                  </a:lnTo>
                  <a:lnTo>
                    <a:pt x="949" y="0"/>
                  </a:lnTo>
                  <a:lnTo>
                    <a:pt x="985" y="0"/>
                  </a:lnTo>
                  <a:close/>
                  <a:moveTo>
                    <a:pt x="918" y="223"/>
                  </a:moveTo>
                  <a:lnTo>
                    <a:pt x="956" y="223"/>
                  </a:lnTo>
                  <a:lnTo>
                    <a:pt x="937" y="94"/>
                  </a:lnTo>
                  <a:lnTo>
                    <a:pt x="918" y="223"/>
                  </a:lnTo>
                  <a:close/>
                  <a:moveTo>
                    <a:pt x="929" y="0"/>
                  </a:moveTo>
                  <a:lnTo>
                    <a:pt x="929" y="35"/>
                  </a:lnTo>
                  <a:lnTo>
                    <a:pt x="894" y="35"/>
                  </a:lnTo>
                  <a:lnTo>
                    <a:pt x="894" y="0"/>
                  </a:lnTo>
                  <a:lnTo>
                    <a:pt x="929" y="0"/>
                  </a:lnTo>
                  <a:close/>
                  <a:moveTo>
                    <a:pt x="1009" y="305"/>
                  </a:moveTo>
                  <a:lnTo>
                    <a:pt x="969" y="305"/>
                  </a:lnTo>
                  <a:lnTo>
                    <a:pt x="962" y="258"/>
                  </a:lnTo>
                  <a:lnTo>
                    <a:pt x="913" y="258"/>
                  </a:lnTo>
                  <a:lnTo>
                    <a:pt x="905" y="305"/>
                  </a:lnTo>
                  <a:lnTo>
                    <a:pt x="868" y="305"/>
                  </a:lnTo>
                  <a:lnTo>
                    <a:pt x="909" y="49"/>
                  </a:lnTo>
                  <a:lnTo>
                    <a:pt x="969" y="49"/>
                  </a:lnTo>
                  <a:lnTo>
                    <a:pt x="1009" y="305"/>
                  </a:lnTo>
                  <a:close/>
                  <a:moveTo>
                    <a:pt x="742" y="49"/>
                  </a:moveTo>
                  <a:lnTo>
                    <a:pt x="866" y="49"/>
                  </a:lnTo>
                  <a:lnTo>
                    <a:pt x="866" y="86"/>
                  </a:lnTo>
                  <a:lnTo>
                    <a:pt x="825" y="86"/>
                  </a:lnTo>
                  <a:lnTo>
                    <a:pt x="825" y="305"/>
                  </a:lnTo>
                  <a:lnTo>
                    <a:pt x="785" y="305"/>
                  </a:lnTo>
                  <a:lnTo>
                    <a:pt x="785" y="86"/>
                  </a:lnTo>
                  <a:lnTo>
                    <a:pt x="742" y="86"/>
                  </a:lnTo>
                  <a:lnTo>
                    <a:pt x="742" y="49"/>
                  </a:lnTo>
                  <a:close/>
                  <a:moveTo>
                    <a:pt x="603" y="49"/>
                  </a:moveTo>
                  <a:lnTo>
                    <a:pt x="728" y="49"/>
                  </a:lnTo>
                  <a:lnTo>
                    <a:pt x="728" y="86"/>
                  </a:lnTo>
                  <a:lnTo>
                    <a:pt x="685" y="86"/>
                  </a:lnTo>
                  <a:lnTo>
                    <a:pt x="685" y="305"/>
                  </a:lnTo>
                  <a:lnTo>
                    <a:pt x="645" y="305"/>
                  </a:lnTo>
                  <a:lnTo>
                    <a:pt x="645" y="86"/>
                  </a:lnTo>
                  <a:lnTo>
                    <a:pt x="603" y="86"/>
                  </a:lnTo>
                  <a:lnTo>
                    <a:pt x="603" y="49"/>
                  </a:lnTo>
                  <a:close/>
                  <a:moveTo>
                    <a:pt x="536" y="49"/>
                  </a:moveTo>
                  <a:lnTo>
                    <a:pt x="576" y="49"/>
                  </a:lnTo>
                  <a:lnTo>
                    <a:pt x="576" y="305"/>
                  </a:lnTo>
                  <a:lnTo>
                    <a:pt x="536" y="305"/>
                  </a:lnTo>
                  <a:lnTo>
                    <a:pt x="536" y="49"/>
                  </a:lnTo>
                  <a:close/>
                  <a:moveTo>
                    <a:pt x="441" y="257"/>
                  </a:moveTo>
                  <a:lnTo>
                    <a:pt x="472" y="49"/>
                  </a:lnTo>
                  <a:lnTo>
                    <a:pt x="509" y="49"/>
                  </a:lnTo>
                  <a:lnTo>
                    <a:pt x="468" y="305"/>
                  </a:lnTo>
                  <a:lnTo>
                    <a:pt x="409" y="305"/>
                  </a:lnTo>
                  <a:lnTo>
                    <a:pt x="370" y="49"/>
                  </a:lnTo>
                  <a:lnTo>
                    <a:pt x="410" y="49"/>
                  </a:lnTo>
                  <a:lnTo>
                    <a:pt x="441" y="257"/>
                  </a:lnTo>
                  <a:close/>
                  <a:moveTo>
                    <a:pt x="301" y="49"/>
                  </a:moveTo>
                  <a:lnTo>
                    <a:pt x="342" y="49"/>
                  </a:lnTo>
                  <a:lnTo>
                    <a:pt x="342" y="305"/>
                  </a:lnTo>
                  <a:lnTo>
                    <a:pt x="301" y="305"/>
                  </a:lnTo>
                  <a:lnTo>
                    <a:pt x="301" y="49"/>
                  </a:lnTo>
                  <a:close/>
                  <a:moveTo>
                    <a:pt x="249" y="0"/>
                  </a:moveTo>
                  <a:lnTo>
                    <a:pt x="249" y="35"/>
                  </a:lnTo>
                  <a:lnTo>
                    <a:pt x="214" y="35"/>
                  </a:lnTo>
                  <a:lnTo>
                    <a:pt x="214" y="0"/>
                  </a:lnTo>
                  <a:lnTo>
                    <a:pt x="249" y="0"/>
                  </a:lnTo>
                  <a:close/>
                  <a:moveTo>
                    <a:pt x="182" y="223"/>
                  </a:moveTo>
                  <a:lnTo>
                    <a:pt x="221" y="223"/>
                  </a:lnTo>
                  <a:lnTo>
                    <a:pt x="202" y="94"/>
                  </a:lnTo>
                  <a:lnTo>
                    <a:pt x="182" y="223"/>
                  </a:lnTo>
                  <a:close/>
                  <a:moveTo>
                    <a:pt x="194" y="0"/>
                  </a:moveTo>
                  <a:lnTo>
                    <a:pt x="194" y="35"/>
                  </a:lnTo>
                  <a:lnTo>
                    <a:pt x="158" y="35"/>
                  </a:lnTo>
                  <a:lnTo>
                    <a:pt x="158" y="0"/>
                  </a:lnTo>
                  <a:lnTo>
                    <a:pt x="194" y="0"/>
                  </a:lnTo>
                  <a:close/>
                  <a:moveTo>
                    <a:pt x="274" y="305"/>
                  </a:moveTo>
                  <a:lnTo>
                    <a:pt x="234" y="305"/>
                  </a:lnTo>
                  <a:lnTo>
                    <a:pt x="226" y="258"/>
                  </a:lnTo>
                  <a:lnTo>
                    <a:pt x="177" y="258"/>
                  </a:lnTo>
                  <a:lnTo>
                    <a:pt x="170" y="305"/>
                  </a:lnTo>
                  <a:lnTo>
                    <a:pt x="133" y="305"/>
                  </a:lnTo>
                  <a:lnTo>
                    <a:pt x="174" y="49"/>
                  </a:lnTo>
                  <a:lnTo>
                    <a:pt x="233" y="49"/>
                  </a:lnTo>
                  <a:lnTo>
                    <a:pt x="274" y="305"/>
                  </a:lnTo>
                  <a:close/>
                  <a:moveTo>
                    <a:pt x="40" y="86"/>
                  </a:moveTo>
                  <a:lnTo>
                    <a:pt x="40" y="171"/>
                  </a:lnTo>
                  <a:lnTo>
                    <a:pt x="59" y="171"/>
                  </a:lnTo>
                  <a:lnTo>
                    <a:pt x="63" y="171"/>
                  </a:lnTo>
                  <a:lnTo>
                    <a:pt x="68" y="170"/>
                  </a:lnTo>
                  <a:lnTo>
                    <a:pt x="71" y="169"/>
                  </a:lnTo>
                  <a:lnTo>
                    <a:pt x="74" y="166"/>
                  </a:lnTo>
                  <a:lnTo>
                    <a:pt x="76" y="163"/>
                  </a:lnTo>
                  <a:lnTo>
                    <a:pt x="77" y="159"/>
                  </a:lnTo>
                  <a:lnTo>
                    <a:pt x="78" y="154"/>
                  </a:lnTo>
                  <a:lnTo>
                    <a:pt x="78" y="148"/>
                  </a:lnTo>
                  <a:lnTo>
                    <a:pt x="78" y="109"/>
                  </a:lnTo>
                  <a:lnTo>
                    <a:pt x="78" y="103"/>
                  </a:lnTo>
                  <a:lnTo>
                    <a:pt x="77" y="97"/>
                  </a:lnTo>
                  <a:lnTo>
                    <a:pt x="76" y="94"/>
                  </a:lnTo>
                  <a:lnTo>
                    <a:pt x="74" y="90"/>
                  </a:lnTo>
                  <a:lnTo>
                    <a:pt x="72" y="89"/>
                  </a:lnTo>
                  <a:lnTo>
                    <a:pt x="71" y="88"/>
                  </a:lnTo>
                  <a:lnTo>
                    <a:pt x="69" y="87"/>
                  </a:lnTo>
                  <a:lnTo>
                    <a:pt x="68" y="87"/>
                  </a:lnTo>
                  <a:lnTo>
                    <a:pt x="63" y="86"/>
                  </a:lnTo>
                  <a:lnTo>
                    <a:pt x="59" y="86"/>
                  </a:lnTo>
                  <a:lnTo>
                    <a:pt x="40" y="86"/>
                  </a:lnTo>
                  <a:close/>
                  <a:moveTo>
                    <a:pt x="118" y="112"/>
                  </a:moveTo>
                  <a:lnTo>
                    <a:pt x="118" y="145"/>
                  </a:lnTo>
                  <a:lnTo>
                    <a:pt x="118" y="152"/>
                  </a:lnTo>
                  <a:lnTo>
                    <a:pt x="118" y="160"/>
                  </a:lnTo>
                  <a:lnTo>
                    <a:pt x="116" y="166"/>
                  </a:lnTo>
                  <a:lnTo>
                    <a:pt x="115" y="172"/>
                  </a:lnTo>
                  <a:lnTo>
                    <a:pt x="113" y="178"/>
                  </a:lnTo>
                  <a:lnTo>
                    <a:pt x="111" y="183"/>
                  </a:lnTo>
                  <a:lnTo>
                    <a:pt x="108" y="188"/>
                  </a:lnTo>
                  <a:lnTo>
                    <a:pt x="104" y="192"/>
                  </a:lnTo>
                  <a:lnTo>
                    <a:pt x="100" y="196"/>
                  </a:lnTo>
                  <a:lnTo>
                    <a:pt x="95" y="199"/>
                  </a:lnTo>
                  <a:lnTo>
                    <a:pt x="91" y="202"/>
                  </a:lnTo>
                  <a:lnTo>
                    <a:pt x="86" y="204"/>
                  </a:lnTo>
                  <a:lnTo>
                    <a:pt x="79" y="206"/>
                  </a:lnTo>
                  <a:lnTo>
                    <a:pt x="73" y="207"/>
                  </a:lnTo>
                  <a:lnTo>
                    <a:pt x="67" y="208"/>
                  </a:lnTo>
                  <a:lnTo>
                    <a:pt x="59" y="208"/>
                  </a:lnTo>
                  <a:lnTo>
                    <a:pt x="40" y="208"/>
                  </a:lnTo>
                  <a:lnTo>
                    <a:pt x="40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59" y="49"/>
                  </a:lnTo>
                  <a:lnTo>
                    <a:pt x="67" y="49"/>
                  </a:lnTo>
                  <a:lnTo>
                    <a:pt x="73" y="50"/>
                  </a:lnTo>
                  <a:lnTo>
                    <a:pt x="79" y="51"/>
                  </a:lnTo>
                  <a:lnTo>
                    <a:pt x="86" y="53"/>
                  </a:lnTo>
                  <a:lnTo>
                    <a:pt x="88" y="54"/>
                  </a:lnTo>
                  <a:lnTo>
                    <a:pt x="91" y="55"/>
                  </a:lnTo>
                  <a:lnTo>
                    <a:pt x="95" y="58"/>
                  </a:lnTo>
                  <a:lnTo>
                    <a:pt x="100" y="61"/>
                  </a:lnTo>
                  <a:lnTo>
                    <a:pt x="104" y="64"/>
                  </a:lnTo>
                  <a:lnTo>
                    <a:pt x="108" y="69"/>
                  </a:lnTo>
                  <a:lnTo>
                    <a:pt x="111" y="74"/>
                  </a:lnTo>
                  <a:lnTo>
                    <a:pt x="113" y="79"/>
                  </a:lnTo>
                  <a:lnTo>
                    <a:pt x="115" y="85"/>
                  </a:lnTo>
                  <a:lnTo>
                    <a:pt x="116" y="91"/>
                  </a:lnTo>
                  <a:lnTo>
                    <a:pt x="118" y="97"/>
                  </a:lnTo>
                  <a:lnTo>
                    <a:pt x="118" y="105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5121568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D5A8B2-6F68-49BB-BAF9-B6AFC3BA4C8E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22"/>
            <p:cNvSpPr>
              <a:spLocks noEditPoints="1"/>
            </p:cNvSpPr>
            <p:nvPr userDrawn="1"/>
          </p:nvSpPr>
          <p:spPr bwMode="auto">
            <a:xfrm>
              <a:off x="8843371" y="6428428"/>
              <a:ext cx="2004515" cy="290400"/>
            </a:xfrm>
            <a:custGeom>
              <a:avLst/>
              <a:gdLst>
                <a:gd name="T0" fmla="*/ 2079 w 2127"/>
                <a:gd name="T1" fmla="*/ 258 h 308"/>
                <a:gd name="T2" fmla="*/ 1880 w 2127"/>
                <a:gd name="T3" fmla="*/ 86 h 308"/>
                <a:gd name="T4" fmla="*/ 1916 w 2127"/>
                <a:gd name="T5" fmla="*/ 154 h 308"/>
                <a:gd name="T6" fmla="*/ 1918 w 2127"/>
                <a:gd name="T7" fmla="*/ 97 h 308"/>
                <a:gd name="T8" fmla="*/ 1880 w 2127"/>
                <a:gd name="T9" fmla="*/ 86 h 308"/>
                <a:gd name="T10" fmla="*/ 1920 w 2127"/>
                <a:gd name="T11" fmla="*/ 224 h 308"/>
                <a:gd name="T12" fmla="*/ 1900 w 2127"/>
                <a:gd name="T13" fmla="*/ 201 h 308"/>
                <a:gd name="T14" fmla="*/ 1909 w 2127"/>
                <a:gd name="T15" fmla="*/ 49 h 308"/>
                <a:gd name="T16" fmla="*/ 1946 w 2127"/>
                <a:gd name="T17" fmla="*/ 63 h 308"/>
                <a:gd name="T18" fmla="*/ 1961 w 2127"/>
                <a:gd name="T19" fmla="*/ 100 h 308"/>
                <a:gd name="T20" fmla="*/ 1950 w 2127"/>
                <a:gd name="T21" fmla="*/ 166 h 308"/>
                <a:gd name="T22" fmla="*/ 1949 w 2127"/>
                <a:gd name="T23" fmla="*/ 190 h 308"/>
                <a:gd name="T24" fmla="*/ 1961 w 2127"/>
                <a:gd name="T25" fmla="*/ 273 h 308"/>
                <a:gd name="T26" fmla="*/ 1760 w 2127"/>
                <a:gd name="T27" fmla="*/ 223 h 308"/>
                <a:gd name="T28" fmla="*/ 1709 w 2127"/>
                <a:gd name="T29" fmla="*/ 305 h 308"/>
                <a:gd name="T30" fmla="*/ 1663 w 2127"/>
                <a:gd name="T31" fmla="*/ 49 h 308"/>
                <a:gd name="T32" fmla="*/ 1464 w 2127"/>
                <a:gd name="T33" fmla="*/ 223 h 308"/>
                <a:gd name="T34" fmla="*/ 1413 w 2127"/>
                <a:gd name="T35" fmla="*/ 305 h 308"/>
                <a:gd name="T36" fmla="*/ 1374 w 2127"/>
                <a:gd name="T37" fmla="*/ 86 h 308"/>
                <a:gd name="T38" fmla="*/ 1170 w 2127"/>
                <a:gd name="T39" fmla="*/ 45 h 308"/>
                <a:gd name="T40" fmla="*/ 1210 w 2127"/>
                <a:gd name="T41" fmla="*/ 58 h 308"/>
                <a:gd name="T42" fmla="*/ 1228 w 2127"/>
                <a:gd name="T43" fmla="*/ 95 h 308"/>
                <a:gd name="T44" fmla="*/ 1190 w 2127"/>
                <a:gd name="T45" fmla="*/ 96 h 308"/>
                <a:gd name="T46" fmla="*/ 1171 w 2127"/>
                <a:gd name="T47" fmla="*/ 82 h 308"/>
                <a:gd name="T48" fmla="*/ 1152 w 2127"/>
                <a:gd name="T49" fmla="*/ 96 h 308"/>
                <a:gd name="T50" fmla="*/ 1163 w 2127"/>
                <a:gd name="T51" fmla="*/ 141 h 308"/>
                <a:gd name="T52" fmla="*/ 1214 w 2127"/>
                <a:gd name="T53" fmla="*/ 194 h 308"/>
                <a:gd name="T54" fmla="*/ 1229 w 2127"/>
                <a:gd name="T55" fmla="*/ 236 h 308"/>
                <a:gd name="T56" fmla="*/ 1220 w 2127"/>
                <a:gd name="T57" fmla="*/ 281 h 308"/>
                <a:gd name="T58" fmla="*/ 1190 w 2127"/>
                <a:gd name="T59" fmla="*/ 305 h 308"/>
                <a:gd name="T60" fmla="*/ 1143 w 2127"/>
                <a:gd name="T61" fmla="*/ 302 h 308"/>
                <a:gd name="T62" fmla="*/ 1116 w 2127"/>
                <a:gd name="T63" fmla="*/ 276 h 308"/>
                <a:gd name="T64" fmla="*/ 1147 w 2127"/>
                <a:gd name="T65" fmla="*/ 227 h 308"/>
                <a:gd name="T66" fmla="*/ 1160 w 2127"/>
                <a:gd name="T67" fmla="*/ 269 h 308"/>
                <a:gd name="T68" fmla="*/ 1185 w 2127"/>
                <a:gd name="T69" fmla="*/ 261 h 308"/>
                <a:gd name="T70" fmla="*/ 1182 w 2127"/>
                <a:gd name="T71" fmla="*/ 220 h 308"/>
                <a:gd name="T72" fmla="*/ 1128 w 2127"/>
                <a:gd name="T73" fmla="*/ 163 h 308"/>
                <a:gd name="T74" fmla="*/ 1111 w 2127"/>
                <a:gd name="T75" fmla="*/ 123 h 308"/>
                <a:gd name="T76" fmla="*/ 1117 w 2127"/>
                <a:gd name="T77" fmla="*/ 77 h 308"/>
                <a:gd name="T78" fmla="*/ 1144 w 2127"/>
                <a:gd name="T79" fmla="*/ 50 h 308"/>
                <a:gd name="T80" fmla="*/ 1078 w 2127"/>
                <a:gd name="T81" fmla="*/ 305 h 308"/>
                <a:gd name="T82" fmla="*/ 985 w 2127"/>
                <a:gd name="T83" fmla="*/ 0 h 308"/>
                <a:gd name="T84" fmla="*/ 894 w 2127"/>
                <a:gd name="T85" fmla="*/ 35 h 308"/>
                <a:gd name="T86" fmla="*/ 905 w 2127"/>
                <a:gd name="T87" fmla="*/ 305 h 308"/>
                <a:gd name="T88" fmla="*/ 866 w 2127"/>
                <a:gd name="T89" fmla="*/ 86 h 308"/>
                <a:gd name="T90" fmla="*/ 603 w 2127"/>
                <a:gd name="T91" fmla="*/ 49 h 308"/>
                <a:gd name="T92" fmla="*/ 603 w 2127"/>
                <a:gd name="T93" fmla="*/ 86 h 308"/>
                <a:gd name="T94" fmla="*/ 441 w 2127"/>
                <a:gd name="T95" fmla="*/ 257 h 308"/>
                <a:gd name="T96" fmla="*/ 441 w 2127"/>
                <a:gd name="T97" fmla="*/ 257 h 308"/>
                <a:gd name="T98" fmla="*/ 249 w 2127"/>
                <a:gd name="T99" fmla="*/ 35 h 308"/>
                <a:gd name="T100" fmla="*/ 182 w 2127"/>
                <a:gd name="T101" fmla="*/ 223 h 308"/>
                <a:gd name="T102" fmla="*/ 234 w 2127"/>
                <a:gd name="T103" fmla="*/ 305 h 308"/>
                <a:gd name="T104" fmla="*/ 274 w 2127"/>
                <a:gd name="T105" fmla="*/ 305 h 308"/>
                <a:gd name="T106" fmla="*/ 74 w 2127"/>
                <a:gd name="T107" fmla="*/ 166 h 308"/>
                <a:gd name="T108" fmla="*/ 77 w 2127"/>
                <a:gd name="T109" fmla="*/ 97 h 308"/>
                <a:gd name="T110" fmla="*/ 63 w 2127"/>
                <a:gd name="T111" fmla="*/ 86 h 308"/>
                <a:gd name="T112" fmla="*/ 116 w 2127"/>
                <a:gd name="T113" fmla="*/ 166 h 308"/>
                <a:gd name="T114" fmla="*/ 95 w 2127"/>
                <a:gd name="T115" fmla="*/ 199 h 308"/>
                <a:gd name="T116" fmla="*/ 40 w 2127"/>
                <a:gd name="T117" fmla="*/ 208 h 308"/>
                <a:gd name="T118" fmla="*/ 79 w 2127"/>
                <a:gd name="T119" fmla="*/ 51 h 308"/>
                <a:gd name="T120" fmla="*/ 108 w 2127"/>
                <a:gd name="T121" fmla="*/ 69 h 308"/>
                <a:gd name="T122" fmla="*/ 118 w 2127"/>
                <a:gd name="T12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7" h="308">
                  <a:moveTo>
                    <a:pt x="2035" y="223"/>
                  </a:moveTo>
                  <a:lnTo>
                    <a:pt x="2074" y="223"/>
                  </a:lnTo>
                  <a:lnTo>
                    <a:pt x="2054" y="94"/>
                  </a:lnTo>
                  <a:lnTo>
                    <a:pt x="2035" y="223"/>
                  </a:lnTo>
                  <a:close/>
                  <a:moveTo>
                    <a:pt x="2127" y="305"/>
                  </a:moveTo>
                  <a:lnTo>
                    <a:pt x="2085" y="305"/>
                  </a:lnTo>
                  <a:lnTo>
                    <a:pt x="2079" y="258"/>
                  </a:lnTo>
                  <a:lnTo>
                    <a:pt x="2029" y="258"/>
                  </a:lnTo>
                  <a:lnTo>
                    <a:pt x="2023" y="305"/>
                  </a:lnTo>
                  <a:lnTo>
                    <a:pt x="1986" y="305"/>
                  </a:lnTo>
                  <a:lnTo>
                    <a:pt x="2026" y="49"/>
                  </a:lnTo>
                  <a:lnTo>
                    <a:pt x="2085" y="49"/>
                  </a:lnTo>
                  <a:lnTo>
                    <a:pt x="2127" y="305"/>
                  </a:lnTo>
                  <a:close/>
                  <a:moveTo>
                    <a:pt x="1880" y="86"/>
                  </a:moveTo>
                  <a:lnTo>
                    <a:pt x="1880" y="164"/>
                  </a:lnTo>
                  <a:lnTo>
                    <a:pt x="1896" y="164"/>
                  </a:lnTo>
                  <a:lnTo>
                    <a:pt x="1901" y="163"/>
                  </a:lnTo>
                  <a:lnTo>
                    <a:pt x="1907" y="163"/>
                  </a:lnTo>
                  <a:lnTo>
                    <a:pt x="1910" y="161"/>
                  </a:lnTo>
                  <a:lnTo>
                    <a:pt x="1914" y="158"/>
                  </a:lnTo>
                  <a:lnTo>
                    <a:pt x="1916" y="154"/>
                  </a:lnTo>
                  <a:lnTo>
                    <a:pt x="1918" y="149"/>
                  </a:lnTo>
                  <a:lnTo>
                    <a:pt x="1919" y="144"/>
                  </a:lnTo>
                  <a:lnTo>
                    <a:pt x="1920" y="136"/>
                  </a:lnTo>
                  <a:lnTo>
                    <a:pt x="1920" y="111"/>
                  </a:lnTo>
                  <a:lnTo>
                    <a:pt x="1920" y="105"/>
                  </a:lnTo>
                  <a:lnTo>
                    <a:pt x="1919" y="99"/>
                  </a:lnTo>
                  <a:lnTo>
                    <a:pt x="1918" y="97"/>
                  </a:lnTo>
                  <a:lnTo>
                    <a:pt x="1917" y="95"/>
                  </a:lnTo>
                  <a:lnTo>
                    <a:pt x="1915" y="91"/>
                  </a:lnTo>
                  <a:lnTo>
                    <a:pt x="1913" y="89"/>
                  </a:lnTo>
                  <a:lnTo>
                    <a:pt x="1909" y="87"/>
                  </a:lnTo>
                  <a:lnTo>
                    <a:pt x="1905" y="86"/>
                  </a:lnTo>
                  <a:lnTo>
                    <a:pt x="1899" y="86"/>
                  </a:lnTo>
                  <a:lnTo>
                    <a:pt x="1880" y="86"/>
                  </a:lnTo>
                  <a:close/>
                  <a:moveTo>
                    <a:pt x="1925" y="305"/>
                  </a:moveTo>
                  <a:lnTo>
                    <a:pt x="1923" y="299"/>
                  </a:lnTo>
                  <a:lnTo>
                    <a:pt x="1922" y="294"/>
                  </a:lnTo>
                  <a:lnTo>
                    <a:pt x="1920" y="286"/>
                  </a:lnTo>
                  <a:lnTo>
                    <a:pt x="1920" y="273"/>
                  </a:lnTo>
                  <a:lnTo>
                    <a:pt x="1920" y="233"/>
                  </a:lnTo>
                  <a:lnTo>
                    <a:pt x="1920" y="224"/>
                  </a:lnTo>
                  <a:lnTo>
                    <a:pt x="1919" y="218"/>
                  </a:lnTo>
                  <a:lnTo>
                    <a:pt x="1917" y="212"/>
                  </a:lnTo>
                  <a:lnTo>
                    <a:pt x="1914" y="207"/>
                  </a:lnTo>
                  <a:lnTo>
                    <a:pt x="1911" y="204"/>
                  </a:lnTo>
                  <a:lnTo>
                    <a:pt x="1909" y="203"/>
                  </a:lnTo>
                  <a:lnTo>
                    <a:pt x="1906" y="202"/>
                  </a:lnTo>
                  <a:lnTo>
                    <a:pt x="1900" y="201"/>
                  </a:lnTo>
                  <a:lnTo>
                    <a:pt x="1894" y="200"/>
                  </a:lnTo>
                  <a:lnTo>
                    <a:pt x="1880" y="200"/>
                  </a:lnTo>
                  <a:lnTo>
                    <a:pt x="1880" y="305"/>
                  </a:lnTo>
                  <a:lnTo>
                    <a:pt x="1840" y="305"/>
                  </a:lnTo>
                  <a:lnTo>
                    <a:pt x="1840" y="49"/>
                  </a:lnTo>
                  <a:lnTo>
                    <a:pt x="1901" y="49"/>
                  </a:lnTo>
                  <a:lnTo>
                    <a:pt x="1909" y="49"/>
                  </a:lnTo>
                  <a:lnTo>
                    <a:pt x="1915" y="50"/>
                  </a:lnTo>
                  <a:lnTo>
                    <a:pt x="1922" y="51"/>
                  </a:lnTo>
                  <a:lnTo>
                    <a:pt x="1928" y="52"/>
                  </a:lnTo>
                  <a:lnTo>
                    <a:pt x="1933" y="54"/>
                  </a:lnTo>
                  <a:lnTo>
                    <a:pt x="1938" y="57"/>
                  </a:lnTo>
                  <a:lnTo>
                    <a:pt x="1943" y="60"/>
                  </a:lnTo>
                  <a:lnTo>
                    <a:pt x="1946" y="63"/>
                  </a:lnTo>
                  <a:lnTo>
                    <a:pt x="1950" y="67"/>
                  </a:lnTo>
                  <a:lnTo>
                    <a:pt x="1952" y="72"/>
                  </a:lnTo>
                  <a:lnTo>
                    <a:pt x="1955" y="76"/>
                  </a:lnTo>
                  <a:lnTo>
                    <a:pt x="1957" y="81"/>
                  </a:lnTo>
                  <a:lnTo>
                    <a:pt x="1959" y="88"/>
                  </a:lnTo>
                  <a:lnTo>
                    <a:pt x="1960" y="93"/>
                  </a:lnTo>
                  <a:lnTo>
                    <a:pt x="1961" y="100"/>
                  </a:lnTo>
                  <a:lnTo>
                    <a:pt x="1961" y="108"/>
                  </a:lnTo>
                  <a:lnTo>
                    <a:pt x="1961" y="128"/>
                  </a:lnTo>
                  <a:lnTo>
                    <a:pt x="1960" y="137"/>
                  </a:lnTo>
                  <a:lnTo>
                    <a:pt x="1959" y="146"/>
                  </a:lnTo>
                  <a:lnTo>
                    <a:pt x="1956" y="153"/>
                  </a:lnTo>
                  <a:lnTo>
                    <a:pt x="1954" y="160"/>
                  </a:lnTo>
                  <a:lnTo>
                    <a:pt x="1950" y="166"/>
                  </a:lnTo>
                  <a:lnTo>
                    <a:pt x="1946" y="171"/>
                  </a:lnTo>
                  <a:lnTo>
                    <a:pt x="1941" y="176"/>
                  </a:lnTo>
                  <a:lnTo>
                    <a:pt x="1934" y="180"/>
                  </a:lnTo>
                  <a:lnTo>
                    <a:pt x="1941" y="183"/>
                  </a:lnTo>
                  <a:lnTo>
                    <a:pt x="1944" y="185"/>
                  </a:lnTo>
                  <a:lnTo>
                    <a:pt x="1947" y="187"/>
                  </a:lnTo>
                  <a:lnTo>
                    <a:pt x="1949" y="190"/>
                  </a:lnTo>
                  <a:lnTo>
                    <a:pt x="1951" y="194"/>
                  </a:lnTo>
                  <a:lnTo>
                    <a:pt x="1955" y="200"/>
                  </a:lnTo>
                  <a:lnTo>
                    <a:pt x="1957" y="207"/>
                  </a:lnTo>
                  <a:lnTo>
                    <a:pt x="1960" y="216"/>
                  </a:lnTo>
                  <a:lnTo>
                    <a:pt x="1961" y="224"/>
                  </a:lnTo>
                  <a:lnTo>
                    <a:pt x="1961" y="234"/>
                  </a:lnTo>
                  <a:lnTo>
                    <a:pt x="1961" y="273"/>
                  </a:lnTo>
                  <a:lnTo>
                    <a:pt x="1961" y="282"/>
                  </a:lnTo>
                  <a:lnTo>
                    <a:pt x="1962" y="290"/>
                  </a:lnTo>
                  <a:lnTo>
                    <a:pt x="1963" y="297"/>
                  </a:lnTo>
                  <a:lnTo>
                    <a:pt x="1965" y="305"/>
                  </a:lnTo>
                  <a:lnTo>
                    <a:pt x="1925" y="305"/>
                  </a:lnTo>
                  <a:close/>
                  <a:moveTo>
                    <a:pt x="1721" y="223"/>
                  </a:moveTo>
                  <a:lnTo>
                    <a:pt x="1760" y="223"/>
                  </a:lnTo>
                  <a:lnTo>
                    <a:pt x="1740" y="94"/>
                  </a:lnTo>
                  <a:lnTo>
                    <a:pt x="1721" y="223"/>
                  </a:lnTo>
                  <a:close/>
                  <a:moveTo>
                    <a:pt x="1813" y="305"/>
                  </a:moveTo>
                  <a:lnTo>
                    <a:pt x="1772" y="305"/>
                  </a:lnTo>
                  <a:lnTo>
                    <a:pt x="1765" y="258"/>
                  </a:lnTo>
                  <a:lnTo>
                    <a:pt x="1715" y="258"/>
                  </a:lnTo>
                  <a:lnTo>
                    <a:pt x="1709" y="305"/>
                  </a:lnTo>
                  <a:lnTo>
                    <a:pt x="1672" y="305"/>
                  </a:lnTo>
                  <a:lnTo>
                    <a:pt x="1713" y="49"/>
                  </a:lnTo>
                  <a:lnTo>
                    <a:pt x="1771" y="49"/>
                  </a:lnTo>
                  <a:lnTo>
                    <a:pt x="1813" y="305"/>
                  </a:lnTo>
                  <a:close/>
                  <a:moveTo>
                    <a:pt x="1596" y="257"/>
                  </a:moveTo>
                  <a:lnTo>
                    <a:pt x="1626" y="49"/>
                  </a:lnTo>
                  <a:lnTo>
                    <a:pt x="1663" y="49"/>
                  </a:lnTo>
                  <a:lnTo>
                    <a:pt x="1624" y="305"/>
                  </a:lnTo>
                  <a:lnTo>
                    <a:pt x="1564" y="305"/>
                  </a:lnTo>
                  <a:lnTo>
                    <a:pt x="1525" y="49"/>
                  </a:lnTo>
                  <a:lnTo>
                    <a:pt x="1565" y="49"/>
                  </a:lnTo>
                  <a:lnTo>
                    <a:pt x="1596" y="257"/>
                  </a:lnTo>
                  <a:close/>
                  <a:moveTo>
                    <a:pt x="1426" y="223"/>
                  </a:moveTo>
                  <a:lnTo>
                    <a:pt x="1464" y="223"/>
                  </a:lnTo>
                  <a:lnTo>
                    <a:pt x="1445" y="94"/>
                  </a:lnTo>
                  <a:lnTo>
                    <a:pt x="1426" y="223"/>
                  </a:lnTo>
                  <a:close/>
                  <a:moveTo>
                    <a:pt x="1516" y="305"/>
                  </a:moveTo>
                  <a:lnTo>
                    <a:pt x="1476" y="305"/>
                  </a:lnTo>
                  <a:lnTo>
                    <a:pt x="1469" y="258"/>
                  </a:lnTo>
                  <a:lnTo>
                    <a:pt x="1420" y="258"/>
                  </a:lnTo>
                  <a:lnTo>
                    <a:pt x="1413" y="305"/>
                  </a:lnTo>
                  <a:lnTo>
                    <a:pt x="1376" y="305"/>
                  </a:lnTo>
                  <a:lnTo>
                    <a:pt x="1417" y="49"/>
                  </a:lnTo>
                  <a:lnTo>
                    <a:pt x="1476" y="49"/>
                  </a:lnTo>
                  <a:lnTo>
                    <a:pt x="1516" y="305"/>
                  </a:lnTo>
                  <a:close/>
                  <a:moveTo>
                    <a:pt x="1250" y="49"/>
                  </a:moveTo>
                  <a:lnTo>
                    <a:pt x="1374" y="49"/>
                  </a:lnTo>
                  <a:lnTo>
                    <a:pt x="1374" y="86"/>
                  </a:lnTo>
                  <a:lnTo>
                    <a:pt x="1332" y="86"/>
                  </a:lnTo>
                  <a:lnTo>
                    <a:pt x="1332" y="305"/>
                  </a:lnTo>
                  <a:lnTo>
                    <a:pt x="1292" y="305"/>
                  </a:lnTo>
                  <a:lnTo>
                    <a:pt x="1292" y="86"/>
                  </a:lnTo>
                  <a:lnTo>
                    <a:pt x="1250" y="86"/>
                  </a:lnTo>
                  <a:lnTo>
                    <a:pt x="1250" y="49"/>
                  </a:lnTo>
                  <a:close/>
                  <a:moveTo>
                    <a:pt x="1170" y="45"/>
                  </a:moveTo>
                  <a:lnTo>
                    <a:pt x="1177" y="45"/>
                  </a:lnTo>
                  <a:lnTo>
                    <a:pt x="1183" y="47"/>
                  </a:lnTo>
                  <a:lnTo>
                    <a:pt x="1190" y="48"/>
                  </a:lnTo>
                  <a:lnTo>
                    <a:pt x="1195" y="50"/>
                  </a:lnTo>
                  <a:lnTo>
                    <a:pt x="1201" y="53"/>
                  </a:lnTo>
                  <a:lnTo>
                    <a:pt x="1206" y="55"/>
                  </a:lnTo>
                  <a:lnTo>
                    <a:pt x="1210" y="58"/>
                  </a:lnTo>
                  <a:lnTo>
                    <a:pt x="1214" y="62"/>
                  </a:lnTo>
                  <a:lnTo>
                    <a:pt x="1217" y="67"/>
                  </a:lnTo>
                  <a:lnTo>
                    <a:pt x="1220" y="72"/>
                  </a:lnTo>
                  <a:lnTo>
                    <a:pt x="1224" y="77"/>
                  </a:lnTo>
                  <a:lnTo>
                    <a:pt x="1226" y="82"/>
                  </a:lnTo>
                  <a:lnTo>
                    <a:pt x="1227" y="89"/>
                  </a:lnTo>
                  <a:lnTo>
                    <a:pt x="1228" y="95"/>
                  </a:lnTo>
                  <a:lnTo>
                    <a:pt x="1229" y="103"/>
                  </a:lnTo>
                  <a:lnTo>
                    <a:pt x="1229" y="110"/>
                  </a:lnTo>
                  <a:lnTo>
                    <a:pt x="1229" y="118"/>
                  </a:lnTo>
                  <a:lnTo>
                    <a:pt x="1191" y="118"/>
                  </a:lnTo>
                  <a:lnTo>
                    <a:pt x="1191" y="108"/>
                  </a:lnTo>
                  <a:lnTo>
                    <a:pt x="1191" y="102"/>
                  </a:lnTo>
                  <a:lnTo>
                    <a:pt x="1190" y="96"/>
                  </a:lnTo>
                  <a:lnTo>
                    <a:pt x="1188" y="91"/>
                  </a:lnTo>
                  <a:lnTo>
                    <a:pt x="1187" y="90"/>
                  </a:lnTo>
                  <a:lnTo>
                    <a:pt x="1185" y="88"/>
                  </a:lnTo>
                  <a:lnTo>
                    <a:pt x="1183" y="86"/>
                  </a:lnTo>
                  <a:lnTo>
                    <a:pt x="1179" y="84"/>
                  </a:lnTo>
                  <a:lnTo>
                    <a:pt x="1175" y="82"/>
                  </a:lnTo>
                  <a:lnTo>
                    <a:pt x="1171" y="82"/>
                  </a:lnTo>
                  <a:lnTo>
                    <a:pt x="1166" y="82"/>
                  </a:lnTo>
                  <a:lnTo>
                    <a:pt x="1162" y="84"/>
                  </a:lnTo>
                  <a:lnTo>
                    <a:pt x="1159" y="86"/>
                  </a:lnTo>
                  <a:lnTo>
                    <a:pt x="1156" y="88"/>
                  </a:lnTo>
                  <a:lnTo>
                    <a:pt x="1154" y="91"/>
                  </a:lnTo>
                  <a:lnTo>
                    <a:pt x="1153" y="93"/>
                  </a:lnTo>
                  <a:lnTo>
                    <a:pt x="1152" y="96"/>
                  </a:lnTo>
                  <a:lnTo>
                    <a:pt x="1152" y="102"/>
                  </a:lnTo>
                  <a:lnTo>
                    <a:pt x="1151" y="108"/>
                  </a:lnTo>
                  <a:lnTo>
                    <a:pt x="1152" y="116"/>
                  </a:lnTo>
                  <a:lnTo>
                    <a:pt x="1153" y="122"/>
                  </a:lnTo>
                  <a:lnTo>
                    <a:pt x="1154" y="126"/>
                  </a:lnTo>
                  <a:lnTo>
                    <a:pt x="1158" y="133"/>
                  </a:lnTo>
                  <a:lnTo>
                    <a:pt x="1163" y="141"/>
                  </a:lnTo>
                  <a:lnTo>
                    <a:pt x="1169" y="147"/>
                  </a:lnTo>
                  <a:lnTo>
                    <a:pt x="1176" y="154"/>
                  </a:lnTo>
                  <a:lnTo>
                    <a:pt x="1190" y="167"/>
                  </a:lnTo>
                  <a:lnTo>
                    <a:pt x="1197" y="174"/>
                  </a:lnTo>
                  <a:lnTo>
                    <a:pt x="1205" y="182"/>
                  </a:lnTo>
                  <a:lnTo>
                    <a:pt x="1211" y="189"/>
                  </a:lnTo>
                  <a:lnTo>
                    <a:pt x="1214" y="194"/>
                  </a:lnTo>
                  <a:lnTo>
                    <a:pt x="1217" y="199"/>
                  </a:lnTo>
                  <a:lnTo>
                    <a:pt x="1222" y="208"/>
                  </a:lnTo>
                  <a:lnTo>
                    <a:pt x="1225" y="213"/>
                  </a:lnTo>
                  <a:lnTo>
                    <a:pt x="1226" y="218"/>
                  </a:lnTo>
                  <a:lnTo>
                    <a:pt x="1228" y="224"/>
                  </a:lnTo>
                  <a:lnTo>
                    <a:pt x="1229" y="229"/>
                  </a:lnTo>
                  <a:lnTo>
                    <a:pt x="1229" y="236"/>
                  </a:lnTo>
                  <a:lnTo>
                    <a:pt x="1229" y="243"/>
                  </a:lnTo>
                  <a:lnTo>
                    <a:pt x="1229" y="251"/>
                  </a:lnTo>
                  <a:lnTo>
                    <a:pt x="1229" y="257"/>
                  </a:lnTo>
                  <a:lnTo>
                    <a:pt x="1227" y="264"/>
                  </a:lnTo>
                  <a:lnTo>
                    <a:pt x="1226" y="271"/>
                  </a:lnTo>
                  <a:lnTo>
                    <a:pt x="1224" y="276"/>
                  </a:lnTo>
                  <a:lnTo>
                    <a:pt x="1220" y="281"/>
                  </a:lnTo>
                  <a:lnTo>
                    <a:pt x="1217" y="287"/>
                  </a:lnTo>
                  <a:lnTo>
                    <a:pt x="1214" y="291"/>
                  </a:lnTo>
                  <a:lnTo>
                    <a:pt x="1210" y="294"/>
                  </a:lnTo>
                  <a:lnTo>
                    <a:pt x="1206" y="298"/>
                  </a:lnTo>
                  <a:lnTo>
                    <a:pt x="1200" y="300"/>
                  </a:lnTo>
                  <a:lnTo>
                    <a:pt x="1195" y="302"/>
                  </a:lnTo>
                  <a:lnTo>
                    <a:pt x="1190" y="305"/>
                  </a:lnTo>
                  <a:lnTo>
                    <a:pt x="1183" y="307"/>
                  </a:lnTo>
                  <a:lnTo>
                    <a:pt x="1177" y="307"/>
                  </a:lnTo>
                  <a:lnTo>
                    <a:pt x="1170" y="308"/>
                  </a:lnTo>
                  <a:lnTo>
                    <a:pt x="1162" y="307"/>
                  </a:lnTo>
                  <a:lnTo>
                    <a:pt x="1156" y="307"/>
                  </a:lnTo>
                  <a:lnTo>
                    <a:pt x="1150" y="305"/>
                  </a:lnTo>
                  <a:lnTo>
                    <a:pt x="1143" y="302"/>
                  </a:lnTo>
                  <a:lnTo>
                    <a:pt x="1138" y="300"/>
                  </a:lnTo>
                  <a:lnTo>
                    <a:pt x="1133" y="298"/>
                  </a:lnTo>
                  <a:lnTo>
                    <a:pt x="1128" y="294"/>
                  </a:lnTo>
                  <a:lnTo>
                    <a:pt x="1124" y="291"/>
                  </a:lnTo>
                  <a:lnTo>
                    <a:pt x="1121" y="287"/>
                  </a:lnTo>
                  <a:lnTo>
                    <a:pt x="1118" y="281"/>
                  </a:lnTo>
                  <a:lnTo>
                    <a:pt x="1116" y="276"/>
                  </a:lnTo>
                  <a:lnTo>
                    <a:pt x="1114" y="271"/>
                  </a:lnTo>
                  <a:lnTo>
                    <a:pt x="1111" y="264"/>
                  </a:lnTo>
                  <a:lnTo>
                    <a:pt x="1110" y="257"/>
                  </a:lnTo>
                  <a:lnTo>
                    <a:pt x="1109" y="251"/>
                  </a:lnTo>
                  <a:lnTo>
                    <a:pt x="1109" y="243"/>
                  </a:lnTo>
                  <a:lnTo>
                    <a:pt x="1109" y="227"/>
                  </a:lnTo>
                  <a:lnTo>
                    <a:pt x="1147" y="227"/>
                  </a:lnTo>
                  <a:lnTo>
                    <a:pt x="1147" y="245"/>
                  </a:lnTo>
                  <a:lnTo>
                    <a:pt x="1147" y="252"/>
                  </a:lnTo>
                  <a:lnTo>
                    <a:pt x="1148" y="257"/>
                  </a:lnTo>
                  <a:lnTo>
                    <a:pt x="1151" y="261"/>
                  </a:lnTo>
                  <a:lnTo>
                    <a:pt x="1153" y="264"/>
                  </a:lnTo>
                  <a:lnTo>
                    <a:pt x="1156" y="268"/>
                  </a:lnTo>
                  <a:lnTo>
                    <a:pt x="1160" y="269"/>
                  </a:lnTo>
                  <a:lnTo>
                    <a:pt x="1163" y="270"/>
                  </a:lnTo>
                  <a:lnTo>
                    <a:pt x="1169" y="271"/>
                  </a:lnTo>
                  <a:lnTo>
                    <a:pt x="1173" y="270"/>
                  </a:lnTo>
                  <a:lnTo>
                    <a:pt x="1177" y="269"/>
                  </a:lnTo>
                  <a:lnTo>
                    <a:pt x="1180" y="268"/>
                  </a:lnTo>
                  <a:lnTo>
                    <a:pt x="1183" y="264"/>
                  </a:lnTo>
                  <a:lnTo>
                    <a:pt x="1185" y="261"/>
                  </a:lnTo>
                  <a:lnTo>
                    <a:pt x="1188" y="257"/>
                  </a:lnTo>
                  <a:lnTo>
                    <a:pt x="1189" y="252"/>
                  </a:lnTo>
                  <a:lnTo>
                    <a:pt x="1189" y="245"/>
                  </a:lnTo>
                  <a:lnTo>
                    <a:pt x="1189" y="236"/>
                  </a:lnTo>
                  <a:lnTo>
                    <a:pt x="1188" y="232"/>
                  </a:lnTo>
                  <a:lnTo>
                    <a:pt x="1185" y="227"/>
                  </a:lnTo>
                  <a:lnTo>
                    <a:pt x="1182" y="220"/>
                  </a:lnTo>
                  <a:lnTo>
                    <a:pt x="1177" y="213"/>
                  </a:lnTo>
                  <a:lnTo>
                    <a:pt x="1171" y="205"/>
                  </a:lnTo>
                  <a:lnTo>
                    <a:pt x="1164" y="199"/>
                  </a:lnTo>
                  <a:lnTo>
                    <a:pt x="1150" y="185"/>
                  </a:lnTo>
                  <a:lnTo>
                    <a:pt x="1142" y="179"/>
                  </a:lnTo>
                  <a:lnTo>
                    <a:pt x="1136" y="171"/>
                  </a:lnTo>
                  <a:lnTo>
                    <a:pt x="1128" y="163"/>
                  </a:lnTo>
                  <a:lnTo>
                    <a:pt x="1126" y="159"/>
                  </a:lnTo>
                  <a:lnTo>
                    <a:pt x="1123" y="154"/>
                  </a:lnTo>
                  <a:lnTo>
                    <a:pt x="1118" y="145"/>
                  </a:lnTo>
                  <a:lnTo>
                    <a:pt x="1116" y="140"/>
                  </a:lnTo>
                  <a:lnTo>
                    <a:pt x="1114" y="134"/>
                  </a:lnTo>
                  <a:lnTo>
                    <a:pt x="1113" y="129"/>
                  </a:lnTo>
                  <a:lnTo>
                    <a:pt x="1111" y="123"/>
                  </a:lnTo>
                  <a:lnTo>
                    <a:pt x="1110" y="116"/>
                  </a:lnTo>
                  <a:lnTo>
                    <a:pt x="1110" y="110"/>
                  </a:lnTo>
                  <a:lnTo>
                    <a:pt x="1110" y="103"/>
                  </a:lnTo>
                  <a:lnTo>
                    <a:pt x="1111" y="95"/>
                  </a:lnTo>
                  <a:lnTo>
                    <a:pt x="1113" y="89"/>
                  </a:lnTo>
                  <a:lnTo>
                    <a:pt x="1115" y="82"/>
                  </a:lnTo>
                  <a:lnTo>
                    <a:pt x="1117" y="77"/>
                  </a:lnTo>
                  <a:lnTo>
                    <a:pt x="1119" y="72"/>
                  </a:lnTo>
                  <a:lnTo>
                    <a:pt x="1122" y="67"/>
                  </a:lnTo>
                  <a:lnTo>
                    <a:pt x="1125" y="62"/>
                  </a:lnTo>
                  <a:lnTo>
                    <a:pt x="1129" y="58"/>
                  </a:lnTo>
                  <a:lnTo>
                    <a:pt x="1134" y="55"/>
                  </a:lnTo>
                  <a:lnTo>
                    <a:pt x="1139" y="53"/>
                  </a:lnTo>
                  <a:lnTo>
                    <a:pt x="1144" y="50"/>
                  </a:lnTo>
                  <a:lnTo>
                    <a:pt x="1150" y="48"/>
                  </a:lnTo>
                  <a:lnTo>
                    <a:pt x="1156" y="47"/>
                  </a:lnTo>
                  <a:lnTo>
                    <a:pt x="1162" y="45"/>
                  </a:lnTo>
                  <a:lnTo>
                    <a:pt x="1170" y="45"/>
                  </a:lnTo>
                  <a:close/>
                  <a:moveTo>
                    <a:pt x="1037" y="49"/>
                  </a:moveTo>
                  <a:lnTo>
                    <a:pt x="1078" y="49"/>
                  </a:lnTo>
                  <a:lnTo>
                    <a:pt x="1078" y="305"/>
                  </a:lnTo>
                  <a:lnTo>
                    <a:pt x="1037" y="305"/>
                  </a:lnTo>
                  <a:lnTo>
                    <a:pt x="1037" y="49"/>
                  </a:lnTo>
                  <a:close/>
                  <a:moveTo>
                    <a:pt x="985" y="0"/>
                  </a:moveTo>
                  <a:lnTo>
                    <a:pt x="985" y="35"/>
                  </a:lnTo>
                  <a:lnTo>
                    <a:pt x="949" y="35"/>
                  </a:lnTo>
                  <a:lnTo>
                    <a:pt x="949" y="0"/>
                  </a:lnTo>
                  <a:lnTo>
                    <a:pt x="985" y="0"/>
                  </a:lnTo>
                  <a:close/>
                  <a:moveTo>
                    <a:pt x="918" y="223"/>
                  </a:moveTo>
                  <a:lnTo>
                    <a:pt x="956" y="223"/>
                  </a:lnTo>
                  <a:lnTo>
                    <a:pt x="937" y="94"/>
                  </a:lnTo>
                  <a:lnTo>
                    <a:pt x="918" y="223"/>
                  </a:lnTo>
                  <a:close/>
                  <a:moveTo>
                    <a:pt x="929" y="0"/>
                  </a:moveTo>
                  <a:lnTo>
                    <a:pt x="929" y="35"/>
                  </a:lnTo>
                  <a:lnTo>
                    <a:pt x="894" y="35"/>
                  </a:lnTo>
                  <a:lnTo>
                    <a:pt x="894" y="0"/>
                  </a:lnTo>
                  <a:lnTo>
                    <a:pt x="929" y="0"/>
                  </a:lnTo>
                  <a:close/>
                  <a:moveTo>
                    <a:pt x="1009" y="305"/>
                  </a:moveTo>
                  <a:lnTo>
                    <a:pt x="969" y="305"/>
                  </a:lnTo>
                  <a:lnTo>
                    <a:pt x="962" y="258"/>
                  </a:lnTo>
                  <a:lnTo>
                    <a:pt x="913" y="258"/>
                  </a:lnTo>
                  <a:lnTo>
                    <a:pt x="905" y="305"/>
                  </a:lnTo>
                  <a:lnTo>
                    <a:pt x="868" y="305"/>
                  </a:lnTo>
                  <a:lnTo>
                    <a:pt x="909" y="49"/>
                  </a:lnTo>
                  <a:lnTo>
                    <a:pt x="969" y="49"/>
                  </a:lnTo>
                  <a:lnTo>
                    <a:pt x="1009" y="305"/>
                  </a:lnTo>
                  <a:close/>
                  <a:moveTo>
                    <a:pt x="742" y="49"/>
                  </a:moveTo>
                  <a:lnTo>
                    <a:pt x="866" y="49"/>
                  </a:lnTo>
                  <a:lnTo>
                    <a:pt x="866" y="86"/>
                  </a:lnTo>
                  <a:lnTo>
                    <a:pt x="825" y="86"/>
                  </a:lnTo>
                  <a:lnTo>
                    <a:pt x="825" y="305"/>
                  </a:lnTo>
                  <a:lnTo>
                    <a:pt x="785" y="305"/>
                  </a:lnTo>
                  <a:lnTo>
                    <a:pt x="785" y="86"/>
                  </a:lnTo>
                  <a:lnTo>
                    <a:pt x="742" y="86"/>
                  </a:lnTo>
                  <a:lnTo>
                    <a:pt x="742" y="49"/>
                  </a:lnTo>
                  <a:close/>
                  <a:moveTo>
                    <a:pt x="603" y="49"/>
                  </a:moveTo>
                  <a:lnTo>
                    <a:pt x="728" y="49"/>
                  </a:lnTo>
                  <a:lnTo>
                    <a:pt x="728" y="86"/>
                  </a:lnTo>
                  <a:lnTo>
                    <a:pt x="685" y="86"/>
                  </a:lnTo>
                  <a:lnTo>
                    <a:pt x="685" y="305"/>
                  </a:lnTo>
                  <a:lnTo>
                    <a:pt x="645" y="305"/>
                  </a:lnTo>
                  <a:lnTo>
                    <a:pt x="645" y="86"/>
                  </a:lnTo>
                  <a:lnTo>
                    <a:pt x="603" y="86"/>
                  </a:lnTo>
                  <a:lnTo>
                    <a:pt x="603" y="49"/>
                  </a:lnTo>
                  <a:close/>
                  <a:moveTo>
                    <a:pt x="536" y="49"/>
                  </a:moveTo>
                  <a:lnTo>
                    <a:pt x="576" y="49"/>
                  </a:lnTo>
                  <a:lnTo>
                    <a:pt x="576" y="305"/>
                  </a:lnTo>
                  <a:lnTo>
                    <a:pt x="536" y="305"/>
                  </a:lnTo>
                  <a:lnTo>
                    <a:pt x="536" y="49"/>
                  </a:lnTo>
                  <a:close/>
                  <a:moveTo>
                    <a:pt x="441" y="257"/>
                  </a:moveTo>
                  <a:lnTo>
                    <a:pt x="472" y="49"/>
                  </a:lnTo>
                  <a:lnTo>
                    <a:pt x="509" y="49"/>
                  </a:lnTo>
                  <a:lnTo>
                    <a:pt x="468" y="305"/>
                  </a:lnTo>
                  <a:lnTo>
                    <a:pt x="409" y="305"/>
                  </a:lnTo>
                  <a:lnTo>
                    <a:pt x="370" y="49"/>
                  </a:lnTo>
                  <a:lnTo>
                    <a:pt x="410" y="49"/>
                  </a:lnTo>
                  <a:lnTo>
                    <a:pt x="441" y="257"/>
                  </a:lnTo>
                  <a:close/>
                  <a:moveTo>
                    <a:pt x="301" y="49"/>
                  </a:moveTo>
                  <a:lnTo>
                    <a:pt x="342" y="49"/>
                  </a:lnTo>
                  <a:lnTo>
                    <a:pt x="342" y="305"/>
                  </a:lnTo>
                  <a:lnTo>
                    <a:pt x="301" y="305"/>
                  </a:lnTo>
                  <a:lnTo>
                    <a:pt x="301" y="49"/>
                  </a:lnTo>
                  <a:close/>
                  <a:moveTo>
                    <a:pt x="249" y="0"/>
                  </a:moveTo>
                  <a:lnTo>
                    <a:pt x="249" y="35"/>
                  </a:lnTo>
                  <a:lnTo>
                    <a:pt x="214" y="35"/>
                  </a:lnTo>
                  <a:lnTo>
                    <a:pt x="214" y="0"/>
                  </a:lnTo>
                  <a:lnTo>
                    <a:pt x="249" y="0"/>
                  </a:lnTo>
                  <a:close/>
                  <a:moveTo>
                    <a:pt x="182" y="223"/>
                  </a:moveTo>
                  <a:lnTo>
                    <a:pt x="221" y="223"/>
                  </a:lnTo>
                  <a:lnTo>
                    <a:pt x="202" y="94"/>
                  </a:lnTo>
                  <a:lnTo>
                    <a:pt x="182" y="223"/>
                  </a:lnTo>
                  <a:close/>
                  <a:moveTo>
                    <a:pt x="194" y="0"/>
                  </a:moveTo>
                  <a:lnTo>
                    <a:pt x="194" y="35"/>
                  </a:lnTo>
                  <a:lnTo>
                    <a:pt x="158" y="35"/>
                  </a:lnTo>
                  <a:lnTo>
                    <a:pt x="158" y="0"/>
                  </a:lnTo>
                  <a:lnTo>
                    <a:pt x="194" y="0"/>
                  </a:lnTo>
                  <a:close/>
                  <a:moveTo>
                    <a:pt x="274" y="305"/>
                  </a:moveTo>
                  <a:lnTo>
                    <a:pt x="234" y="305"/>
                  </a:lnTo>
                  <a:lnTo>
                    <a:pt x="226" y="258"/>
                  </a:lnTo>
                  <a:lnTo>
                    <a:pt x="177" y="258"/>
                  </a:lnTo>
                  <a:lnTo>
                    <a:pt x="170" y="305"/>
                  </a:lnTo>
                  <a:lnTo>
                    <a:pt x="133" y="305"/>
                  </a:lnTo>
                  <a:lnTo>
                    <a:pt x="174" y="49"/>
                  </a:lnTo>
                  <a:lnTo>
                    <a:pt x="233" y="49"/>
                  </a:lnTo>
                  <a:lnTo>
                    <a:pt x="274" y="305"/>
                  </a:lnTo>
                  <a:close/>
                  <a:moveTo>
                    <a:pt x="40" y="86"/>
                  </a:moveTo>
                  <a:lnTo>
                    <a:pt x="40" y="171"/>
                  </a:lnTo>
                  <a:lnTo>
                    <a:pt x="59" y="171"/>
                  </a:lnTo>
                  <a:lnTo>
                    <a:pt x="63" y="171"/>
                  </a:lnTo>
                  <a:lnTo>
                    <a:pt x="68" y="170"/>
                  </a:lnTo>
                  <a:lnTo>
                    <a:pt x="71" y="169"/>
                  </a:lnTo>
                  <a:lnTo>
                    <a:pt x="74" y="166"/>
                  </a:lnTo>
                  <a:lnTo>
                    <a:pt x="76" y="163"/>
                  </a:lnTo>
                  <a:lnTo>
                    <a:pt x="77" y="159"/>
                  </a:lnTo>
                  <a:lnTo>
                    <a:pt x="78" y="154"/>
                  </a:lnTo>
                  <a:lnTo>
                    <a:pt x="78" y="148"/>
                  </a:lnTo>
                  <a:lnTo>
                    <a:pt x="78" y="109"/>
                  </a:lnTo>
                  <a:lnTo>
                    <a:pt x="78" y="103"/>
                  </a:lnTo>
                  <a:lnTo>
                    <a:pt x="77" y="97"/>
                  </a:lnTo>
                  <a:lnTo>
                    <a:pt x="76" y="94"/>
                  </a:lnTo>
                  <a:lnTo>
                    <a:pt x="74" y="90"/>
                  </a:lnTo>
                  <a:lnTo>
                    <a:pt x="72" y="89"/>
                  </a:lnTo>
                  <a:lnTo>
                    <a:pt x="71" y="88"/>
                  </a:lnTo>
                  <a:lnTo>
                    <a:pt x="69" y="87"/>
                  </a:lnTo>
                  <a:lnTo>
                    <a:pt x="68" y="87"/>
                  </a:lnTo>
                  <a:lnTo>
                    <a:pt x="63" y="86"/>
                  </a:lnTo>
                  <a:lnTo>
                    <a:pt x="59" y="86"/>
                  </a:lnTo>
                  <a:lnTo>
                    <a:pt x="40" y="86"/>
                  </a:lnTo>
                  <a:close/>
                  <a:moveTo>
                    <a:pt x="118" y="112"/>
                  </a:moveTo>
                  <a:lnTo>
                    <a:pt x="118" y="145"/>
                  </a:lnTo>
                  <a:lnTo>
                    <a:pt x="118" y="152"/>
                  </a:lnTo>
                  <a:lnTo>
                    <a:pt x="118" y="160"/>
                  </a:lnTo>
                  <a:lnTo>
                    <a:pt x="116" y="166"/>
                  </a:lnTo>
                  <a:lnTo>
                    <a:pt x="115" y="172"/>
                  </a:lnTo>
                  <a:lnTo>
                    <a:pt x="113" y="178"/>
                  </a:lnTo>
                  <a:lnTo>
                    <a:pt x="111" y="183"/>
                  </a:lnTo>
                  <a:lnTo>
                    <a:pt x="108" y="188"/>
                  </a:lnTo>
                  <a:lnTo>
                    <a:pt x="104" y="192"/>
                  </a:lnTo>
                  <a:lnTo>
                    <a:pt x="100" y="196"/>
                  </a:lnTo>
                  <a:lnTo>
                    <a:pt x="95" y="199"/>
                  </a:lnTo>
                  <a:lnTo>
                    <a:pt x="91" y="202"/>
                  </a:lnTo>
                  <a:lnTo>
                    <a:pt x="86" y="204"/>
                  </a:lnTo>
                  <a:lnTo>
                    <a:pt x="79" y="206"/>
                  </a:lnTo>
                  <a:lnTo>
                    <a:pt x="73" y="207"/>
                  </a:lnTo>
                  <a:lnTo>
                    <a:pt x="67" y="208"/>
                  </a:lnTo>
                  <a:lnTo>
                    <a:pt x="59" y="208"/>
                  </a:lnTo>
                  <a:lnTo>
                    <a:pt x="40" y="208"/>
                  </a:lnTo>
                  <a:lnTo>
                    <a:pt x="40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59" y="49"/>
                  </a:lnTo>
                  <a:lnTo>
                    <a:pt x="67" y="49"/>
                  </a:lnTo>
                  <a:lnTo>
                    <a:pt x="73" y="50"/>
                  </a:lnTo>
                  <a:lnTo>
                    <a:pt x="79" y="51"/>
                  </a:lnTo>
                  <a:lnTo>
                    <a:pt x="86" y="53"/>
                  </a:lnTo>
                  <a:lnTo>
                    <a:pt x="88" y="54"/>
                  </a:lnTo>
                  <a:lnTo>
                    <a:pt x="91" y="55"/>
                  </a:lnTo>
                  <a:lnTo>
                    <a:pt x="95" y="58"/>
                  </a:lnTo>
                  <a:lnTo>
                    <a:pt x="100" y="61"/>
                  </a:lnTo>
                  <a:lnTo>
                    <a:pt x="104" y="64"/>
                  </a:lnTo>
                  <a:lnTo>
                    <a:pt x="108" y="69"/>
                  </a:lnTo>
                  <a:lnTo>
                    <a:pt x="111" y="74"/>
                  </a:lnTo>
                  <a:lnTo>
                    <a:pt x="113" y="79"/>
                  </a:lnTo>
                  <a:lnTo>
                    <a:pt x="115" y="85"/>
                  </a:lnTo>
                  <a:lnTo>
                    <a:pt x="116" y="91"/>
                  </a:lnTo>
                  <a:lnTo>
                    <a:pt x="118" y="97"/>
                  </a:lnTo>
                  <a:lnTo>
                    <a:pt x="118" y="105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734638965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23AC8F-2DF6-4B31-AFEE-AB5C5C66FA7C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22"/>
            <p:cNvSpPr>
              <a:spLocks noEditPoints="1"/>
            </p:cNvSpPr>
            <p:nvPr userDrawn="1"/>
          </p:nvSpPr>
          <p:spPr bwMode="auto">
            <a:xfrm>
              <a:off x="8843371" y="6428428"/>
              <a:ext cx="2004515" cy="290400"/>
            </a:xfrm>
            <a:custGeom>
              <a:avLst/>
              <a:gdLst>
                <a:gd name="T0" fmla="*/ 2079 w 2127"/>
                <a:gd name="T1" fmla="*/ 258 h 308"/>
                <a:gd name="T2" fmla="*/ 1880 w 2127"/>
                <a:gd name="T3" fmla="*/ 86 h 308"/>
                <a:gd name="T4" fmla="*/ 1916 w 2127"/>
                <a:gd name="T5" fmla="*/ 154 h 308"/>
                <a:gd name="T6" fmla="*/ 1918 w 2127"/>
                <a:gd name="T7" fmla="*/ 97 h 308"/>
                <a:gd name="T8" fmla="*/ 1880 w 2127"/>
                <a:gd name="T9" fmla="*/ 86 h 308"/>
                <a:gd name="T10" fmla="*/ 1920 w 2127"/>
                <a:gd name="T11" fmla="*/ 224 h 308"/>
                <a:gd name="T12" fmla="*/ 1900 w 2127"/>
                <a:gd name="T13" fmla="*/ 201 h 308"/>
                <a:gd name="T14" fmla="*/ 1909 w 2127"/>
                <a:gd name="T15" fmla="*/ 49 h 308"/>
                <a:gd name="T16" fmla="*/ 1946 w 2127"/>
                <a:gd name="T17" fmla="*/ 63 h 308"/>
                <a:gd name="T18" fmla="*/ 1961 w 2127"/>
                <a:gd name="T19" fmla="*/ 100 h 308"/>
                <a:gd name="T20" fmla="*/ 1950 w 2127"/>
                <a:gd name="T21" fmla="*/ 166 h 308"/>
                <a:gd name="T22" fmla="*/ 1949 w 2127"/>
                <a:gd name="T23" fmla="*/ 190 h 308"/>
                <a:gd name="T24" fmla="*/ 1961 w 2127"/>
                <a:gd name="T25" fmla="*/ 273 h 308"/>
                <a:gd name="T26" fmla="*/ 1760 w 2127"/>
                <a:gd name="T27" fmla="*/ 223 h 308"/>
                <a:gd name="T28" fmla="*/ 1709 w 2127"/>
                <a:gd name="T29" fmla="*/ 305 h 308"/>
                <a:gd name="T30" fmla="*/ 1663 w 2127"/>
                <a:gd name="T31" fmla="*/ 49 h 308"/>
                <a:gd name="T32" fmla="*/ 1464 w 2127"/>
                <a:gd name="T33" fmla="*/ 223 h 308"/>
                <a:gd name="T34" fmla="*/ 1413 w 2127"/>
                <a:gd name="T35" fmla="*/ 305 h 308"/>
                <a:gd name="T36" fmla="*/ 1374 w 2127"/>
                <a:gd name="T37" fmla="*/ 86 h 308"/>
                <a:gd name="T38" fmla="*/ 1170 w 2127"/>
                <a:gd name="T39" fmla="*/ 45 h 308"/>
                <a:gd name="T40" fmla="*/ 1210 w 2127"/>
                <a:gd name="T41" fmla="*/ 58 h 308"/>
                <a:gd name="T42" fmla="*/ 1228 w 2127"/>
                <a:gd name="T43" fmla="*/ 95 h 308"/>
                <a:gd name="T44" fmla="*/ 1190 w 2127"/>
                <a:gd name="T45" fmla="*/ 96 h 308"/>
                <a:gd name="T46" fmla="*/ 1171 w 2127"/>
                <a:gd name="T47" fmla="*/ 82 h 308"/>
                <a:gd name="T48" fmla="*/ 1152 w 2127"/>
                <a:gd name="T49" fmla="*/ 96 h 308"/>
                <a:gd name="T50" fmla="*/ 1163 w 2127"/>
                <a:gd name="T51" fmla="*/ 141 h 308"/>
                <a:gd name="T52" fmla="*/ 1214 w 2127"/>
                <a:gd name="T53" fmla="*/ 194 h 308"/>
                <a:gd name="T54" fmla="*/ 1229 w 2127"/>
                <a:gd name="T55" fmla="*/ 236 h 308"/>
                <a:gd name="T56" fmla="*/ 1220 w 2127"/>
                <a:gd name="T57" fmla="*/ 281 h 308"/>
                <a:gd name="T58" fmla="*/ 1190 w 2127"/>
                <a:gd name="T59" fmla="*/ 305 h 308"/>
                <a:gd name="T60" fmla="*/ 1143 w 2127"/>
                <a:gd name="T61" fmla="*/ 302 h 308"/>
                <a:gd name="T62" fmla="*/ 1116 w 2127"/>
                <a:gd name="T63" fmla="*/ 276 h 308"/>
                <a:gd name="T64" fmla="*/ 1147 w 2127"/>
                <a:gd name="T65" fmla="*/ 227 h 308"/>
                <a:gd name="T66" fmla="*/ 1160 w 2127"/>
                <a:gd name="T67" fmla="*/ 269 h 308"/>
                <a:gd name="T68" fmla="*/ 1185 w 2127"/>
                <a:gd name="T69" fmla="*/ 261 h 308"/>
                <a:gd name="T70" fmla="*/ 1182 w 2127"/>
                <a:gd name="T71" fmla="*/ 220 h 308"/>
                <a:gd name="T72" fmla="*/ 1128 w 2127"/>
                <a:gd name="T73" fmla="*/ 163 h 308"/>
                <a:gd name="T74" fmla="*/ 1111 w 2127"/>
                <a:gd name="T75" fmla="*/ 123 h 308"/>
                <a:gd name="T76" fmla="*/ 1117 w 2127"/>
                <a:gd name="T77" fmla="*/ 77 h 308"/>
                <a:gd name="T78" fmla="*/ 1144 w 2127"/>
                <a:gd name="T79" fmla="*/ 50 h 308"/>
                <a:gd name="T80" fmla="*/ 1078 w 2127"/>
                <a:gd name="T81" fmla="*/ 305 h 308"/>
                <a:gd name="T82" fmla="*/ 985 w 2127"/>
                <a:gd name="T83" fmla="*/ 0 h 308"/>
                <a:gd name="T84" fmla="*/ 894 w 2127"/>
                <a:gd name="T85" fmla="*/ 35 h 308"/>
                <a:gd name="T86" fmla="*/ 905 w 2127"/>
                <a:gd name="T87" fmla="*/ 305 h 308"/>
                <a:gd name="T88" fmla="*/ 866 w 2127"/>
                <a:gd name="T89" fmla="*/ 86 h 308"/>
                <a:gd name="T90" fmla="*/ 603 w 2127"/>
                <a:gd name="T91" fmla="*/ 49 h 308"/>
                <a:gd name="T92" fmla="*/ 603 w 2127"/>
                <a:gd name="T93" fmla="*/ 86 h 308"/>
                <a:gd name="T94" fmla="*/ 441 w 2127"/>
                <a:gd name="T95" fmla="*/ 257 h 308"/>
                <a:gd name="T96" fmla="*/ 441 w 2127"/>
                <a:gd name="T97" fmla="*/ 257 h 308"/>
                <a:gd name="T98" fmla="*/ 249 w 2127"/>
                <a:gd name="T99" fmla="*/ 35 h 308"/>
                <a:gd name="T100" fmla="*/ 182 w 2127"/>
                <a:gd name="T101" fmla="*/ 223 h 308"/>
                <a:gd name="T102" fmla="*/ 234 w 2127"/>
                <a:gd name="T103" fmla="*/ 305 h 308"/>
                <a:gd name="T104" fmla="*/ 274 w 2127"/>
                <a:gd name="T105" fmla="*/ 305 h 308"/>
                <a:gd name="T106" fmla="*/ 74 w 2127"/>
                <a:gd name="T107" fmla="*/ 166 h 308"/>
                <a:gd name="T108" fmla="*/ 77 w 2127"/>
                <a:gd name="T109" fmla="*/ 97 h 308"/>
                <a:gd name="T110" fmla="*/ 63 w 2127"/>
                <a:gd name="T111" fmla="*/ 86 h 308"/>
                <a:gd name="T112" fmla="*/ 116 w 2127"/>
                <a:gd name="T113" fmla="*/ 166 h 308"/>
                <a:gd name="T114" fmla="*/ 95 w 2127"/>
                <a:gd name="T115" fmla="*/ 199 h 308"/>
                <a:gd name="T116" fmla="*/ 40 w 2127"/>
                <a:gd name="T117" fmla="*/ 208 h 308"/>
                <a:gd name="T118" fmla="*/ 79 w 2127"/>
                <a:gd name="T119" fmla="*/ 51 h 308"/>
                <a:gd name="T120" fmla="*/ 108 w 2127"/>
                <a:gd name="T121" fmla="*/ 69 h 308"/>
                <a:gd name="T122" fmla="*/ 118 w 2127"/>
                <a:gd name="T12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7" h="308">
                  <a:moveTo>
                    <a:pt x="2035" y="223"/>
                  </a:moveTo>
                  <a:lnTo>
                    <a:pt x="2074" y="223"/>
                  </a:lnTo>
                  <a:lnTo>
                    <a:pt x="2054" y="94"/>
                  </a:lnTo>
                  <a:lnTo>
                    <a:pt x="2035" y="223"/>
                  </a:lnTo>
                  <a:close/>
                  <a:moveTo>
                    <a:pt x="2127" y="305"/>
                  </a:moveTo>
                  <a:lnTo>
                    <a:pt x="2085" y="305"/>
                  </a:lnTo>
                  <a:lnTo>
                    <a:pt x="2079" y="258"/>
                  </a:lnTo>
                  <a:lnTo>
                    <a:pt x="2029" y="258"/>
                  </a:lnTo>
                  <a:lnTo>
                    <a:pt x="2023" y="305"/>
                  </a:lnTo>
                  <a:lnTo>
                    <a:pt x="1986" y="305"/>
                  </a:lnTo>
                  <a:lnTo>
                    <a:pt x="2026" y="49"/>
                  </a:lnTo>
                  <a:lnTo>
                    <a:pt x="2085" y="49"/>
                  </a:lnTo>
                  <a:lnTo>
                    <a:pt x="2127" y="305"/>
                  </a:lnTo>
                  <a:close/>
                  <a:moveTo>
                    <a:pt x="1880" y="86"/>
                  </a:moveTo>
                  <a:lnTo>
                    <a:pt x="1880" y="164"/>
                  </a:lnTo>
                  <a:lnTo>
                    <a:pt x="1896" y="164"/>
                  </a:lnTo>
                  <a:lnTo>
                    <a:pt x="1901" y="163"/>
                  </a:lnTo>
                  <a:lnTo>
                    <a:pt x="1907" y="163"/>
                  </a:lnTo>
                  <a:lnTo>
                    <a:pt x="1910" y="161"/>
                  </a:lnTo>
                  <a:lnTo>
                    <a:pt x="1914" y="158"/>
                  </a:lnTo>
                  <a:lnTo>
                    <a:pt x="1916" y="154"/>
                  </a:lnTo>
                  <a:lnTo>
                    <a:pt x="1918" y="149"/>
                  </a:lnTo>
                  <a:lnTo>
                    <a:pt x="1919" y="144"/>
                  </a:lnTo>
                  <a:lnTo>
                    <a:pt x="1920" y="136"/>
                  </a:lnTo>
                  <a:lnTo>
                    <a:pt x="1920" y="111"/>
                  </a:lnTo>
                  <a:lnTo>
                    <a:pt x="1920" y="105"/>
                  </a:lnTo>
                  <a:lnTo>
                    <a:pt x="1919" y="99"/>
                  </a:lnTo>
                  <a:lnTo>
                    <a:pt x="1918" y="97"/>
                  </a:lnTo>
                  <a:lnTo>
                    <a:pt x="1917" y="95"/>
                  </a:lnTo>
                  <a:lnTo>
                    <a:pt x="1915" y="91"/>
                  </a:lnTo>
                  <a:lnTo>
                    <a:pt x="1913" y="89"/>
                  </a:lnTo>
                  <a:lnTo>
                    <a:pt x="1909" y="87"/>
                  </a:lnTo>
                  <a:lnTo>
                    <a:pt x="1905" y="86"/>
                  </a:lnTo>
                  <a:lnTo>
                    <a:pt x="1899" y="86"/>
                  </a:lnTo>
                  <a:lnTo>
                    <a:pt x="1880" y="86"/>
                  </a:lnTo>
                  <a:close/>
                  <a:moveTo>
                    <a:pt x="1925" y="305"/>
                  </a:moveTo>
                  <a:lnTo>
                    <a:pt x="1923" y="299"/>
                  </a:lnTo>
                  <a:lnTo>
                    <a:pt x="1922" y="294"/>
                  </a:lnTo>
                  <a:lnTo>
                    <a:pt x="1920" y="286"/>
                  </a:lnTo>
                  <a:lnTo>
                    <a:pt x="1920" y="273"/>
                  </a:lnTo>
                  <a:lnTo>
                    <a:pt x="1920" y="233"/>
                  </a:lnTo>
                  <a:lnTo>
                    <a:pt x="1920" y="224"/>
                  </a:lnTo>
                  <a:lnTo>
                    <a:pt x="1919" y="218"/>
                  </a:lnTo>
                  <a:lnTo>
                    <a:pt x="1917" y="212"/>
                  </a:lnTo>
                  <a:lnTo>
                    <a:pt x="1914" y="207"/>
                  </a:lnTo>
                  <a:lnTo>
                    <a:pt x="1911" y="204"/>
                  </a:lnTo>
                  <a:lnTo>
                    <a:pt x="1909" y="203"/>
                  </a:lnTo>
                  <a:lnTo>
                    <a:pt x="1906" y="202"/>
                  </a:lnTo>
                  <a:lnTo>
                    <a:pt x="1900" y="201"/>
                  </a:lnTo>
                  <a:lnTo>
                    <a:pt x="1894" y="200"/>
                  </a:lnTo>
                  <a:lnTo>
                    <a:pt x="1880" y="200"/>
                  </a:lnTo>
                  <a:lnTo>
                    <a:pt x="1880" y="305"/>
                  </a:lnTo>
                  <a:lnTo>
                    <a:pt x="1840" y="305"/>
                  </a:lnTo>
                  <a:lnTo>
                    <a:pt x="1840" y="49"/>
                  </a:lnTo>
                  <a:lnTo>
                    <a:pt x="1901" y="49"/>
                  </a:lnTo>
                  <a:lnTo>
                    <a:pt x="1909" y="49"/>
                  </a:lnTo>
                  <a:lnTo>
                    <a:pt x="1915" y="50"/>
                  </a:lnTo>
                  <a:lnTo>
                    <a:pt x="1922" y="51"/>
                  </a:lnTo>
                  <a:lnTo>
                    <a:pt x="1928" y="52"/>
                  </a:lnTo>
                  <a:lnTo>
                    <a:pt x="1933" y="54"/>
                  </a:lnTo>
                  <a:lnTo>
                    <a:pt x="1938" y="57"/>
                  </a:lnTo>
                  <a:lnTo>
                    <a:pt x="1943" y="60"/>
                  </a:lnTo>
                  <a:lnTo>
                    <a:pt x="1946" y="63"/>
                  </a:lnTo>
                  <a:lnTo>
                    <a:pt x="1950" y="67"/>
                  </a:lnTo>
                  <a:lnTo>
                    <a:pt x="1952" y="72"/>
                  </a:lnTo>
                  <a:lnTo>
                    <a:pt x="1955" y="76"/>
                  </a:lnTo>
                  <a:lnTo>
                    <a:pt x="1957" y="81"/>
                  </a:lnTo>
                  <a:lnTo>
                    <a:pt x="1959" y="88"/>
                  </a:lnTo>
                  <a:lnTo>
                    <a:pt x="1960" y="93"/>
                  </a:lnTo>
                  <a:lnTo>
                    <a:pt x="1961" y="100"/>
                  </a:lnTo>
                  <a:lnTo>
                    <a:pt x="1961" y="108"/>
                  </a:lnTo>
                  <a:lnTo>
                    <a:pt x="1961" y="128"/>
                  </a:lnTo>
                  <a:lnTo>
                    <a:pt x="1960" y="137"/>
                  </a:lnTo>
                  <a:lnTo>
                    <a:pt x="1959" y="146"/>
                  </a:lnTo>
                  <a:lnTo>
                    <a:pt x="1956" y="153"/>
                  </a:lnTo>
                  <a:lnTo>
                    <a:pt x="1954" y="160"/>
                  </a:lnTo>
                  <a:lnTo>
                    <a:pt x="1950" y="166"/>
                  </a:lnTo>
                  <a:lnTo>
                    <a:pt x="1946" y="171"/>
                  </a:lnTo>
                  <a:lnTo>
                    <a:pt x="1941" y="176"/>
                  </a:lnTo>
                  <a:lnTo>
                    <a:pt x="1934" y="180"/>
                  </a:lnTo>
                  <a:lnTo>
                    <a:pt x="1941" y="183"/>
                  </a:lnTo>
                  <a:lnTo>
                    <a:pt x="1944" y="185"/>
                  </a:lnTo>
                  <a:lnTo>
                    <a:pt x="1947" y="187"/>
                  </a:lnTo>
                  <a:lnTo>
                    <a:pt x="1949" y="190"/>
                  </a:lnTo>
                  <a:lnTo>
                    <a:pt x="1951" y="194"/>
                  </a:lnTo>
                  <a:lnTo>
                    <a:pt x="1955" y="200"/>
                  </a:lnTo>
                  <a:lnTo>
                    <a:pt x="1957" y="207"/>
                  </a:lnTo>
                  <a:lnTo>
                    <a:pt x="1960" y="216"/>
                  </a:lnTo>
                  <a:lnTo>
                    <a:pt x="1961" y="224"/>
                  </a:lnTo>
                  <a:lnTo>
                    <a:pt x="1961" y="234"/>
                  </a:lnTo>
                  <a:lnTo>
                    <a:pt x="1961" y="273"/>
                  </a:lnTo>
                  <a:lnTo>
                    <a:pt x="1961" y="282"/>
                  </a:lnTo>
                  <a:lnTo>
                    <a:pt x="1962" y="290"/>
                  </a:lnTo>
                  <a:lnTo>
                    <a:pt x="1963" y="297"/>
                  </a:lnTo>
                  <a:lnTo>
                    <a:pt x="1965" y="305"/>
                  </a:lnTo>
                  <a:lnTo>
                    <a:pt x="1925" y="305"/>
                  </a:lnTo>
                  <a:close/>
                  <a:moveTo>
                    <a:pt x="1721" y="223"/>
                  </a:moveTo>
                  <a:lnTo>
                    <a:pt x="1760" y="223"/>
                  </a:lnTo>
                  <a:lnTo>
                    <a:pt x="1740" y="94"/>
                  </a:lnTo>
                  <a:lnTo>
                    <a:pt x="1721" y="223"/>
                  </a:lnTo>
                  <a:close/>
                  <a:moveTo>
                    <a:pt x="1813" y="305"/>
                  </a:moveTo>
                  <a:lnTo>
                    <a:pt x="1772" y="305"/>
                  </a:lnTo>
                  <a:lnTo>
                    <a:pt x="1765" y="258"/>
                  </a:lnTo>
                  <a:lnTo>
                    <a:pt x="1715" y="258"/>
                  </a:lnTo>
                  <a:lnTo>
                    <a:pt x="1709" y="305"/>
                  </a:lnTo>
                  <a:lnTo>
                    <a:pt x="1672" y="305"/>
                  </a:lnTo>
                  <a:lnTo>
                    <a:pt x="1713" y="49"/>
                  </a:lnTo>
                  <a:lnTo>
                    <a:pt x="1771" y="49"/>
                  </a:lnTo>
                  <a:lnTo>
                    <a:pt x="1813" y="305"/>
                  </a:lnTo>
                  <a:close/>
                  <a:moveTo>
                    <a:pt x="1596" y="257"/>
                  </a:moveTo>
                  <a:lnTo>
                    <a:pt x="1626" y="49"/>
                  </a:lnTo>
                  <a:lnTo>
                    <a:pt x="1663" y="49"/>
                  </a:lnTo>
                  <a:lnTo>
                    <a:pt x="1624" y="305"/>
                  </a:lnTo>
                  <a:lnTo>
                    <a:pt x="1564" y="305"/>
                  </a:lnTo>
                  <a:lnTo>
                    <a:pt x="1525" y="49"/>
                  </a:lnTo>
                  <a:lnTo>
                    <a:pt x="1565" y="49"/>
                  </a:lnTo>
                  <a:lnTo>
                    <a:pt x="1596" y="257"/>
                  </a:lnTo>
                  <a:close/>
                  <a:moveTo>
                    <a:pt x="1426" y="223"/>
                  </a:moveTo>
                  <a:lnTo>
                    <a:pt x="1464" y="223"/>
                  </a:lnTo>
                  <a:lnTo>
                    <a:pt x="1445" y="94"/>
                  </a:lnTo>
                  <a:lnTo>
                    <a:pt x="1426" y="223"/>
                  </a:lnTo>
                  <a:close/>
                  <a:moveTo>
                    <a:pt x="1516" y="305"/>
                  </a:moveTo>
                  <a:lnTo>
                    <a:pt x="1476" y="305"/>
                  </a:lnTo>
                  <a:lnTo>
                    <a:pt x="1469" y="258"/>
                  </a:lnTo>
                  <a:lnTo>
                    <a:pt x="1420" y="258"/>
                  </a:lnTo>
                  <a:lnTo>
                    <a:pt x="1413" y="305"/>
                  </a:lnTo>
                  <a:lnTo>
                    <a:pt x="1376" y="305"/>
                  </a:lnTo>
                  <a:lnTo>
                    <a:pt x="1417" y="49"/>
                  </a:lnTo>
                  <a:lnTo>
                    <a:pt x="1476" y="49"/>
                  </a:lnTo>
                  <a:lnTo>
                    <a:pt x="1516" y="305"/>
                  </a:lnTo>
                  <a:close/>
                  <a:moveTo>
                    <a:pt x="1250" y="49"/>
                  </a:moveTo>
                  <a:lnTo>
                    <a:pt x="1374" y="49"/>
                  </a:lnTo>
                  <a:lnTo>
                    <a:pt x="1374" y="86"/>
                  </a:lnTo>
                  <a:lnTo>
                    <a:pt x="1332" y="86"/>
                  </a:lnTo>
                  <a:lnTo>
                    <a:pt x="1332" y="305"/>
                  </a:lnTo>
                  <a:lnTo>
                    <a:pt x="1292" y="305"/>
                  </a:lnTo>
                  <a:lnTo>
                    <a:pt x="1292" y="86"/>
                  </a:lnTo>
                  <a:lnTo>
                    <a:pt x="1250" y="86"/>
                  </a:lnTo>
                  <a:lnTo>
                    <a:pt x="1250" y="49"/>
                  </a:lnTo>
                  <a:close/>
                  <a:moveTo>
                    <a:pt x="1170" y="45"/>
                  </a:moveTo>
                  <a:lnTo>
                    <a:pt x="1177" y="45"/>
                  </a:lnTo>
                  <a:lnTo>
                    <a:pt x="1183" y="47"/>
                  </a:lnTo>
                  <a:lnTo>
                    <a:pt x="1190" y="48"/>
                  </a:lnTo>
                  <a:lnTo>
                    <a:pt x="1195" y="50"/>
                  </a:lnTo>
                  <a:lnTo>
                    <a:pt x="1201" y="53"/>
                  </a:lnTo>
                  <a:lnTo>
                    <a:pt x="1206" y="55"/>
                  </a:lnTo>
                  <a:lnTo>
                    <a:pt x="1210" y="58"/>
                  </a:lnTo>
                  <a:lnTo>
                    <a:pt x="1214" y="62"/>
                  </a:lnTo>
                  <a:lnTo>
                    <a:pt x="1217" y="67"/>
                  </a:lnTo>
                  <a:lnTo>
                    <a:pt x="1220" y="72"/>
                  </a:lnTo>
                  <a:lnTo>
                    <a:pt x="1224" y="77"/>
                  </a:lnTo>
                  <a:lnTo>
                    <a:pt x="1226" y="82"/>
                  </a:lnTo>
                  <a:lnTo>
                    <a:pt x="1227" y="89"/>
                  </a:lnTo>
                  <a:lnTo>
                    <a:pt x="1228" y="95"/>
                  </a:lnTo>
                  <a:lnTo>
                    <a:pt x="1229" y="103"/>
                  </a:lnTo>
                  <a:lnTo>
                    <a:pt x="1229" y="110"/>
                  </a:lnTo>
                  <a:lnTo>
                    <a:pt x="1229" y="118"/>
                  </a:lnTo>
                  <a:lnTo>
                    <a:pt x="1191" y="118"/>
                  </a:lnTo>
                  <a:lnTo>
                    <a:pt x="1191" y="108"/>
                  </a:lnTo>
                  <a:lnTo>
                    <a:pt x="1191" y="102"/>
                  </a:lnTo>
                  <a:lnTo>
                    <a:pt x="1190" y="96"/>
                  </a:lnTo>
                  <a:lnTo>
                    <a:pt x="1188" y="91"/>
                  </a:lnTo>
                  <a:lnTo>
                    <a:pt x="1187" y="90"/>
                  </a:lnTo>
                  <a:lnTo>
                    <a:pt x="1185" y="88"/>
                  </a:lnTo>
                  <a:lnTo>
                    <a:pt x="1183" y="86"/>
                  </a:lnTo>
                  <a:lnTo>
                    <a:pt x="1179" y="84"/>
                  </a:lnTo>
                  <a:lnTo>
                    <a:pt x="1175" y="82"/>
                  </a:lnTo>
                  <a:lnTo>
                    <a:pt x="1171" y="82"/>
                  </a:lnTo>
                  <a:lnTo>
                    <a:pt x="1166" y="82"/>
                  </a:lnTo>
                  <a:lnTo>
                    <a:pt x="1162" y="84"/>
                  </a:lnTo>
                  <a:lnTo>
                    <a:pt x="1159" y="86"/>
                  </a:lnTo>
                  <a:lnTo>
                    <a:pt x="1156" y="88"/>
                  </a:lnTo>
                  <a:lnTo>
                    <a:pt x="1154" y="91"/>
                  </a:lnTo>
                  <a:lnTo>
                    <a:pt x="1153" y="93"/>
                  </a:lnTo>
                  <a:lnTo>
                    <a:pt x="1152" y="96"/>
                  </a:lnTo>
                  <a:lnTo>
                    <a:pt x="1152" y="102"/>
                  </a:lnTo>
                  <a:lnTo>
                    <a:pt x="1151" y="108"/>
                  </a:lnTo>
                  <a:lnTo>
                    <a:pt x="1152" y="116"/>
                  </a:lnTo>
                  <a:lnTo>
                    <a:pt x="1153" y="122"/>
                  </a:lnTo>
                  <a:lnTo>
                    <a:pt x="1154" y="126"/>
                  </a:lnTo>
                  <a:lnTo>
                    <a:pt x="1158" y="133"/>
                  </a:lnTo>
                  <a:lnTo>
                    <a:pt x="1163" y="141"/>
                  </a:lnTo>
                  <a:lnTo>
                    <a:pt x="1169" y="147"/>
                  </a:lnTo>
                  <a:lnTo>
                    <a:pt x="1176" y="154"/>
                  </a:lnTo>
                  <a:lnTo>
                    <a:pt x="1190" y="167"/>
                  </a:lnTo>
                  <a:lnTo>
                    <a:pt x="1197" y="174"/>
                  </a:lnTo>
                  <a:lnTo>
                    <a:pt x="1205" y="182"/>
                  </a:lnTo>
                  <a:lnTo>
                    <a:pt x="1211" y="189"/>
                  </a:lnTo>
                  <a:lnTo>
                    <a:pt x="1214" y="194"/>
                  </a:lnTo>
                  <a:lnTo>
                    <a:pt x="1217" y="199"/>
                  </a:lnTo>
                  <a:lnTo>
                    <a:pt x="1222" y="208"/>
                  </a:lnTo>
                  <a:lnTo>
                    <a:pt x="1225" y="213"/>
                  </a:lnTo>
                  <a:lnTo>
                    <a:pt x="1226" y="218"/>
                  </a:lnTo>
                  <a:lnTo>
                    <a:pt x="1228" y="224"/>
                  </a:lnTo>
                  <a:lnTo>
                    <a:pt x="1229" y="229"/>
                  </a:lnTo>
                  <a:lnTo>
                    <a:pt x="1229" y="236"/>
                  </a:lnTo>
                  <a:lnTo>
                    <a:pt x="1229" y="243"/>
                  </a:lnTo>
                  <a:lnTo>
                    <a:pt x="1229" y="251"/>
                  </a:lnTo>
                  <a:lnTo>
                    <a:pt x="1229" y="257"/>
                  </a:lnTo>
                  <a:lnTo>
                    <a:pt x="1227" y="264"/>
                  </a:lnTo>
                  <a:lnTo>
                    <a:pt x="1226" y="271"/>
                  </a:lnTo>
                  <a:lnTo>
                    <a:pt x="1224" y="276"/>
                  </a:lnTo>
                  <a:lnTo>
                    <a:pt x="1220" y="281"/>
                  </a:lnTo>
                  <a:lnTo>
                    <a:pt x="1217" y="287"/>
                  </a:lnTo>
                  <a:lnTo>
                    <a:pt x="1214" y="291"/>
                  </a:lnTo>
                  <a:lnTo>
                    <a:pt x="1210" y="294"/>
                  </a:lnTo>
                  <a:lnTo>
                    <a:pt x="1206" y="298"/>
                  </a:lnTo>
                  <a:lnTo>
                    <a:pt x="1200" y="300"/>
                  </a:lnTo>
                  <a:lnTo>
                    <a:pt x="1195" y="302"/>
                  </a:lnTo>
                  <a:lnTo>
                    <a:pt x="1190" y="305"/>
                  </a:lnTo>
                  <a:lnTo>
                    <a:pt x="1183" y="307"/>
                  </a:lnTo>
                  <a:lnTo>
                    <a:pt x="1177" y="307"/>
                  </a:lnTo>
                  <a:lnTo>
                    <a:pt x="1170" y="308"/>
                  </a:lnTo>
                  <a:lnTo>
                    <a:pt x="1162" y="307"/>
                  </a:lnTo>
                  <a:lnTo>
                    <a:pt x="1156" y="307"/>
                  </a:lnTo>
                  <a:lnTo>
                    <a:pt x="1150" y="305"/>
                  </a:lnTo>
                  <a:lnTo>
                    <a:pt x="1143" y="302"/>
                  </a:lnTo>
                  <a:lnTo>
                    <a:pt x="1138" y="300"/>
                  </a:lnTo>
                  <a:lnTo>
                    <a:pt x="1133" y="298"/>
                  </a:lnTo>
                  <a:lnTo>
                    <a:pt x="1128" y="294"/>
                  </a:lnTo>
                  <a:lnTo>
                    <a:pt x="1124" y="291"/>
                  </a:lnTo>
                  <a:lnTo>
                    <a:pt x="1121" y="287"/>
                  </a:lnTo>
                  <a:lnTo>
                    <a:pt x="1118" y="281"/>
                  </a:lnTo>
                  <a:lnTo>
                    <a:pt x="1116" y="276"/>
                  </a:lnTo>
                  <a:lnTo>
                    <a:pt x="1114" y="271"/>
                  </a:lnTo>
                  <a:lnTo>
                    <a:pt x="1111" y="264"/>
                  </a:lnTo>
                  <a:lnTo>
                    <a:pt x="1110" y="257"/>
                  </a:lnTo>
                  <a:lnTo>
                    <a:pt x="1109" y="251"/>
                  </a:lnTo>
                  <a:lnTo>
                    <a:pt x="1109" y="243"/>
                  </a:lnTo>
                  <a:lnTo>
                    <a:pt x="1109" y="227"/>
                  </a:lnTo>
                  <a:lnTo>
                    <a:pt x="1147" y="227"/>
                  </a:lnTo>
                  <a:lnTo>
                    <a:pt x="1147" y="245"/>
                  </a:lnTo>
                  <a:lnTo>
                    <a:pt x="1147" y="252"/>
                  </a:lnTo>
                  <a:lnTo>
                    <a:pt x="1148" y="257"/>
                  </a:lnTo>
                  <a:lnTo>
                    <a:pt x="1151" y="261"/>
                  </a:lnTo>
                  <a:lnTo>
                    <a:pt x="1153" y="264"/>
                  </a:lnTo>
                  <a:lnTo>
                    <a:pt x="1156" y="268"/>
                  </a:lnTo>
                  <a:lnTo>
                    <a:pt x="1160" y="269"/>
                  </a:lnTo>
                  <a:lnTo>
                    <a:pt x="1163" y="270"/>
                  </a:lnTo>
                  <a:lnTo>
                    <a:pt x="1169" y="271"/>
                  </a:lnTo>
                  <a:lnTo>
                    <a:pt x="1173" y="270"/>
                  </a:lnTo>
                  <a:lnTo>
                    <a:pt x="1177" y="269"/>
                  </a:lnTo>
                  <a:lnTo>
                    <a:pt x="1180" y="268"/>
                  </a:lnTo>
                  <a:lnTo>
                    <a:pt x="1183" y="264"/>
                  </a:lnTo>
                  <a:lnTo>
                    <a:pt x="1185" y="261"/>
                  </a:lnTo>
                  <a:lnTo>
                    <a:pt x="1188" y="257"/>
                  </a:lnTo>
                  <a:lnTo>
                    <a:pt x="1189" y="252"/>
                  </a:lnTo>
                  <a:lnTo>
                    <a:pt x="1189" y="245"/>
                  </a:lnTo>
                  <a:lnTo>
                    <a:pt x="1189" y="236"/>
                  </a:lnTo>
                  <a:lnTo>
                    <a:pt x="1188" y="232"/>
                  </a:lnTo>
                  <a:lnTo>
                    <a:pt x="1185" y="227"/>
                  </a:lnTo>
                  <a:lnTo>
                    <a:pt x="1182" y="220"/>
                  </a:lnTo>
                  <a:lnTo>
                    <a:pt x="1177" y="213"/>
                  </a:lnTo>
                  <a:lnTo>
                    <a:pt x="1171" y="205"/>
                  </a:lnTo>
                  <a:lnTo>
                    <a:pt x="1164" y="199"/>
                  </a:lnTo>
                  <a:lnTo>
                    <a:pt x="1150" y="185"/>
                  </a:lnTo>
                  <a:lnTo>
                    <a:pt x="1142" y="179"/>
                  </a:lnTo>
                  <a:lnTo>
                    <a:pt x="1136" y="171"/>
                  </a:lnTo>
                  <a:lnTo>
                    <a:pt x="1128" y="163"/>
                  </a:lnTo>
                  <a:lnTo>
                    <a:pt x="1126" y="159"/>
                  </a:lnTo>
                  <a:lnTo>
                    <a:pt x="1123" y="154"/>
                  </a:lnTo>
                  <a:lnTo>
                    <a:pt x="1118" y="145"/>
                  </a:lnTo>
                  <a:lnTo>
                    <a:pt x="1116" y="140"/>
                  </a:lnTo>
                  <a:lnTo>
                    <a:pt x="1114" y="134"/>
                  </a:lnTo>
                  <a:lnTo>
                    <a:pt x="1113" y="129"/>
                  </a:lnTo>
                  <a:lnTo>
                    <a:pt x="1111" y="123"/>
                  </a:lnTo>
                  <a:lnTo>
                    <a:pt x="1110" y="116"/>
                  </a:lnTo>
                  <a:lnTo>
                    <a:pt x="1110" y="110"/>
                  </a:lnTo>
                  <a:lnTo>
                    <a:pt x="1110" y="103"/>
                  </a:lnTo>
                  <a:lnTo>
                    <a:pt x="1111" y="95"/>
                  </a:lnTo>
                  <a:lnTo>
                    <a:pt x="1113" y="89"/>
                  </a:lnTo>
                  <a:lnTo>
                    <a:pt x="1115" y="82"/>
                  </a:lnTo>
                  <a:lnTo>
                    <a:pt x="1117" y="77"/>
                  </a:lnTo>
                  <a:lnTo>
                    <a:pt x="1119" y="72"/>
                  </a:lnTo>
                  <a:lnTo>
                    <a:pt x="1122" y="67"/>
                  </a:lnTo>
                  <a:lnTo>
                    <a:pt x="1125" y="62"/>
                  </a:lnTo>
                  <a:lnTo>
                    <a:pt x="1129" y="58"/>
                  </a:lnTo>
                  <a:lnTo>
                    <a:pt x="1134" y="55"/>
                  </a:lnTo>
                  <a:lnTo>
                    <a:pt x="1139" y="53"/>
                  </a:lnTo>
                  <a:lnTo>
                    <a:pt x="1144" y="50"/>
                  </a:lnTo>
                  <a:lnTo>
                    <a:pt x="1150" y="48"/>
                  </a:lnTo>
                  <a:lnTo>
                    <a:pt x="1156" y="47"/>
                  </a:lnTo>
                  <a:lnTo>
                    <a:pt x="1162" y="45"/>
                  </a:lnTo>
                  <a:lnTo>
                    <a:pt x="1170" y="45"/>
                  </a:lnTo>
                  <a:close/>
                  <a:moveTo>
                    <a:pt x="1037" y="49"/>
                  </a:moveTo>
                  <a:lnTo>
                    <a:pt x="1078" y="49"/>
                  </a:lnTo>
                  <a:lnTo>
                    <a:pt x="1078" y="305"/>
                  </a:lnTo>
                  <a:lnTo>
                    <a:pt x="1037" y="305"/>
                  </a:lnTo>
                  <a:lnTo>
                    <a:pt x="1037" y="49"/>
                  </a:lnTo>
                  <a:close/>
                  <a:moveTo>
                    <a:pt x="985" y="0"/>
                  </a:moveTo>
                  <a:lnTo>
                    <a:pt x="985" y="35"/>
                  </a:lnTo>
                  <a:lnTo>
                    <a:pt x="949" y="35"/>
                  </a:lnTo>
                  <a:lnTo>
                    <a:pt x="949" y="0"/>
                  </a:lnTo>
                  <a:lnTo>
                    <a:pt x="985" y="0"/>
                  </a:lnTo>
                  <a:close/>
                  <a:moveTo>
                    <a:pt x="918" y="223"/>
                  </a:moveTo>
                  <a:lnTo>
                    <a:pt x="956" y="223"/>
                  </a:lnTo>
                  <a:lnTo>
                    <a:pt x="937" y="94"/>
                  </a:lnTo>
                  <a:lnTo>
                    <a:pt x="918" y="223"/>
                  </a:lnTo>
                  <a:close/>
                  <a:moveTo>
                    <a:pt x="929" y="0"/>
                  </a:moveTo>
                  <a:lnTo>
                    <a:pt x="929" y="35"/>
                  </a:lnTo>
                  <a:lnTo>
                    <a:pt x="894" y="35"/>
                  </a:lnTo>
                  <a:lnTo>
                    <a:pt x="894" y="0"/>
                  </a:lnTo>
                  <a:lnTo>
                    <a:pt x="929" y="0"/>
                  </a:lnTo>
                  <a:close/>
                  <a:moveTo>
                    <a:pt x="1009" y="305"/>
                  </a:moveTo>
                  <a:lnTo>
                    <a:pt x="969" y="305"/>
                  </a:lnTo>
                  <a:lnTo>
                    <a:pt x="962" y="258"/>
                  </a:lnTo>
                  <a:lnTo>
                    <a:pt x="913" y="258"/>
                  </a:lnTo>
                  <a:lnTo>
                    <a:pt x="905" y="305"/>
                  </a:lnTo>
                  <a:lnTo>
                    <a:pt x="868" y="305"/>
                  </a:lnTo>
                  <a:lnTo>
                    <a:pt x="909" y="49"/>
                  </a:lnTo>
                  <a:lnTo>
                    <a:pt x="969" y="49"/>
                  </a:lnTo>
                  <a:lnTo>
                    <a:pt x="1009" y="305"/>
                  </a:lnTo>
                  <a:close/>
                  <a:moveTo>
                    <a:pt x="742" y="49"/>
                  </a:moveTo>
                  <a:lnTo>
                    <a:pt x="866" y="49"/>
                  </a:lnTo>
                  <a:lnTo>
                    <a:pt x="866" y="86"/>
                  </a:lnTo>
                  <a:lnTo>
                    <a:pt x="825" y="86"/>
                  </a:lnTo>
                  <a:lnTo>
                    <a:pt x="825" y="305"/>
                  </a:lnTo>
                  <a:lnTo>
                    <a:pt x="785" y="305"/>
                  </a:lnTo>
                  <a:lnTo>
                    <a:pt x="785" y="86"/>
                  </a:lnTo>
                  <a:lnTo>
                    <a:pt x="742" y="86"/>
                  </a:lnTo>
                  <a:lnTo>
                    <a:pt x="742" y="49"/>
                  </a:lnTo>
                  <a:close/>
                  <a:moveTo>
                    <a:pt x="603" y="49"/>
                  </a:moveTo>
                  <a:lnTo>
                    <a:pt x="728" y="49"/>
                  </a:lnTo>
                  <a:lnTo>
                    <a:pt x="728" y="86"/>
                  </a:lnTo>
                  <a:lnTo>
                    <a:pt x="685" y="86"/>
                  </a:lnTo>
                  <a:lnTo>
                    <a:pt x="685" y="305"/>
                  </a:lnTo>
                  <a:lnTo>
                    <a:pt x="645" y="305"/>
                  </a:lnTo>
                  <a:lnTo>
                    <a:pt x="645" y="86"/>
                  </a:lnTo>
                  <a:lnTo>
                    <a:pt x="603" y="86"/>
                  </a:lnTo>
                  <a:lnTo>
                    <a:pt x="603" y="49"/>
                  </a:lnTo>
                  <a:close/>
                  <a:moveTo>
                    <a:pt x="536" y="49"/>
                  </a:moveTo>
                  <a:lnTo>
                    <a:pt x="576" y="49"/>
                  </a:lnTo>
                  <a:lnTo>
                    <a:pt x="576" y="305"/>
                  </a:lnTo>
                  <a:lnTo>
                    <a:pt x="536" y="305"/>
                  </a:lnTo>
                  <a:lnTo>
                    <a:pt x="536" y="49"/>
                  </a:lnTo>
                  <a:close/>
                  <a:moveTo>
                    <a:pt x="441" y="257"/>
                  </a:moveTo>
                  <a:lnTo>
                    <a:pt x="472" y="49"/>
                  </a:lnTo>
                  <a:lnTo>
                    <a:pt x="509" y="49"/>
                  </a:lnTo>
                  <a:lnTo>
                    <a:pt x="468" y="305"/>
                  </a:lnTo>
                  <a:lnTo>
                    <a:pt x="409" y="305"/>
                  </a:lnTo>
                  <a:lnTo>
                    <a:pt x="370" y="49"/>
                  </a:lnTo>
                  <a:lnTo>
                    <a:pt x="410" y="49"/>
                  </a:lnTo>
                  <a:lnTo>
                    <a:pt x="441" y="257"/>
                  </a:lnTo>
                  <a:close/>
                  <a:moveTo>
                    <a:pt x="301" y="49"/>
                  </a:moveTo>
                  <a:lnTo>
                    <a:pt x="342" y="49"/>
                  </a:lnTo>
                  <a:lnTo>
                    <a:pt x="342" y="305"/>
                  </a:lnTo>
                  <a:lnTo>
                    <a:pt x="301" y="305"/>
                  </a:lnTo>
                  <a:lnTo>
                    <a:pt x="301" y="49"/>
                  </a:lnTo>
                  <a:close/>
                  <a:moveTo>
                    <a:pt x="249" y="0"/>
                  </a:moveTo>
                  <a:lnTo>
                    <a:pt x="249" y="35"/>
                  </a:lnTo>
                  <a:lnTo>
                    <a:pt x="214" y="35"/>
                  </a:lnTo>
                  <a:lnTo>
                    <a:pt x="214" y="0"/>
                  </a:lnTo>
                  <a:lnTo>
                    <a:pt x="249" y="0"/>
                  </a:lnTo>
                  <a:close/>
                  <a:moveTo>
                    <a:pt x="182" y="223"/>
                  </a:moveTo>
                  <a:lnTo>
                    <a:pt x="221" y="223"/>
                  </a:lnTo>
                  <a:lnTo>
                    <a:pt x="202" y="94"/>
                  </a:lnTo>
                  <a:lnTo>
                    <a:pt x="182" y="223"/>
                  </a:lnTo>
                  <a:close/>
                  <a:moveTo>
                    <a:pt x="194" y="0"/>
                  </a:moveTo>
                  <a:lnTo>
                    <a:pt x="194" y="35"/>
                  </a:lnTo>
                  <a:lnTo>
                    <a:pt x="158" y="35"/>
                  </a:lnTo>
                  <a:lnTo>
                    <a:pt x="158" y="0"/>
                  </a:lnTo>
                  <a:lnTo>
                    <a:pt x="194" y="0"/>
                  </a:lnTo>
                  <a:close/>
                  <a:moveTo>
                    <a:pt x="274" y="305"/>
                  </a:moveTo>
                  <a:lnTo>
                    <a:pt x="234" y="305"/>
                  </a:lnTo>
                  <a:lnTo>
                    <a:pt x="226" y="258"/>
                  </a:lnTo>
                  <a:lnTo>
                    <a:pt x="177" y="258"/>
                  </a:lnTo>
                  <a:lnTo>
                    <a:pt x="170" y="305"/>
                  </a:lnTo>
                  <a:lnTo>
                    <a:pt x="133" y="305"/>
                  </a:lnTo>
                  <a:lnTo>
                    <a:pt x="174" y="49"/>
                  </a:lnTo>
                  <a:lnTo>
                    <a:pt x="233" y="49"/>
                  </a:lnTo>
                  <a:lnTo>
                    <a:pt x="274" y="305"/>
                  </a:lnTo>
                  <a:close/>
                  <a:moveTo>
                    <a:pt x="40" y="86"/>
                  </a:moveTo>
                  <a:lnTo>
                    <a:pt x="40" y="171"/>
                  </a:lnTo>
                  <a:lnTo>
                    <a:pt x="59" y="171"/>
                  </a:lnTo>
                  <a:lnTo>
                    <a:pt x="63" y="171"/>
                  </a:lnTo>
                  <a:lnTo>
                    <a:pt x="68" y="170"/>
                  </a:lnTo>
                  <a:lnTo>
                    <a:pt x="71" y="169"/>
                  </a:lnTo>
                  <a:lnTo>
                    <a:pt x="74" y="166"/>
                  </a:lnTo>
                  <a:lnTo>
                    <a:pt x="76" y="163"/>
                  </a:lnTo>
                  <a:lnTo>
                    <a:pt x="77" y="159"/>
                  </a:lnTo>
                  <a:lnTo>
                    <a:pt x="78" y="154"/>
                  </a:lnTo>
                  <a:lnTo>
                    <a:pt x="78" y="148"/>
                  </a:lnTo>
                  <a:lnTo>
                    <a:pt x="78" y="109"/>
                  </a:lnTo>
                  <a:lnTo>
                    <a:pt x="78" y="103"/>
                  </a:lnTo>
                  <a:lnTo>
                    <a:pt x="77" y="97"/>
                  </a:lnTo>
                  <a:lnTo>
                    <a:pt x="76" y="94"/>
                  </a:lnTo>
                  <a:lnTo>
                    <a:pt x="74" y="90"/>
                  </a:lnTo>
                  <a:lnTo>
                    <a:pt x="72" y="89"/>
                  </a:lnTo>
                  <a:lnTo>
                    <a:pt x="71" y="88"/>
                  </a:lnTo>
                  <a:lnTo>
                    <a:pt x="69" y="87"/>
                  </a:lnTo>
                  <a:lnTo>
                    <a:pt x="68" y="87"/>
                  </a:lnTo>
                  <a:lnTo>
                    <a:pt x="63" y="86"/>
                  </a:lnTo>
                  <a:lnTo>
                    <a:pt x="59" y="86"/>
                  </a:lnTo>
                  <a:lnTo>
                    <a:pt x="40" y="86"/>
                  </a:lnTo>
                  <a:close/>
                  <a:moveTo>
                    <a:pt x="118" y="112"/>
                  </a:moveTo>
                  <a:lnTo>
                    <a:pt x="118" y="145"/>
                  </a:lnTo>
                  <a:lnTo>
                    <a:pt x="118" y="152"/>
                  </a:lnTo>
                  <a:lnTo>
                    <a:pt x="118" y="160"/>
                  </a:lnTo>
                  <a:lnTo>
                    <a:pt x="116" y="166"/>
                  </a:lnTo>
                  <a:lnTo>
                    <a:pt x="115" y="172"/>
                  </a:lnTo>
                  <a:lnTo>
                    <a:pt x="113" y="178"/>
                  </a:lnTo>
                  <a:lnTo>
                    <a:pt x="111" y="183"/>
                  </a:lnTo>
                  <a:lnTo>
                    <a:pt x="108" y="188"/>
                  </a:lnTo>
                  <a:lnTo>
                    <a:pt x="104" y="192"/>
                  </a:lnTo>
                  <a:lnTo>
                    <a:pt x="100" y="196"/>
                  </a:lnTo>
                  <a:lnTo>
                    <a:pt x="95" y="199"/>
                  </a:lnTo>
                  <a:lnTo>
                    <a:pt x="91" y="202"/>
                  </a:lnTo>
                  <a:lnTo>
                    <a:pt x="86" y="204"/>
                  </a:lnTo>
                  <a:lnTo>
                    <a:pt x="79" y="206"/>
                  </a:lnTo>
                  <a:lnTo>
                    <a:pt x="73" y="207"/>
                  </a:lnTo>
                  <a:lnTo>
                    <a:pt x="67" y="208"/>
                  </a:lnTo>
                  <a:lnTo>
                    <a:pt x="59" y="208"/>
                  </a:lnTo>
                  <a:lnTo>
                    <a:pt x="40" y="208"/>
                  </a:lnTo>
                  <a:lnTo>
                    <a:pt x="40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59" y="49"/>
                  </a:lnTo>
                  <a:lnTo>
                    <a:pt x="67" y="49"/>
                  </a:lnTo>
                  <a:lnTo>
                    <a:pt x="73" y="50"/>
                  </a:lnTo>
                  <a:lnTo>
                    <a:pt x="79" y="51"/>
                  </a:lnTo>
                  <a:lnTo>
                    <a:pt x="86" y="53"/>
                  </a:lnTo>
                  <a:lnTo>
                    <a:pt x="88" y="54"/>
                  </a:lnTo>
                  <a:lnTo>
                    <a:pt x="91" y="55"/>
                  </a:lnTo>
                  <a:lnTo>
                    <a:pt x="95" y="58"/>
                  </a:lnTo>
                  <a:lnTo>
                    <a:pt x="100" y="61"/>
                  </a:lnTo>
                  <a:lnTo>
                    <a:pt x="104" y="64"/>
                  </a:lnTo>
                  <a:lnTo>
                    <a:pt x="108" y="69"/>
                  </a:lnTo>
                  <a:lnTo>
                    <a:pt x="111" y="74"/>
                  </a:lnTo>
                  <a:lnTo>
                    <a:pt x="113" y="79"/>
                  </a:lnTo>
                  <a:lnTo>
                    <a:pt x="115" y="85"/>
                  </a:lnTo>
                  <a:lnTo>
                    <a:pt x="116" y="91"/>
                  </a:lnTo>
                  <a:lnTo>
                    <a:pt x="118" y="97"/>
                  </a:lnTo>
                  <a:lnTo>
                    <a:pt x="118" y="105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768616590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1B1B8D-709F-4757-87FD-0D0B60908370}" type="datetime1">
              <a:rPr lang="fi-FI" smtClean="0"/>
              <a:t>28.2.2018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22"/>
            <p:cNvSpPr>
              <a:spLocks noEditPoints="1"/>
            </p:cNvSpPr>
            <p:nvPr userDrawn="1"/>
          </p:nvSpPr>
          <p:spPr bwMode="auto">
            <a:xfrm>
              <a:off x="8843371" y="6428428"/>
              <a:ext cx="2004515" cy="290400"/>
            </a:xfrm>
            <a:custGeom>
              <a:avLst/>
              <a:gdLst>
                <a:gd name="T0" fmla="*/ 2079 w 2127"/>
                <a:gd name="T1" fmla="*/ 258 h 308"/>
                <a:gd name="T2" fmla="*/ 1880 w 2127"/>
                <a:gd name="T3" fmla="*/ 86 h 308"/>
                <a:gd name="T4" fmla="*/ 1916 w 2127"/>
                <a:gd name="T5" fmla="*/ 154 h 308"/>
                <a:gd name="T6" fmla="*/ 1918 w 2127"/>
                <a:gd name="T7" fmla="*/ 97 h 308"/>
                <a:gd name="T8" fmla="*/ 1880 w 2127"/>
                <a:gd name="T9" fmla="*/ 86 h 308"/>
                <a:gd name="T10" fmla="*/ 1920 w 2127"/>
                <a:gd name="T11" fmla="*/ 224 h 308"/>
                <a:gd name="T12" fmla="*/ 1900 w 2127"/>
                <a:gd name="T13" fmla="*/ 201 h 308"/>
                <a:gd name="T14" fmla="*/ 1909 w 2127"/>
                <a:gd name="T15" fmla="*/ 49 h 308"/>
                <a:gd name="T16" fmla="*/ 1946 w 2127"/>
                <a:gd name="T17" fmla="*/ 63 h 308"/>
                <a:gd name="T18" fmla="*/ 1961 w 2127"/>
                <a:gd name="T19" fmla="*/ 100 h 308"/>
                <a:gd name="T20" fmla="*/ 1950 w 2127"/>
                <a:gd name="T21" fmla="*/ 166 h 308"/>
                <a:gd name="T22" fmla="*/ 1949 w 2127"/>
                <a:gd name="T23" fmla="*/ 190 h 308"/>
                <a:gd name="T24" fmla="*/ 1961 w 2127"/>
                <a:gd name="T25" fmla="*/ 273 h 308"/>
                <a:gd name="T26" fmla="*/ 1760 w 2127"/>
                <a:gd name="T27" fmla="*/ 223 h 308"/>
                <a:gd name="T28" fmla="*/ 1709 w 2127"/>
                <a:gd name="T29" fmla="*/ 305 h 308"/>
                <a:gd name="T30" fmla="*/ 1663 w 2127"/>
                <a:gd name="T31" fmla="*/ 49 h 308"/>
                <a:gd name="T32" fmla="*/ 1464 w 2127"/>
                <a:gd name="T33" fmla="*/ 223 h 308"/>
                <a:gd name="T34" fmla="*/ 1413 w 2127"/>
                <a:gd name="T35" fmla="*/ 305 h 308"/>
                <a:gd name="T36" fmla="*/ 1374 w 2127"/>
                <a:gd name="T37" fmla="*/ 86 h 308"/>
                <a:gd name="T38" fmla="*/ 1170 w 2127"/>
                <a:gd name="T39" fmla="*/ 45 h 308"/>
                <a:gd name="T40" fmla="*/ 1210 w 2127"/>
                <a:gd name="T41" fmla="*/ 58 h 308"/>
                <a:gd name="T42" fmla="*/ 1228 w 2127"/>
                <a:gd name="T43" fmla="*/ 95 h 308"/>
                <a:gd name="T44" fmla="*/ 1190 w 2127"/>
                <a:gd name="T45" fmla="*/ 96 h 308"/>
                <a:gd name="T46" fmla="*/ 1171 w 2127"/>
                <a:gd name="T47" fmla="*/ 82 h 308"/>
                <a:gd name="T48" fmla="*/ 1152 w 2127"/>
                <a:gd name="T49" fmla="*/ 96 h 308"/>
                <a:gd name="T50" fmla="*/ 1163 w 2127"/>
                <a:gd name="T51" fmla="*/ 141 h 308"/>
                <a:gd name="T52" fmla="*/ 1214 w 2127"/>
                <a:gd name="T53" fmla="*/ 194 h 308"/>
                <a:gd name="T54" fmla="*/ 1229 w 2127"/>
                <a:gd name="T55" fmla="*/ 236 h 308"/>
                <a:gd name="T56" fmla="*/ 1220 w 2127"/>
                <a:gd name="T57" fmla="*/ 281 h 308"/>
                <a:gd name="T58" fmla="*/ 1190 w 2127"/>
                <a:gd name="T59" fmla="*/ 305 h 308"/>
                <a:gd name="T60" fmla="*/ 1143 w 2127"/>
                <a:gd name="T61" fmla="*/ 302 h 308"/>
                <a:gd name="T62" fmla="*/ 1116 w 2127"/>
                <a:gd name="T63" fmla="*/ 276 h 308"/>
                <a:gd name="T64" fmla="*/ 1147 w 2127"/>
                <a:gd name="T65" fmla="*/ 227 h 308"/>
                <a:gd name="T66" fmla="*/ 1160 w 2127"/>
                <a:gd name="T67" fmla="*/ 269 h 308"/>
                <a:gd name="T68" fmla="*/ 1185 w 2127"/>
                <a:gd name="T69" fmla="*/ 261 h 308"/>
                <a:gd name="T70" fmla="*/ 1182 w 2127"/>
                <a:gd name="T71" fmla="*/ 220 h 308"/>
                <a:gd name="T72" fmla="*/ 1128 w 2127"/>
                <a:gd name="T73" fmla="*/ 163 h 308"/>
                <a:gd name="T74" fmla="*/ 1111 w 2127"/>
                <a:gd name="T75" fmla="*/ 123 h 308"/>
                <a:gd name="T76" fmla="*/ 1117 w 2127"/>
                <a:gd name="T77" fmla="*/ 77 h 308"/>
                <a:gd name="T78" fmla="*/ 1144 w 2127"/>
                <a:gd name="T79" fmla="*/ 50 h 308"/>
                <a:gd name="T80" fmla="*/ 1078 w 2127"/>
                <a:gd name="T81" fmla="*/ 305 h 308"/>
                <a:gd name="T82" fmla="*/ 985 w 2127"/>
                <a:gd name="T83" fmla="*/ 0 h 308"/>
                <a:gd name="T84" fmla="*/ 894 w 2127"/>
                <a:gd name="T85" fmla="*/ 35 h 308"/>
                <a:gd name="T86" fmla="*/ 905 w 2127"/>
                <a:gd name="T87" fmla="*/ 305 h 308"/>
                <a:gd name="T88" fmla="*/ 866 w 2127"/>
                <a:gd name="T89" fmla="*/ 86 h 308"/>
                <a:gd name="T90" fmla="*/ 603 w 2127"/>
                <a:gd name="T91" fmla="*/ 49 h 308"/>
                <a:gd name="T92" fmla="*/ 603 w 2127"/>
                <a:gd name="T93" fmla="*/ 86 h 308"/>
                <a:gd name="T94" fmla="*/ 441 w 2127"/>
                <a:gd name="T95" fmla="*/ 257 h 308"/>
                <a:gd name="T96" fmla="*/ 441 w 2127"/>
                <a:gd name="T97" fmla="*/ 257 h 308"/>
                <a:gd name="T98" fmla="*/ 249 w 2127"/>
                <a:gd name="T99" fmla="*/ 35 h 308"/>
                <a:gd name="T100" fmla="*/ 182 w 2127"/>
                <a:gd name="T101" fmla="*/ 223 h 308"/>
                <a:gd name="T102" fmla="*/ 234 w 2127"/>
                <a:gd name="T103" fmla="*/ 305 h 308"/>
                <a:gd name="T104" fmla="*/ 274 w 2127"/>
                <a:gd name="T105" fmla="*/ 305 h 308"/>
                <a:gd name="T106" fmla="*/ 74 w 2127"/>
                <a:gd name="T107" fmla="*/ 166 h 308"/>
                <a:gd name="T108" fmla="*/ 77 w 2127"/>
                <a:gd name="T109" fmla="*/ 97 h 308"/>
                <a:gd name="T110" fmla="*/ 63 w 2127"/>
                <a:gd name="T111" fmla="*/ 86 h 308"/>
                <a:gd name="T112" fmla="*/ 116 w 2127"/>
                <a:gd name="T113" fmla="*/ 166 h 308"/>
                <a:gd name="T114" fmla="*/ 95 w 2127"/>
                <a:gd name="T115" fmla="*/ 199 h 308"/>
                <a:gd name="T116" fmla="*/ 40 w 2127"/>
                <a:gd name="T117" fmla="*/ 208 h 308"/>
                <a:gd name="T118" fmla="*/ 79 w 2127"/>
                <a:gd name="T119" fmla="*/ 51 h 308"/>
                <a:gd name="T120" fmla="*/ 108 w 2127"/>
                <a:gd name="T121" fmla="*/ 69 h 308"/>
                <a:gd name="T122" fmla="*/ 118 w 2127"/>
                <a:gd name="T12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7" h="308">
                  <a:moveTo>
                    <a:pt x="2035" y="223"/>
                  </a:moveTo>
                  <a:lnTo>
                    <a:pt x="2074" y="223"/>
                  </a:lnTo>
                  <a:lnTo>
                    <a:pt x="2054" y="94"/>
                  </a:lnTo>
                  <a:lnTo>
                    <a:pt x="2035" y="223"/>
                  </a:lnTo>
                  <a:close/>
                  <a:moveTo>
                    <a:pt x="2127" y="305"/>
                  </a:moveTo>
                  <a:lnTo>
                    <a:pt x="2085" y="305"/>
                  </a:lnTo>
                  <a:lnTo>
                    <a:pt x="2079" y="258"/>
                  </a:lnTo>
                  <a:lnTo>
                    <a:pt x="2029" y="258"/>
                  </a:lnTo>
                  <a:lnTo>
                    <a:pt x="2023" y="305"/>
                  </a:lnTo>
                  <a:lnTo>
                    <a:pt x="1986" y="305"/>
                  </a:lnTo>
                  <a:lnTo>
                    <a:pt x="2026" y="49"/>
                  </a:lnTo>
                  <a:lnTo>
                    <a:pt x="2085" y="49"/>
                  </a:lnTo>
                  <a:lnTo>
                    <a:pt x="2127" y="305"/>
                  </a:lnTo>
                  <a:close/>
                  <a:moveTo>
                    <a:pt x="1880" y="86"/>
                  </a:moveTo>
                  <a:lnTo>
                    <a:pt x="1880" y="164"/>
                  </a:lnTo>
                  <a:lnTo>
                    <a:pt x="1896" y="164"/>
                  </a:lnTo>
                  <a:lnTo>
                    <a:pt x="1901" y="163"/>
                  </a:lnTo>
                  <a:lnTo>
                    <a:pt x="1907" y="163"/>
                  </a:lnTo>
                  <a:lnTo>
                    <a:pt x="1910" y="161"/>
                  </a:lnTo>
                  <a:lnTo>
                    <a:pt x="1914" y="158"/>
                  </a:lnTo>
                  <a:lnTo>
                    <a:pt x="1916" y="154"/>
                  </a:lnTo>
                  <a:lnTo>
                    <a:pt x="1918" y="149"/>
                  </a:lnTo>
                  <a:lnTo>
                    <a:pt x="1919" y="144"/>
                  </a:lnTo>
                  <a:lnTo>
                    <a:pt x="1920" y="136"/>
                  </a:lnTo>
                  <a:lnTo>
                    <a:pt x="1920" y="111"/>
                  </a:lnTo>
                  <a:lnTo>
                    <a:pt x="1920" y="105"/>
                  </a:lnTo>
                  <a:lnTo>
                    <a:pt x="1919" y="99"/>
                  </a:lnTo>
                  <a:lnTo>
                    <a:pt x="1918" y="97"/>
                  </a:lnTo>
                  <a:lnTo>
                    <a:pt x="1917" y="95"/>
                  </a:lnTo>
                  <a:lnTo>
                    <a:pt x="1915" y="91"/>
                  </a:lnTo>
                  <a:lnTo>
                    <a:pt x="1913" y="89"/>
                  </a:lnTo>
                  <a:lnTo>
                    <a:pt x="1909" y="87"/>
                  </a:lnTo>
                  <a:lnTo>
                    <a:pt x="1905" y="86"/>
                  </a:lnTo>
                  <a:lnTo>
                    <a:pt x="1899" y="86"/>
                  </a:lnTo>
                  <a:lnTo>
                    <a:pt x="1880" y="86"/>
                  </a:lnTo>
                  <a:close/>
                  <a:moveTo>
                    <a:pt x="1925" y="305"/>
                  </a:moveTo>
                  <a:lnTo>
                    <a:pt x="1923" y="299"/>
                  </a:lnTo>
                  <a:lnTo>
                    <a:pt x="1922" y="294"/>
                  </a:lnTo>
                  <a:lnTo>
                    <a:pt x="1920" y="286"/>
                  </a:lnTo>
                  <a:lnTo>
                    <a:pt x="1920" y="273"/>
                  </a:lnTo>
                  <a:lnTo>
                    <a:pt x="1920" y="233"/>
                  </a:lnTo>
                  <a:lnTo>
                    <a:pt x="1920" y="224"/>
                  </a:lnTo>
                  <a:lnTo>
                    <a:pt x="1919" y="218"/>
                  </a:lnTo>
                  <a:lnTo>
                    <a:pt x="1917" y="212"/>
                  </a:lnTo>
                  <a:lnTo>
                    <a:pt x="1914" y="207"/>
                  </a:lnTo>
                  <a:lnTo>
                    <a:pt x="1911" y="204"/>
                  </a:lnTo>
                  <a:lnTo>
                    <a:pt x="1909" y="203"/>
                  </a:lnTo>
                  <a:lnTo>
                    <a:pt x="1906" y="202"/>
                  </a:lnTo>
                  <a:lnTo>
                    <a:pt x="1900" y="201"/>
                  </a:lnTo>
                  <a:lnTo>
                    <a:pt x="1894" y="200"/>
                  </a:lnTo>
                  <a:lnTo>
                    <a:pt x="1880" y="200"/>
                  </a:lnTo>
                  <a:lnTo>
                    <a:pt x="1880" y="305"/>
                  </a:lnTo>
                  <a:lnTo>
                    <a:pt x="1840" y="305"/>
                  </a:lnTo>
                  <a:lnTo>
                    <a:pt x="1840" y="49"/>
                  </a:lnTo>
                  <a:lnTo>
                    <a:pt x="1901" y="49"/>
                  </a:lnTo>
                  <a:lnTo>
                    <a:pt x="1909" y="49"/>
                  </a:lnTo>
                  <a:lnTo>
                    <a:pt x="1915" y="50"/>
                  </a:lnTo>
                  <a:lnTo>
                    <a:pt x="1922" y="51"/>
                  </a:lnTo>
                  <a:lnTo>
                    <a:pt x="1928" y="52"/>
                  </a:lnTo>
                  <a:lnTo>
                    <a:pt x="1933" y="54"/>
                  </a:lnTo>
                  <a:lnTo>
                    <a:pt x="1938" y="57"/>
                  </a:lnTo>
                  <a:lnTo>
                    <a:pt x="1943" y="60"/>
                  </a:lnTo>
                  <a:lnTo>
                    <a:pt x="1946" y="63"/>
                  </a:lnTo>
                  <a:lnTo>
                    <a:pt x="1950" y="67"/>
                  </a:lnTo>
                  <a:lnTo>
                    <a:pt x="1952" y="72"/>
                  </a:lnTo>
                  <a:lnTo>
                    <a:pt x="1955" y="76"/>
                  </a:lnTo>
                  <a:lnTo>
                    <a:pt x="1957" y="81"/>
                  </a:lnTo>
                  <a:lnTo>
                    <a:pt x="1959" y="88"/>
                  </a:lnTo>
                  <a:lnTo>
                    <a:pt x="1960" y="93"/>
                  </a:lnTo>
                  <a:lnTo>
                    <a:pt x="1961" y="100"/>
                  </a:lnTo>
                  <a:lnTo>
                    <a:pt x="1961" y="108"/>
                  </a:lnTo>
                  <a:lnTo>
                    <a:pt x="1961" y="128"/>
                  </a:lnTo>
                  <a:lnTo>
                    <a:pt x="1960" y="137"/>
                  </a:lnTo>
                  <a:lnTo>
                    <a:pt x="1959" y="146"/>
                  </a:lnTo>
                  <a:lnTo>
                    <a:pt x="1956" y="153"/>
                  </a:lnTo>
                  <a:lnTo>
                    <a:pt x="1954" y="160"/>
                  </a:lnTo>
                  <a:lnTo>
                    <a:pt x="1950" y="166"/>
                  </a:lnTo>
                  <a:lnTo>
                    <a:pt x="1946" y="171"/>
                  </a:lnTo>
                  <a:lnTo>
                    <a:pt x="1941" y="176"/>
                  </a:lnTo>
                  <a:lnTo>
                    <a:pt x="1934" y="180"/>
                  </a:lnTo>
                  <a:lnTo>
                    <a:pt x="1941" y="183"/>
                  </a:lnTo>
                  <a:lnTo>
                    <a:pt x="1944" y="185"/>
                  </a:lnTo>
                  <a:lnTo>
                    <a:pt x="1947" y="187"/>
                  </a:lnTo>
                  <a:lnTo>
                    <a:pt x="1949" y="190"/>
                  </a:lnTo>
                  <a:lnTo>
                    <a:pt x="1951" y="194"/>
                  </a:lnTo>
                  <a:lnTo>
                    <a:pt x="1955" y="200"/>
                  </a:lnTo>
                  <a:lnTo>
                    <a:pt x="1957" y="207"/>
                  </a:lnTo>
                  <a:lnTo>
                    <a:pt x="1960" y="216"/>
                  </a:lnTo>
                  <a:lnTo>
                    <a:pt x="1961" y="224"/>
                  </a:lnTo>
                  <a:lnTo>
                    <a:pt x="1961" y="234"/>
                  </a:lnTo>
                  <a:lnTo>
                    <a:pt x="1961" y="273"/>
                  </a:lnTo>
                  <a:lnTo>
                    <a:pt x="1961" y="282"/>
                  </a:lnTo>
                  <a:lnTo>
                    <a:pt x="1962" y="290"/>
                  </a:lnTo>
                  <a:lnTo>
                    <a:pt x="1963" y="297"/>
                  </a:lnTo>
                  <a:lnTo>
                    <a:pt x="1965" y="305"/>
                  </a:lnTo>
                  <a:lnTo>
                    <a:pt x="1925" y="305"/>
                  </a:lnTo>
                  <a:close/>
                  <a:moveTo>
                    <a:pt x="1721" y="223"/>
                  </a:moveTo>
                  <a:lnTo>
                    <a:pt x="1760" y="223"/>
                  </a:lnTo>
                  <a:lnTo>
                    <a:pt x="1740" y="94"/>
                  </a:lnTo>
                  <a:lnTo>
                    <a:pt x="1721" y="223"/>
                  </a:lnTo>
                  <a:close/>
                  <a:moveTo>
                    <a:pt x="1813" y="305"/>
                  </a:moveTo>
                  <a:lnTo>
                    <a:pt x="1772" y="305"/>
                  </a:lnTo>
                  <a:lnTo>
                    <a:pt x="1765" y="258"/>
                  </a:lnTo>
                  <a:lnTo>
                    <a:pt x="1715" y="258"/>
                  </a:lnTo>
                  <a:lnTo>
                    <a:pt x="1709" y="305"/>
                  </a:lnTo>
                  <a:lnTo>
                    <a:pt x="1672" y="305"/>
                  </a:lnTo>
                  <a:lnTo>
                    <a:pt x="1713" y="49"/>
                  </a:lnTo>
                  <a:lnTo>
                    <a:pt x="1771" y="49"/>
                  </a:lnTo>
                  <a:lnTo>
                    <a:pt x="1813" y="305"/>
                  </a:lnTo>
                  <a:close/>
                  <a:moveTo>
                    <a:pt x="1596" y="257"/>
                  </a:moveTo>
                  <a:lnTo>
                    <a:pt x="1626" y="49"/>
                  </a:lnTo>
                  <a:lnTo>
                    <a:pt x="1663" y="49"/>
                  </a:lnTo>
                  <a:lnTo>
                    <a:pt x="1624" y="305"/>
                  </a:lnTo>
                  <a:lnTo>
                    <a:pt x="1564" y="305"/>
                  </a:lnTo>
                  <a:lnTo>
                    <a:pt x="1525" y="49"/>
                  </a:lnTo>
                  <a:lnTo>
                    <a:pt x="1565" y="49"/>
                  </a:lnTo>
                  <a:lnTo>
                    <a:pt x="1596" y="257"/>
                  </a:lnTo>
                  <a:close/>
                  <a:moveTo>
                    <a:pt x="1426" y="223"/>
                  </a:moveTo>
                  <a:lnTo>
                    <a:pt x="1464" y="223"/>
                  </a:lnTo>
                  <a:lnTo>
                    <a:pt x="1445" y="94"/>
                  </a:lnTo>
                  <a:lnTo>
                    <a:pt x="1426" y="223"/>
                  </a:lnTo>
                  <a:close/>
                  <a:moveTo>
                    <a:pt x="1516" y="305"/>
                  </a:moveTo>
                  <a:lnTo>
                    <a:pt x="1476" y="305"/>
                  </a:lnTo>
                  <a:lnTo>
                    <a:pt x="1469" y="258"/>
                  </a:lnTo>
                  <a:lnTo>
                    <a:pt x="1420" y="258"/>
                  </a:lnTo>
                  <a:lnTo>
                    <a:pt x="1413" y="305"/>
                  </a:lnTo>
                  <a:lnTo>
                    <a:pt x="1376" y="305"/>
                  </a:lnTo>
                  <a:lnTo>
                    <a:pt x="1417" y="49"/>
                  </a:lnTo>
                  <a:lnTo>
                    <a:pt x="1476" y="49"/>
                  </a:lnTo>
                  <a:lnTo>
                    <a:pt x="1516" y="305"/>
                  </a:lnTo>
                  <a:close/>
                  <a:moveTo>
                    <a:pt x="1250" y="49"/>
                  </a:moveTo>
                  <a:lnTo>
                    <a:pt x="1374" y="49"/>
                  </a:lnTo>
                  <a:lnTo>
                    <a:pt x="1374" y="86"/>
                  </a:lnTo>
                  <a:lnTo>
                    <a:pt x="1332" y="86"/>
                  </a:lnTo>
                  <a:lnTo>
                    <a:pt x="1332" y="305"/>
                  </a:lnTo>
                  <a:lnTo>
                    <a:pt x="1292" y="305"/>
                  </a:lnTo>
                  <a:lnTo>
                    <a:pt x="1292" y="86"/>
                  </a:lnTo>
                  <a:lnTo>
                    <a:pt x="1250" y="86"/>
                  </a:lnTo>
                  <a:lnTo>
                    <a:pt x="1250" y="49"/>
                  </a:lnTo>
                  <a:close/>
                  <a:moveTo>
                    <a:pt x="1170" y="45"/>
                  </a:moveTo>
                  <a:lnTo>
                    <a:pt x="1177" y="45"/>
                  </a:lnTo>
                  <a:lnTo>
                    <a:pt x="1183" y="47"/>
                  </a:lnTo>
                  <a:lnTo>
                    <a:pt x="1190" y="48"/>
                  </a:lnTo>
                  <a:lnTo>
                    <a:pt x="1195" y="50"/>
                  </a:lnTo>
                  <a:lnTo>
                    <a:pt x="1201" y="53"/>
                  </a:lnTo>
                  <a:lnTo>
                    <a:pt x="1206" y="55"/>
                  </a:lnTo>
                  <a:lnTo>
                    <a:pt x="1210" y="58"/>
                  </a:lnTo>
                  <a:lnTo>
                    <a:pt x="1214" y="62"/>
                  </a:lnTo>
                  <a:lnTo>
                    <a:pt x="1217" y="67"/>
                  </a:lnTo>
                  <a:lnTo>
                    <a:pt x="1220" y="72"/>
                  </a:lnTo>
                  <a:lnTo>
                    <a:pt x="1224" y="77"/>
                  </a:lnTo>
                  <a:lnTo>
                    <a:pt x="1226" y="82"/>
                  </a:lnTo>
                  <a:lnTo>
                    <a:pt x="1227" y="89"/>
                  </a:lnTo>
                  <a:lnTo>
                    <a:pt x="1228" y="95"/>
                  </a:lnTo>
                  <a:lnTo>
                    <a:pt x="1229" y="103"/>
                  </a:lnTo>
                  <a:lnTo>
                    <a:pt x="1229" y="110"/>
                  </a:lnTo>
                  <a:lnTo>
                    <a:pt x="1229" y="118"/>
                  </a:lnTo>
                  <a:lnTo>
                    <a:pt x="1191" y="118"/>
                  </a:lnTo>
                  <a:lnTo>
                    <a:pt x="1191" y="108"/>
                  </a:lnTo>
                  <a:lnTo>
                    <a:pt x="1191" y="102"/>
                  </a:lnTo>
                  <a:lnTo>
                    <a:pt x="1190" y="96"/>
                  </a:lnTo>
                  <a:lnTo>
                    <a:pt x="1188" y="91"/>
                  </a:lnTo>
                  <a:lnTo>
                    <a:pt x="1187" y="90"/>
                  </a:lnTo>
                  <a:lnTo>
                    <a:pt x="1185" y="88"/>
                  </a:lnTo>
                  <a:lnTo>
                    <a:pt x="1183" y="86"/>
                  </a:lnTo>
                  <a:lnTo>
                    <a:pt x="1179" y="84"/>
                  </a:lnTo>
                  <a:lnTo>
                    <a:pt x="1175" y="82"/>
                  </a:lnTo>
                  <a:lnTo>
                    <a:pt x="1171" y="82"/>
                  </a:lnTo>
                  <a:lnTo>
                    <a:pt x="1166" y="82"/>
                  </a:lnTo>
                  <a:lnTo>
                    <a:pt x="1162" y="84"/>
                  </a:lnTo>
                  <a:lnTo>
                    <a:pt x="1159" y="86"/>
                  </a:lnTo>
                  <a:lnTo>
                    <a:pt x="1156" y="88"/>
                  </a:lnTo>
                  <a:lnTo>
                    <a:pt x="1154" y="91"/>
                  </a:lnTo>
                  <a:lnTo>
                    <a:pt x="1153" y="93"/>
                  </a:lnTo>
                  <a:lnTo>
                    <a:pt x="1152" y="96"/>
                  </a:lnTo>
                  <a:lnTo>
                    <a:pt x="1152" y="102"/>
                  </a:lnTo>
                  <a:lnTo>
                    <a:pt x="1151" y="108"/>
                  </a:lnTo>
                  <a:lnTo>
                    <a:pt x="1152" y="116"/>
                  </a:lnTo>
                  <a:lnTo>
                    <a:pt x="1153" y="122"/>
                  </a:lnTo>
                  <a:lnTo>
                    <a:pt x="1154" y="126"/>
                  </a:lnTo>
                  <a:lnTo>
                    <a:pt x="1158" y="133"/>
                  </a:lnTo>
                  <a:lnTo>
                    <a:pt x="1163" y="141"/>
                  </a:lnTo>
                  <a:lnTo>
                    <a:pt x="1169" y="147"/>
                  </a:lnTo>
                  <a:lnTo>
                    <a:pt x="1176" y="154"/>
                  </a:lnTo>
                  <a:lnTo>
                    <a:pt x="1190" y="167"/>
                  </a:lnTo>
                  <a:lnTo>
                    <a:pt x="1197" y="174"/>
                  </a:lnTo>
                  <a:lnTo>
                    <a:pt x="1205" y="182"/>
                  </a:lnTo>
                  <a:lnTo>
                    <a:pt x="1211" y="189"/>
                  </a:lnTo>
                  <a:lnTo>
                    <a:pt x="1214" y="194"/>
                  </a:lnTo>
                  <a:lnTo>
                    <a:pt x="1217" y="199"/>
                  </a:lnTo>
                  <a:lnTo>
                    <a:pt x="1222" y="208"/>
                  </a:lnTo>
                  <a:lnTo>
                    <a:pt x="1225" y="213"/>
                  </a:lnTo>
                  <a:lnTo>
                    <a:pt x="1226" y="218"/>
                  </a:lnTo>
                  <a:lnTo>
                    <a:pt x="1228" y="224"/>
                  </a:lnTo>
                  <a:lnTo>
                    <a:pt x="1229" y="229"/>
                  </a:lnTo>
                  <a:lnTo>
                    <a:pt x="1229" y="236"/>
                  </a:lnTo>
                  <a:lnTo>
                    <a:pt x="1229" y="243"/>
                  </a:lnTo>
                  <a:lnTo>
                    <a:pt x="1229" y="251"/>
                  </a:lnTo>
                  <a:lnTo>
                    <a:pt x="1229" y="257"/>
                  </a:lnTo>
                  <a:lnTo>
                    <a:pt x="1227" y="264"/>
                  </a:lnTo>
                  <a:lnTo>
                    <a:pt x="1226" y="271"/>
                  </a:lnTo>
                  <a:lnTo>
                    <a:pt x="1224" y="276"/>
                  </a:lnTo>
                  <a:lnTo>
                    <a:pt x="1220" y="281"/>
                  </a:lnTo>
                  <a:lnTo>
                    <a:pt x="1217" y="287"/>
                  </a:lnTo>
                  <a:lnTo>
                    <a:pt x="1214" y="291"/>
                  </a:lnTo>
                  <a:lnTo>
                    <a:pt x="1210" y="294"/>
                  </a:lnTo>
                  <a:lnTo>
                    <a:pt x="1206" y="298"/>
                  </a:lnTo>
                  <a:lnTo>
                    <a:pt x="1200" y="300"/>
                  </a:lnTo>
                  <a:lnTo>
                    <a:pt x="1195" y="302"/>
                  </a:lnTo>
                  <a:lnTo>
                    <a:pt x="1190" y="305"/>
                  </a:lnTo>
                  <a:lnTo>
                    <a:pt x="1183" y="307"/>
                  </a:lnTo>
                  <a:lnTo>
                    <a:pt x="1177" y="307"/>
                  </a:lnTo>
                  <a:lnTo>
                    <a:pt x="1170" y="308"/>
                  </a:lnTo>
                  <a:lnTo>
                    <a:pt x="1162" y="307"/>
                  </a:lnTo>
                  <a:lnTo>
                    <a:pt x="1156" y="307"/>
                  </a:lnTo>
                  <a:lnTo>
                    <a:pt x="1150" y="305"/>
                  </a:lnTo>
                  <a:lnTo>
                    <a:pt x="1143" y="302"/>
                  </a:lnTo>
                  <a:lnTo>
                    <a:pt x="1138" y="300"/>
                  </a:lnTo>
                  <a:lnTo>
                    <a:pt x="1133" y="298"/>
                  </a:lnTo>
                  <a:lnTo>
                    <a:pt x="1128" y="294"/>
                  </a:lnTo>
                  <a:lnTo>
                    <a:pt x="1124" y="291"/>
                  </a:lnTo>
                  <a:lnTo>
                    <a:pt x="1121" y="287"/>
                  </a:lnTo>
                  <a:lnTo>
                    <a:pt x="1118" y="281"/>
                  </a:lnTo>
                  <a:lnTo>
                    <a:pt x="1116" y="276"/>
                  </a:lnTo>
                  <a:lnTo>
                    <a:pt x="1114" y="271"/>
                  </a:lnTo>
                  <a:lnTo>
                    <a:pt x="1111" y="264"/>
                  </a:lnTo>
                  <a:lnTo>
                    <a:pt x="1110" y="257"/>
                  </a:lnTo>
                  <a:lnTo>
                    <a:pt x="1109" y="251"/>
                  </a:lnTo>
                  <a:lnTo>
                    <a:pt x="1109" y="243"/>
                  </a:lnTo>
                  <a:lnTo>
                    <a:pt x="1109" y="227"/>
                  </a:lnTo>
                  <a:lnTo>
                    <a:pt x="1147" y="227"/>
                  </a:lnTo>
                  <a:lnTo>
                    <a:pt x="1147" y="245"/>
                  </a:lnTo>
                  <a:lnTo>
                    <a:pt x="1147" y="252"/>
                  </a:lnTo>
                  <a:lnTo>
                    <a:pt x="1148" y="257"/>
                  </a:lnTo>
                  <a:lnTo>
                    <a:pt x="1151" y="261"/>
                  </a:lnTo>
                  <a:lnTo>
                    <a:pt x="1153" y="264"/>
                  </a:lnTo>
                  <a:lnTo>
                    <a:pt x="1156" y="268"/>
                  </a:lnTo>
                  <a:lnTo>
                    <a:pt x="1160" y="269"/>
                  </a:lnTo>
                  <a:lnTo>
                    <a:pt x="1163" y="270"/>
                  </a:lnTo>
                  <a:lnTo>
                    <a:pt x="1169" y="271"/>
                  </a:lnTo>
                  <a:lnTo>
                    <a:pt x="1173" y="270"/>
                  </a:lnTo>
                  <a:lnTo>
                    <a:pt x="1177" y="269"/>
                  </a:lnTo>
                  <a:lnTo>
                    <a:pt x="1180" y="268"/>
                  </a:lnTo>
                  <a:lnTo>
                    <a:pt x="1183" y="264"/>
                  </a:lnTo>
                  <a:lnTo>
                    <a:pt x="1185" y="261"/>
                  </a:lnTo>
                  <a:lnTo>
                    <a:pt x="1188" y="257"/>
                  </a:lnTo>
                  <a:lnTo>
                    <a:pt x="1189" y="252"/>
                  </a:lnTo>
                  <a:lnTo>
                    <a:pt x="1189" y="245"/>
                  </a:lnTo>
                  <a:lnTo>
                    <a:pt x="1189" y="236"/>
                  </a:lnTo>
                  <a:lnTo>
                    <a:pt x="1188" y="232"/>
                  </a:lnTo>
                  <a:lnTo>
                    <a:pt x="1185" y="227"/>
                  </a:lnTo>
                  <a:lnTo>
                    <a:pt x="1182" y="220"/>
                  </a:lnTo>
                  <a:lnTo>
                    <a:pt x="1177" y="213"/>
                  </a:lnTo>
                  <a:lnTo>
                    <a:pt x="1171" y="205"/>
                  </a:lnTo>
                  <a:lnTo>
                    <a:pt x="1164" y="199"/>
                  </a:lnTo>
                  <a:lnTo>
                    <a:pt x="1150" y="185"/>
                  </a:lnTo>
                  <a:lnTo>
                    <a:pt x="1142" y="179"/>
                  </a:lnTo>
                  <a:lnTo>
                    <a:pt x="1136" y="171"/>
                  </a:lnTo>
                  <a:lnTo>
                    <a:pt x="1128" y="163"/>
                  </a:lnTo>
                  <a:lnTo>
                    <a:pt x="1126" y="159"/>
                  </a:lnTo>
                  <a:lnTo>
                    <a:pt x="1123" y="154"/>
                  </a:lnTo>
                  <a:lnTo>
                    <a:pt x="1118" y="145"/>
                  </a:lnTo>
                  <a:lnTo>
                    <a:pt x="1116" y="140"/>
                  </a:lnTo>
                  <a:lnTo>
                    <a:pt x="1114" y="134"/>
                  </a:lnTo>
                  <a:lnTo>
                    <a:pt x="1113" y="129"/>
                  </a:lnTo>
                  <a:lnTo>
                    <a:pt x="1111" y="123"/>
                  </a:lnTo>
                  <a:lnTo>
                    <a:pt x="1110" y="116"/>
                  </a:lnTo>
                  <a:lnTo>
                    <a:pt x="1110" y="110"/>
                  </a:lnTo>
                  <a:lnTo>
                    <a:pt x="1110" y="103"/>
                  </a:lnTo>
                  <a:lnTo>
                    <a:pt x="1111" y="95"/>
                  </a:lnTo>
                  <a:lnTo>
                    <a:pt x="1113" y="89"/>
                  </a:lnTo>
                  <a:lnTo>
                    <a:pt x="1115" y="82"/>
                  </a:lnTo>
                  <a:lnTo>
                    <a:pt x="1117" y="77"/>
                  </a:lnTo>
                  <a:lnTo>
                    <a:pt x="1119" y="72"/>
                  </a:lnTo>
                  <a:lnTo>
                    <a:pt x="1122" y="67"/>
                  </a:lnTo>
                  <a:lnTo>
                    <a:pt x="1125" y="62"/>
                  </a:lnTo>
                  <a:lnTo>
                    <a:pt x="1129" y="58"/>
                  </a:lnTo>
                  <a:lnTo>
                    <a:pt x="1134" y="55"/>
                  </a:lnTo>
                  <a:lnTo>
                    <a:pt x="1139" y="53"/>
                  </a:lnTo>
                  <a:lnTo>
                    <a:pt x="1144" y="50"/>
                  </a:lnTo>
                  <a:lnTo>
                    <a:pt x="1150" y="48"/>
                  </a:lnTo>
                  <a:lnTo>
                    <a:pt x="1156" y="47"/>
                  </a:lnTo>
                  <a:lnTo>
                    <a:pt x="1162" y="45"/>
                  </a:lnTo>
                  <a:lnTo>
                    <a:pt x="1170" y="45"/>
                  </a:lnTo>
                  <a:close/>
                  <a:moveTo>
                    <a:pt x="1037" y="49"/>
                  </a:moveTo>
                  <a:lnTo>
                    <a:pt x="1078" y="49"/>
                  </a:lnTo>
                  <a:lnTo>
                    <a:pt x="1078" y="305"/>
                  </a:lnTo>
                  <a:lnTo>
                    <a:pt x="1037" y="305"/>
                  </a:lnTo>
                  <a:lnTo>
                    <a:pt x="1037" y="49"/>
                  </a:lnTo>
                  <a:close/>
                  <a:moveTo>
                    <a:pt x="985" y="0"/>
                  </a:moveTo>
                  <a:lnTo>
                    <a:pt x="985" y="35"/>
                  </a:lnTo>
                  <a:lnTo>
                    <a:pt x="949" y="35"/>
                  </a:lnTo>
                  <a:lnTo>
                    <a:pt x="949" y="0"/>
                  </a:lnTo>
                  <a:lnTo>
                    <a:pt x="985" y="0"/>
                  </a:lnTo>
                  <a:close/>
                  <a:moveTo>
                    <a:pt x="918" y="223"/>
                  </a:moveTo>
                  <a:lnTo>
                    <a:pt x="956" y="223"/>
                  </a:lnTo>
                  <a:lnTo>
                    <a:pt x="937" y="94"/>
                  </a:lnTo>
                  <a:lnTo>
                    <a:pt x="918" y="223"/>
                  </a:lnTo>
                  <a:close/>
                  <a:moveTo>
                    <a:pt x="929" y="0"/>
                  </a:moveTo>
                  <a:lnTo>
                    <a:pt x="929" y="35"/>
                  </a:lnTo>
                  <a:lnTo>
                    <a:pt x="894" y="35"/>
                  </a:lnTo>
                  <a:lnTo>
                    <a:pt x="894" y="0"/>
                  </a:lnTo>
                  <a:lnTo>
                    <a:pt x="929" y="0"/>
                  </a:lnTo>
                  <a:close/>
                  <a:moveTo>
                    <a:pt x="1009" y="305"/>
                  </a:moveTo>
                  <a:lnTo>
                    <a:pt x="969" y="305"/>
                  </a:lnTo>
                  <a:lnTo>
                    <a:pt x="962" y="258"/>
                  </a:lnTo>
                  <a:lnTo>
                    <a:pt x="913" y="258"/>
                  </a:lnTo>
                  <a:lnTo>
                    <a:pt x="905" y="305"/>
                  </a:lnTo>
                  <a:lnTo>
                    <a:pt x="868" y="305"/>
                  </a:lnTo>
                  <a:lnTo>
                    <a:pt x="909" y="49"/>
                  </a:lnTo>
                  <a:lnTo>
                    <a:pt x="969" y="49"/>
                  </a:lnTo>
                  <a:lnTo>
                    <a:pt x="1009" y="305"/>
                  </a:lnTo>
                  <a:close/>
                  <a:moveTo>
                    <a:pt x="742" y="49"/>
                  </a:moveTo>
                  <a:lnTo>
                    <a:pt x="866" y="49"/>
                  </a:lnTo>
                  <a:lnTo>
                    <a:pt x="866" y="86"/>
                  </a:lnTo>
                  <a:lnTo>
                    <a:pt x="825" y="86"/>
                  </a:lnTo>
                  <a:lnTo>
                    <a:pt x="825" y="305"/>
                  </a:lnTo>
                  <a:lnTo>
                    <a:pt x="785" y="305"/>
                  </a:lnTo>
                  <a:lnTo>
                    <a:pt x="785" y="86"/>
                  </a:lnTo>
                  <a:lnTo>
                    <a:pt x="742" y="86"/>
                  </a:lnTo>
                  <a:lnTo>
                    <a:pt x="742" y="49"/>
                  </a:lnTo>
                  <a:close/>
                  <a:moveTo>
                    <a:pt x="603" y="49"/>
                  </a:moveTo>
                  <a:lnTo>
                    <a:pt x="728" y="49"/>
                  </a:lnTo>
                  <a:lnTo>
                    <a:pt x="728" y="86"/>
                  </a:lnTo>
                  <a:lnTo>
                    <a:pt x="685" y="86"/>
                  </a:lnTo>
                  <a:lnTo>
                    <a:pt x="685" y="305"/>
                  </a:lnTo>
                  <a:lnTo>
                    <a:pt x="645" y="305"/>
                  </a:lnTo>
                  <a:lnTo>
                    <a:pt x="645" y="86"/>
                  </a:lnTo>
                  <a:lnTo>
                    <a:pt x="603" y="86"/>
                  </a:lnTo>
                  <a:lnTo>
                    <a:pt x="603" y="49"/>
                  </a:lnTo>
                  <a:close/>
                  <a:moveTo>
                    <a:pt x="536" y="49"/>
                  </a:moveTo>
                  <a:lnTo>
                    <a:pt x="576" y="49"/>
                  </a:lnTo>
                  <a:lnTo>
                    <a:pt x="576" y="305"/>
                  </a:lnTo>
                  <a:lnTo>
                    <a:pt x="536" y="305"/>
                  </a:lnTo>
                  <a:lnTo>
                    <a:pt x="536" y="49"/>
                  </a:lnTo>
                  <a:close/>
                  <a:moveTo>
                    <a:pt x="441" y="257"/>
                  </a:moveTo>
                  <a:lnTo>
                    <a:pt x="472" y="49"/>
                  </a:lnTo>
                  <a:lnTo>
                    <a:pt x="509" y="49"/>
                  </a:lnTo>
                  <a:lnTo>
                    <a:pt x="468" y="305"/>
                  </a:lnTo>
                  <a:lnTo>
                    <a:pt x="409" y="305"/>
                  </a:lnTo>
                  <a:lnTo>
                    <a:pt x="370" y="49"/>
                  </a:lnTo>
                  <a:lnTo>
                    <a:pt x="410" y="49"/>
                  </a:lnTo>
                  <a:lnTo>
                    <a:pt x="441" y="257"/>
                  </a:lnTo>
                  <a:close/>
                  <a:moveTo>
                    <a:pt x="301" y="49"/>
                  </a:moveTo>
                  <a:lnTo>
                    <a:pt x="342" y="49"/>
                  </a:lnTo>
                  <a:lnTo>
                    <a:pt x="342" y="305"/>
                  </a:lnTo>
                  <a:lnTo>
                    <a:pt x="301" y="305"/>
                  </a:lnTo>
                  <a:lnTo>
                    <a:pt x="301" y="49"/>
                  </a:lnTo>
                  <a:close/>
                  <a:moveTo>
                    <a:pt x="249" y="0"/>
                  </a:moveTo>
                  <a:lnTo>
                    <a:pt x="249" y="35"/>
                  </a:lnTo>
                  <a:lnTo>
                    <a:pt x="214" y="35"/>
                  </a:lnTo>
                  <a:lnTo>
                    <a:pt x="214" y="0"/>
                  </a:lnTo>
                  <a:lnTo>
                    <a:pt x="249" y="0"/>
                  </a:lnTo>
                  <a:close/>
                  <a:moveTo>
                    <a:pt x="182" y="223"/>
                  </a:moveTo>
                  <a:lnTo>
                    <a:pt x="221" y="223"/>
                  </a:lnTo>
                  <a:lnTo>
                    <a:pt x="202" y="94"/>
                  </a:lnTo>
                  <a:lnTo>
                    <a:pt x="182" y="223"/>
                  </a:lnTo>
                  <a:close/>
                  <a:moveTo>
                    <a:pt x="194" y="0"/>
                  </a:moveTo>
                  <a:lnTo>
                    <a:pt x="194" y="35"/>
                  </a:lnTo>
                  <a:lnTo>
                    <a:pt x="158" y="35"/>
                  </a:lnTo>
                  <a:lnTo>
                    <a:pt x="158" y="0"/>
                  </a:lnTo>
                  <a:lnTo>
                    <a:pt x="194" y="0"/>
                  </a:lnTo>
                  <a:close/>
                  <a:moveTo>
                    <a:pt x="274" y="305"/>
                  </a:moveTo>
                  <a:lnTo>
                    <a:pt x="234" y="305"/>
                  </a:lnTo>
                  <a:lnTo>
                    <a:pt x="226" y="258"/>
                  </a:lnTo>
                  <a:lnTo>
                    <a:pt x="177" y="258"/>
                  </a:lnTo>
                  <a:lnTo>
                    <a:pt x="170" y="305"/>
                  </a:lnTo>
                  <a:lnTo>
                    <a:pt x="133" y="305"/>
                  </a:lnTo>
                  <a:lnTo>
                    <a:pt x="174" y="49"/>
                  </a:lnTo>
                  <a:lnTo>
                    <a:pt x="233" y="49"/>
                  </a:lnTo>
                  <a:lnTo>
                    <a:pt x="274" y="305"/>
                  </a:lnTo>
                  <a:close/>
                  <a:moveTo>
                    <a:pt x="40" y="86"/>
                  </a:moveTo>
                  <a:lnTo>
                    <a:pt x="40" y="171"/>
                  </a:lnTo>
                  <a:lnTo>
                    <a:pt x="59" y="171"/>
                  </a:lnTo>
                  <a:lnTo>
                    <a:pt x="63" y="171"/>
                  </a:lnTo>
                  <a:lnTo>
                    <a:pt x="68" y="170"/>
                  </a:lnTo>
                  <a:lnTo>
                    <a:pt x="71" y="169"/>
                  </a:lnTo>
                  <a:lnTo>
                    <a:pt x="74" y="166"/>
                  </a:lnTo>
                  <a:lnTo>
                    <a:pt x="76" y="163"/>
                  </a:lnTo>
                  <a:lnTo>
                    <a:pt x="77" y="159"/>
                  </a:lnTo>
                  <a:lnTo>
                    <a:pt x="78" y="154"/>
                  </a:lnTo>
                  <a:lnTo>
                    <a:pt x="78" y="148"/>
                  </a:lnTo>
                  <a:lnTo>
                    <a:pt x="78" y="109"/>
                  </a:lnTo>
                  <a:lnTo>
                    <a:pt x="78" y="103"/>
                  </a:lnTo>
                  <a:lnTo>
                    <a:pt x="77" y="97"/>
                  </a:lnTo>
                  <a:lnTo>
                    <a:pt x="76" y="94"/>
                  </a:lnTo>
                  <a:lnTo>
                    <a:pt x="74" y="90"/>
                  </a:lnTo>
                  <a:lnTo>
                    <a:pt x="72" y="89"/>
                  </a:lnTo>
                  <a:lnTo>
                    <a:pt x="71" y="88"/>
                  </a:lnTo>
                  <a:lnTo>
                    <a:pt x="69" y="87"/>
                  </a:lnTo>
                  <a:lnTo>
                    <a:pt x="68" y="87"/>
                  </a:lnTo>
                  <a:lnTo>
                    <a:pt x="63" y="86"/>
                  </a:lnTo>
                  <a:lnTo>
                    <a:pt x="59" y="86"/>
                  </a:lnTo>
                  <a:lnTo>
                    <a:pt x="40" y="86"/>
                  </a:lnTo>
                  <a:close/>
                  <a:moveTo>
                    <a:pt x="118" y="112"/>
                  </a:moveTo>
                  <a:lnTo>
                    <a:pt x="118" y="145"/>
                  </a:lnTo>
                  <a:lnTo>
                    <a:pt x="118" y="152"/>
                  </a:lnTo>
                  <a:lnTo>
                    <a:pt x="118" y="160"/>
                  </a:lnTo>
                  <a:lnTo>
                    <a:pt x="116" y="166"/>
                  </a:lnTo>
                  <a:lnTo>
                    <a:pt x="115" y="172"/>
                  </a:lnTo>
                  <a:lnTo>
                    <a:pt x="113" y="178"/>
                  </a:lnTo>
                  <a:lnTo>
                    <a:pt x="111" y="183"/>
                  </a:lnTo>
                  <a:lnTo>
                    <a:pt x="108" y="188"/>
                  </a:lnTo>
                  <a:lnTo>
                    <a:pt x="104" y="192"/>
                  </a:lnTo>
                  <a:lnTo>
                    <a:pt x="100" y="196"/>
                  </a:lnTo>
                  <a:lnTo>
                    <a:pt x="95" y="199"/>
                  </a:lnTo>
                  <a:lnTo>
                    <a:pt x="91" y="202"/>
                  </a:lnTo>
                  <a:lnTo>
                    <a:pt x="86" y="204"/>
                  </a:lnTo>
                  <a:lnTo>
                    <a:pt x="79" y="206"/>
                  </a:lnTo>
                  <a:lnTo>
                    <a:pt x="73" y="207"/>
                  </a:lnTo>
                  <a:lnTo>
                    <a:pt x="67" y="208"/>
                  </a:lnTo>
                  <a:lnTo>
                    <a:pt x="59" y="208"/>
                  </a:lnTo>
                  <a:lnTo>
                    <a:pt x="40" y="208"/>
                  </a:lnTo>
                  <a:lnTo>
                    <a:pt x="40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59" y="49"/>
                  </a:lnTo>
                  <a:lnTo>
                    <a:pt x="67" y="49"/>
                  </a:lnTo>
                  <a:lnTo>
                    <a:pt x="73" y="50"/>
                  </a:lnTo>
                  <a:lnTo>
                    <a:pt x="79" y="51"/>
                  </a:lnTo>
                  <a:lnTo>
                    <a:pt x="86" y="53"/>
                  </a:lnTo>
                  <a:lnTo>
                    <a:pt x="88" y="54"/>
                  </a:lnTo>
                  <a:lnTo>
                    <a:pt x="91" y="55"/>
                  </a:lnTo>
                  <a:lnTo>
                    <a:pt x="95" y="58"/>
                  </a:lnTo>
                  <a:lnTo>
                    <a:pt x="100" y="61"/>
                  </a:lnTo>
                  <a:lnTo>
                    <a:pt x="104" y="64"/>
                  </a:lnTo>
                  <a:lnTo>
                    <a:pt x="108" y="69"/>
                  </a:lnTo>
                  <a:lnTo>
                    <a:pt x="111" y="74"/>
                  </a:lnTo>
                  <a:lnTo>
                    <a:pt x="113" y="79"/>
                  </a:lnTo>
                  <a:lnTo>
                    <a:pt x="115" y="85"/>
                  </a:lnTo>
                  <a:lnTo>
                    <a:pt x="116" y="91"/>
                  </a:lnTo>
                  <a:lnTo>
                    <a:pt x="118" y="97"/>
                  </a:lnTo>
                  <a:lnTo>
                    <a:pt x="118" y="105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38525593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F375F4-26A3-4E88-A920-74991209A15F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3258263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58C04E-7517-4ABC-8BDD-AE2C2CD0AB93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10266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C913AB-4D9A-486B-973B-4E79672953D5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4981018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E8A1E0-5EDF-4675-B2EC-19D9D3E5F3E7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0496" y="5229200"/>
            <a:ext cx="996286" cy="99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40932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AF29B8-980B-4407-BFD6-77795ED35851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0035875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6A960-F034-4EAA-9625-4B3D839AEC6B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9752476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77505-1035-44F7-9503-20D653FFF47B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04614716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E0D8E-2405-4673-B07B-0FF4F4DC77C2}" type="datetime1">
              <a:rPr lang="fi-FI" smtClean="0"/>
              <a:t>28.2.2018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13120621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A2A95-7785-4CDF-9C00-6A71AAF66528}" type="datetime1">
              <a:rPr lang="fi-FI" smtClean="0"/>
              <a:t>28.2.2018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51336158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80087-ACD5-4A2E-9553-57847CE261D5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56370353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F264CD-5288-4048-BE09-0FAFA728375A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97893927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DCAA6D-ABEA-4F0C-B541-B063111BDDEB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515501972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8538C-9C01-4FBE-815C-960E4225ECD8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578493549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ejä naps.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F9642-5DA1-477B-AF78-2034139EF852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35519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D6FC3B-3A89-4F86-BCA5-ECE1CD8694C5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0496" y="5265583"/>
            <a:ext cx="986416" cy="986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714878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2E1ED-47E2-4F9E-847A-8DC0908758AB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334906460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F9F08AD-452E-4564-9BFD-31EC7E8F41B7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715655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DE9596-EE52-4AAF-9011-AD6DB22B887C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4426545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CF43D4B-E467-41DE-9D2B-F8EB2546C587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217411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227A2A-F737-4B45-AC91-D7A4D44F86DA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759427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Vedä kuva paikkamerkkiin tai lisää napsauttamalla kuvaketta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7ABE1E32-5788-4B1A-9EC4-503F78365A7B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59748684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E8630F-4ABE-427B-BBEC-45F957F049B1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2562206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583F35-3C2B-48F3-9026-56159C939210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977910821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DEF2EF-DA27-40B2-9096-EB23295A673E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Vedä kuva paikkamerkkiin tai lisää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41524580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D0B956-4577-447D-80A4-96B5859C3EDC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Vedä kuva paikkamerkkiin tai lisää napsauttamalla kuvaketta</a:t>
            </a:r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</p:spTree>
    <p:extLst>
      <p:ext uri="{BB962C8B-B14F-4D97-AF65-F5344CB8AC3E}">
        <p14:creationId xmlns:p14="http://schemas.microsoft.com/office/powerpoint/2010/main" val="16671785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1A9A1-1018-4190-B364-7CE500C7B3BC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0456" y="5301208"/>
            <a:ext cx="1472094" cy="792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268271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FF26E-978E-4A9D-BCC6-CBC9392B308A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Vedä kuva paikkamerkkiin tai lisää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84837471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Vedä kuva paikkamerkkiin tai lisää napsauttamalla kuvaketta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71C6ED94-E34E-4200-BED8-9AA3D2989623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497245370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Vedä kuva paikkamerkkiin tai lisää napsauttamalla kuvaketta</a:t>
            </a:r>
            <a:endParaRPr lang="fi-FI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DFE7018-2E1C-4388-8529-8A736D34B272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29596251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Vedä kuva paikkamerkkiin tai lisää napsauttamalla kuvaketta</a:t>
            </a:r>
            <a:endParaRPr lang="fi-FI"/>
          </a:p>
        </p:txBody>
      </p:sp>
      <p:sp>
        <p:nvSpPr>
          <p:cNvPr id="7" name="Rectangle 6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0B44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CB2818B-0BD7-4288-AAF3-CA64875283AC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44963942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ADD0A5-DD5B-466A-9266-A336F9C814A7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470144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DFA447-500A-41AB-90BF-9695976CDEB3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572733565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AB8FFE-0FA8-414C-9E1B-538DF9F14E1B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538960195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EC22A-B9EB-4407-B13A-2504DF04100D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527831789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35EC04-A10A-433D-A041-F3E88D078231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r>
              <a:rPr lang="fi-FI" smtClean="0"/>
              <a:t>Lisää kaavio napsauttamalla symbolia</a:t>
            </a:r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r>
              <a:rPr lang="fi-FI" smtClean="0"/>
              <a:t>Lisää kaavio napsauttamalla symboli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76003539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25A61-3B37-4F40-90B8-DC4A5CCA81F7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r>
              <a:rPr lang="fi-FI" smtClean="0"/>
              <a:t>Lisää kaavio napsauttamalla symboli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067240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E23E48-5888-4F2B-83F5-09614C61867F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0536" y="5517232"/>
            <a:ext cx="936104" cy="936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950280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ejä naps.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0DE477-4B23-496E-A467-0ABDE50E1272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821679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207D02-95F6-4440-AFB8-32191F4F2259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6946103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77E4F3-7BFC-4470-A43E-EE70047EF3DD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0749154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9C6AD4-E0E4-4137-8439-ECEDD08736FA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1291" y="5301208"/>
            <a:ext cx="937041" cy="934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88805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6A00E9-C189-4C02-9B74-3050FE859E11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0496" y="5229200"/>
            <a:ext cx="996286" cy="99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840368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3FB636-6EAE-4E8C-B1B5-962F4B4A3043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0496" y="5265583"/>
            <a:ext cx="986416" cy="986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118048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589A3D-C6EE-4653-BA69-15582D6BB7A0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0456" y="5301208"/>
            <a:ext cx="1472094" cy="792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696129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CB473C-FDFE-434A-BE2B-E93B410ECCF1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0536" y="5517232"/>
            <a:ext cx="936104" cy="936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450012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BCE45-99D1-4ACF-824D-A3315F4C9005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9" name="Kuva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8488" y="5229200"/>
            <a:ext cx="1128825" cy="96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643676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DA9B8-DE86-4EBE-A287-0B8766236F79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4552" y="5484372"/>
            <a:ext cx="502729" cy="1078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0370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C66F7-89A4-4AB1-ACA8-C844D50EFE02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9" name="Kuva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8488" y="5229200"/>
            <a:ext cx="1128825" cy="96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171582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174126-1374-45EE-9B4D-1A33204D068B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ound Same Side Corner Rectangle 13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3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BBD46"/>
              </a:buClr>
            </a:pPr>
            <a:r>
              <a:rPr lang="fi-FI" sz="2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HENKILÖSTÖTYÖ</a:t>
            </a:r>
            <a:endParaRPr lang="fi-FI" sz="2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3068610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DBB8CF-5D71-4383-92AC-20C738F01D94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ound Same Side Corner Rectangle 13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5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BBD46"/>
              </a:buClr>
            </a:pPr>
            <a:r>
              <a:rPr lang="fi-FI" sz="2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HENKILÖSTÖTYÖ</a:t>
            </a:r>
            <a:endParaRPr lang="fi-FI" sz="2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4057836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FFB4F6-D97C-478E-BF38-2EE496080C38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ound Same Side Corner Rectangle 13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5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BBD46"/>
              </a:buClr>
            </a:pPr>
            <a:r>
              <a:rPr lang="fi-FI" sz="2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HENKILÖSTÖTYÖ</a:t>
            </a:r>
            <a:endParaRPr lang="fi-FI" sz="2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3887299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C522CB-67F6-48E3-8626-7885344D782C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708503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58A52-FF39-4E3B-AE4A-BFC2787EE419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4175552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C0E83F22-1289-49A7-8AD5-8D96C2A17F16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0798586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87BE54-D3CB-4A34-8FA6-F89798F42750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9" name="Round Same Side Corner Rectangle 8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3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BBD46"/>
              </a:buClr>
            </a:pPr>
            <a:r>
              <a:rPr lang="fi-FI" sz="2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HENKILÖSTÖTYÖ</a:t>
            </a:r>
            <a:endParaRPr lang="fi-FI" sz="2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5390806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58D7D2-E892-4552-B5EE-1FDCF4B29408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Round Same Side Corner Rectangle 9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3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BBD46"/>
              </a:buClr>
            </a:pPr>
            <a:r>
              <a:rPr lang="fi-FI" sz="2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HENKILÖSTÖTYÖ</a:t>
            </a:r>
            <a:endParaRPr lang="fi-FI" sz="2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498370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B1A766-031D-481C-A55C-369B390AC639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1" name="Round Same Side Corner Rectangle 10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2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BBD46"/>
              </a:buClr>
            </a:pPr>
            <a:r>
              <a:rPr lang="fi-FI" sz="2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HENKILÖSTÖTYÖ</a:t>
            </a:r>
            <a:endParaRPr lang="fi-FI" sz="2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234854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ADE1729-D86F-47B4-AFF5-A13D1A07FD1E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0007157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AB1EE-3633-47D4-843B-0DFF507E6FE7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4552" y="5484372"/>
            <a:ext cx="502729" cy="1078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222223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9E5BB-F30D-40AE-838A-ED3022787939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4821044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15A8A-2E3D-420D-A18F-1AA4F1AA8881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4165585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B03427-6433-4587-A10B-ED4C58030812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55891890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8FE7C-CAE6-447F-8DEB-1C7FF0135081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739932043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1B4A8-76C7-4A4A-9D60-60431670BCC1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5601372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0630D6E5-8ADB-4496-ADAB-9D2EC7B879C6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Round Same Side Corner Rectangle 11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1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BBD46"/>
              </a:buClr>
            </a:pPr>
            <a:r>
              <a:rPr lang="fi-FI" sz="2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HENKILÖSTÖTYÖ</a:t>
            </a:r>
            <a:endParaRPr lang="fi-FI" sz="2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6406615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569053B-7107-45E4-AF13-77FE8A887D69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13" name="Round Same Side Corner Rectangle 12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4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BBD46"/>
              </a:buClr>
            </a:pPr>
            <a:r>
              <a:rPr lang="fi-FI" sz="2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HENKILÖSTÖTYÖ</a:t>
            </a:r>
            <a:endParaRPr lang="fi-FI" sz="2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7510087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C59E42-C008-4C8D-A485-C2F5C6B9640A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13" name="Round Same Side Corner Rectangle 12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2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BBD46"/>
              </a:buClr>
            </a:pPr>
            <a:r>
              <a:rPr lang="fi-FI" sz="2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HENKILÖSTÖTYÖ</a:t>
            </a:r>
            <a:endParaRPr lang="fi-FI" sz="2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5194375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BD2FC8-618E-4710-8166-4910672BA1F6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9" name="Round Same Side Corner Rectangle 8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1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BBD46"/>
              </a:buClr>
            </a:pPr>
            <a:r>
              <a:rPr lang="fi-FI" sz="2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HENKILÖSTÖTYÖ</a:t>
            </a:r>
            <a:endParaRPr lang="fi-FI" sz="2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3184845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2D046-BDFF-477C-B3A5-9911A383ED41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045499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8EEE25B-D912-4DEC-8F7C-983203BDCE88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ound Same Side Corner Rectangle 13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/>
          </a:p>
        </p:txBody>
      </p:sp>
      <p:sp>
        <p:nvSpPr>
          <p:cNvPr id="13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sz="2200" dirty="0" smtClean="0">
                <a:latin typeface="Arial Narrow" panose="020B0606020202030204" pitchFamily="34" charset="0"/>
              </a:rPr>
              <a:t>HENKILÖSTÖTYÖ</a:t>
            </a:r>
            <a:endParaRPr lang="fi-FI" sz="22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6833558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3407DA-FA04-4D7C-A8A4-68CC0C382B9E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3791378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BE732-A9D6-4665-94B2-3859262F2A65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692810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A2573-DDC5-4FE0-987F-C3B238CED758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49405365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C2D64-0D2F-49D2-B6D5-DA1F7D9639D8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46686645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9D4428-5A48-4EFD-9540-91197B909B6D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999190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B5D2E-5336-49A8-BF19-0FF00F087DE2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821420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0F289-1B82-4123-AF71-7F0F6F9F07F0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7279826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F08202-B85A-497A-A556-CB30390CB5A5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1291" y="5301208"/>
            <a:ext cx="937041" cy="934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570989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0C06B8-D09F-44FC-9579-3A942960DFC4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0496" y="5229200"/>
            <a:ext cx="996286" cy="99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2418356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45226E-E664-4AE4-AD3F-EB7A70CE2F7B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0496" y="5265583"/>
            <a:ext cx="986416" cy="986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0933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AD57DE-D174-4E06-8B4F-664A791FF4F7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ound Same Side Corner Rectangle 13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/>
          </a:p>
        </p:txBody>
      </p:sp>
      <p:sp>
        <p:nvSpPr>
          <p:cNvPr id="15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sz="2200" dirty="0" smtClean="0">
                <a:latin typeface="Arial Narrow" panose="020B0606020202030204" pitchFamily="34" charset="0"/>
              </a:rPr>
              <a:t>HENKILÖSTÖTYÖ</a:t>
            </a:r>
            <a:endParaRPr lang="fi-FI" sz="22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9371198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AE656A-F36D-4CD9-86BD-1990373BB917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0456" y="5301208"/>
            <a:ext cx="1472094" cy="792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313004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83A6A-A0A8-496E-A714-FC70AC6B30ED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0536" y="5517232"/>
            <a:ext cx="936104" cy="936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859775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077067-85ED-4BDB-B6D0-81CADE0B98C5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9" name="Kuva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8488" y="5229200"/>
            <a:ext cx="1128825" cy="96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881756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5D4EE6-D4BD-40ED-8247-7748E8ACDE51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4552" y="5484372"/>
            <a:ext cx="502729" cy="1078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338192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0B65A9-17BF-4905-A339-08F518DA82E1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ound Same Side Corner Rectangle 13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3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BBD46"/>
              </a:buClr>
            </a:pPr>
            <a:r>
              <a:rPr lang="fi-FI" sz="2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HENKILÖSTÖTYÖ</a:t>
            </a:r>
            <a:endParaRPr lang="fi-FI" sz="2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5982082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8D424-B98E-46DD-B05F-413CCEC1697B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ound Same Side Corner Rectangle 13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5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BBD46"/>
              </a:buClr>
            </a:pPr>
            <a:r>
              <a:rPr lang="fi-FI" sz="2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HENKILÖSTÖTYÖ</a:t>
            </a:r>
            <a:endParaRPr lang="fi-FI" sz="2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9257126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FEE44-18ED-418C-A608-1BCF3835FD59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ound Same Side Corner Rectangle 13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5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BBD46"/>
              </a:buClr>
            </a:pPr>
            <a:r>
              <a:rPr lang="fi-FI" sz="2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HENKILÖSTÖTYÖ</a:t>
            </a:r>
            <a:endParaRPr lang="fi-FI" sz="2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9988616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088122-8ABE-4FF7-B026-3DAAB7F4BFE9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739202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5D84F3-F51B-4D32-8383-BEAA2B576F50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9541168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688EE1-8636-48B3-BE53-805A840A7EEC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94799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188D4-57B9-4F82-9F93-AB31DD0C2CB9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Round Same Side Corner Rectangle 13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/>
          </a:p>
        </p:txBody>
      </p:sp>
      <p:sp>
        <p:nvSpPr>
          <p:cNvPr id="15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sz="2200" dirty="0" smtClean="0">
                <a:latin typeface="Arial Narrow" panose="020B0606020202030204" pitchFamily="34" charset="0"/>
              </a:rPr>
              <a:t>HENKILÖSTÖTYÖ</a:t>
            </a:r>
            <a:endParaRPr lang="fi-FI" sz="22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4147111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E3DC1D-B1B6-490A-91ED-123693596557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9" name="Round Same Side Corner Rectangle 8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3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BBD46"/>
              </a:buClr>
            </a:pPr>
            <a:r>
              <a:rPr lang="fi-FI" sz="2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HENKILÖSTÖTYÖ</a:t>
            </a:r>
            <a:endParaRPr lang="fi-FI" sz="2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321206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6DA99B-6B45-462B-BB42-876236A9114A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Round Same Side Corner Rectangle 9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3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BBD46"/>
              </a:buClr>
            </a:pPr>
            <a:r>
              <a:rPr lang="fi-FI" sz="2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HENKILÖSTÖTYÖ</a:t>
            </a:r>
            <a:endParaRPr lang="fi-FI" sz="2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861044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ABC5EB-FAEB-437C-B582-7A482480EA03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1" name="Round Same Side Corner Rectangle 10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2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BBD46"/>
              </a:buClr>
            </a:pPr>
            <a:r>
              <a:rPr lang="fi-FI" sz="2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HENKILÖSTÖTYÖ</a:t>
            </a:r>
            <a:endParaRPr lang="fi-FI" sz="2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4460824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EC1AC4AC-F1FF-42DE-BFBD-E115250681A4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7127962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CAC03F-8394-41CC-BDF7-E7364ADF8C43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565733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52B2B-A577-415B-A6AE-55717EDC7E5E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6135447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79345-AFED-4E1A-BBB4-17D49CD115DB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86347459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2CD3A2-1360-4D4C-805A-4D70FCA3A8C8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2923361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C83DE5-6AF5-47E2-9E1E-1CFB415C6063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67231029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6D9BCC5F-4980-416A-8353-A0DADE361D38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Round Same Side Corner Rectangle 11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1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BBD46"/>
              </a:buClr>
            </a:pPr>
            <a:r>
              <a:rPr lang="fi-FI" sz="2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HENKILÖSTÖTYÖ</a:t>
            </a:r>
            <a:endParaRPr lang="fi-FI" sz="2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549621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972FE-AC51-4DA9-82C0-8EF0F5650D67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17671661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12527F8-6739-42E5-B5A7-A19E07EC8013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13" name="Round Same Side Corner Rectangle 12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4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BBD46"/>
              </a:buClr>
            </a:pPr>
            <a:r>
              <a:rPr lang="fi-FI" sz="2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HENKILÖSTÖTYÖ</a:t>
            </a:r>
            <a:endParaRPr lang="fi-FI" sz="2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9541865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7A1125-B3F3-42AD-BF9A-2362CA789920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13" name="Round Same Side Corner Rectangle 12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2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BBD46"/>
              </a:buClr>
            </a:pPr>
            <a:r>
              <a:rPr lang="fi-FI" sz="2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HENKILÖSTÖTYÖ</a:t>
            </a:r>
            <a:endParaRPr lang="fi-FI" sz="2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8426469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C92890D-84AE-4608-BED1-21BE0434BAD7}" type="datetime1">
              <a:rPr lang="fi-FI" smtClean="0">
                <a:solidFill>
                  <a:prstClr val="white"/>
                </a:solidFill>
              </a:rPr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anna-Mari Myllynen / Nuori Mieli Työssä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9" name="Round Same Side Corner Rectangle 8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1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BBD46"/>
              </a:buClr>
            </a:pPr>
            <a:r>
              <a:rPr lang="fi-FI" sz="2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HENKILÖSTÖTYÖ</a:t>
            </a:r>
            <a:endParaRPr lang="fi-FI" sz="2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1237292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0DE48C-43CC-4543-9046-56302C3E268D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0884239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BAB7E7-F668-4564-A18C-2015B7BFC0D0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8814498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4A0A2D-FE9A-456E-8491-BD74F686F070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9170638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5264C-BCD1-4E15-92C5-8970DD667476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89117890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D22190-D96A-45B2-BC3B-9743D9AEF789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73544954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5D31FA-D0A8-498A-A5A0-0C49E25D1267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7066575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8F620E-9466-43E8-BCC9-9766F02117CF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62552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7232CB-56A9-413B-B549-5D6FA9DACAF0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4256645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DD2EA-4530-48CA-831B-F713147DD99A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541095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i-FI" smtClean="0"/>
              <a:t>Muokkaa perustyylejä naps.</a:t>
            </a:r>
            <a:endParaRPr lang="fi-FI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7887A-B047-4164-8069-69213C1569E0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91CC9-B11F-3C4B-9F04-E1EA2232FB2E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5253673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800" b="1" i="0" spc="-150">
                <a:latin typeface="Trebuchet MS" charset="0"/>
                <a:ea typeface="Trebuchet MS" charset="0"/>
                <a:cs typeface="Trebuchet MS" charset="0"/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2786062"/>
          </a:xfrm>
        </p:spPr>
        <p:txBody>
          <a:bodyPr/>
          <a:lstStyle>
            <a:lvl1pPr marL="0" indent="0" algn="ctr">
              <a:buNone/>
              <a:defRPr sz="2400" b="0" i="0">
                <a:latin typeface="Trebuchet MS" charset="0"/>
                <a:ea typeface="Trebuchet MS" charset="0"/>
                <a:cs typeface="Trebuchet MS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302039" y="6590849"/>
            <a:ext cx="1375048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3D474D6F-13B4-4544-AF38-B263CCD0A08E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6491" y="6590849"/>
            <a:ext cx="5185171" cy="188328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590849"/>
            <a:ext cx="360239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8953356"/>
      </p:ext>
    </p:extLst>
  </p:cSld>
  <p:clrMapOvr>
    <a:masterClrMapping/>
  </p:clrMapOvr>
  <p:hf hdr="0"/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587876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302039" y="6590849"/>
            <a:ext cx="1375048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0A1972FE-AC51-4DA9-82C0-8EF0F5650D67}" type="datetime1">
              <a:rPr lang="fi-FI" smtClean="0"/>
              <a:t>28.2.2018</a:t>
            </a:fld>
            <a:endParaRPr lang="fi-FI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6491" y="6590849"/>
            <a:ext cx="5185171" cy="188328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590849"/>
            <a:ext cx="360239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54025604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1850" y="10239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1850" y="3903663"/>
            <a:ext cx="10515600" cy="181133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302039" y="6590849"/>
            <a:ext cx="1375048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3D474D6F-13B4-4544-AF38-B263CCD0A08E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6491" y="6590849"/>
            <a:ext cx="5185171" cy="188328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590849"/>
            <a:ext cx="360239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20608458"/>
      </p:ext>
    </p:extLst>
  </p:cSld>
  <p:clrMapOvr>
    <a:masterClrMapping/>
  </p:clrMapOvr>
  <p:hf hdr="0"/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825624"/>
            <a:ext cx="5181600" cy="4587875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181600" cy="4587875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1302039" y="6590849"/>
            <a:ext cx="1375048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3D474D6F-13B4-4544-AF38-B263CCD0A08E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6491" y="6590849"/>
            <a:ext cx="5185171" cy="188328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590849"/>
            <a:ext cx="360239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8280127"/>
      </p:ext>
    </p:extLst>
  </p:cSld>
  <p:clrMapOvr>
    <a:masterClrMapping/>
  </p:clrMapOvr>
  <p:hf hdr="0"/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9434512" cy="1325563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 i="0">
                <a:latin typeface="Trebuchet MS" charset="0"/>
                <a:ea typeface="Trebuchet MS" charset="0"/>
                <a:cs typeface="Trebuchet MS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839788" y="2505074"/>
            <a:ext cx="5157787" cy="3883025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 i="0">
                <a:latin typeface="Trebuchet MS" charset="0"/>
                <a:ea typeface="Trebuchet MS" charset="0"/>
                <a:cs typeface="Trebuchet MS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183188" cy="3883025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1302039" y="6590849"/>
            <a:ext cx="1375048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3D474D6F-13B4-4544-AF38-B263CCD0A08E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16491" y="6590849"/>
            <a:ext cx="5185171" cy="188328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8200" y="6590849"/>
            <a:ext cx="360239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864576481"/>
      </p:ext>
    </p:extLst>
  </p:cSld>
  <p:clrMapOvr>
    <a:masterClrMapping/>
  </p:clrMapOvr>
  <p:hf hdr="0"/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302039" y="6590849"/>
            <a:ext cx="1375048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6B36103B-FF42-4FFC-9DBC-DB426A876962}" type="datetime1">
              <a:rPr lang="fi-FI" smtClean="0"/>
              <a:t>28.2.2018</a:t>
            </a:fld>
            <a:endParaRPr lang="fi-FI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6491" y="6590849"/>
            <a:ext cx="5185171" cy="188328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590849"/>
            <a:ext cx="360239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55539143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 suuri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Kuvan paikkamerkki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 smtClean="0"/>
              <a:t>Lisää kuva napsauttamalla kuvaketta</a:t>
            </a:r>
            <a:endParaRPr lang="fi-FI"/>
          </a:p>
        </p:txBody>
      </p:sp>
      <p:pic>
        <p:nvPicPr>
          <p:cNvPr id="8" name="Kuva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595" y="129639"/>
            <a:ext cx="1521524" cy="1458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54667"/>
      </p:ext>
    </p:extLst>
  </p:cSld>
  <p:clrMapOvr>
    <a:masterClrMapping/>
  </p:clrMapOvr>
  <p:hf hdr="0"/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 kuv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Kuvan paikkamerkki 2"/>
          <p:cNvSpPr>
            <a:spLocks noGrp="1"/>
          </p:cNvSpPr>
          <p:nvPr>
            <p:ph type="pic" idx="11"/>
          </p:nvPr>
        </p:nvSpPr>
        <p:spPr>
          <a:xfrm>
            <a:off x="0" y="0"/>
            <a:ext cx="6023992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11" name="Kuvan paikkamerkki 2"/>
          <p:cNvSpPr>
            <a:spLocks noGrp="1"/>
          </p:cNvSpPr>
          <p:nvPr>
            <p:ph type="pic" idx="12"/>
          </p:nvPr>
        </p:nvSpPr>
        <p:spPr>
          <a:xfrm>
            <a:off x="6184032" y="0"/>
            <a:ext cx="6023992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 smtClean="0"/>
              <a:t>Lisää kuva napsauttamalla kuvaketta</a:t>
            </a:r>
            <a:endParaRPr lang="fi-FI"/>
          </a:p>
        </p:txBody>
      </p:sp>
      <p:pic>
        <p:nvPicPr>
          <p:cNvPr id="8" name="Kuva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595" y="129639"/>
            <a:ext cx="1521524" cy="1458850"/>
          </a:xfrm>
          <a:prstGeom prst="rect">
            <a:avLst/>
          </a:prstGeom>
        </p:spPr>
      </p:pic>
    </p:spTree>
  </p:cSld>
  <p:clrMapOvr>
    <a:masterClrMapping/>
  </p:clrMapOvr>
  <p:hf hdr="0"/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kuv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Kuvan paikkamerkki 2"/>
          <p:cNvSpPr>
            <a:spLocks noGrp="1"/>
          </p:cNvSpPr>
          <p:nvPr>
            <p:ph type="pic" idx="11"/>
          </p:nvPr>
        </p:nvSpPr>
        <p:spPr>
          <a:xfrm>
            <a:off x="0" y="0"/>
            <a:ext cx="3908338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9" name="Kuvan paikkamerkki 2"/>
          <p:cNvSpPr>
            <a:spLocks noGrp="1"/>
          </p:cNvSpPr>
          <p:nvPr>
            <p:ph type="pic" idx="12"/>
          </p:nvPr>
        </p:nvSpPr>
        <p:spPr>
          <a:xfrm>
            <a:off x="4033149" y="0"/>
            <a:ext cx="4032448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10" name="Kuvan paikkamerkki 2"/>
          <p:cNvSpPr>
            <a:spLocks noGrp="1"/>
          </p:cNvSpPr>
          <p:nvPr>
            <p:ph type="pic" idx="13"/>
          </p:nvPr>
        </p:nvSpPr>
        <p:spPr>
          <a:xfrm>
            <a:off x="8190408" y="0"/>
            <a:ext cx="4000252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 smtClean="0"/>
              <a:t>Lisää kuva napsauttamalla kuvaketta</a:t>
            </a:r>
            <a:endParaRPr lang="fi-FI"/>
          </a:p>
        </p:txBody>
      </p:sp>
      <p:pic>
        <p:nvPicPr>
          <p:cNvPr id="8" name="Kuva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595" y="129639"/>
            <a:ext cx="1521524" cy="1458850"/>
          </a:xfrm>
          <a:prstGeom prst="rect">
            <a:avLst/>
          </a:prstGeom>
        </p:spPr>
      </p:pic>
    </p:spTree>
  </p:cSld>
  <p:clrMapOvr>
    <a:masterClrMapping/>
  </p:clrMapOvr>
  <p:hf hd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4C47424-73F3-4988-B71E-22A0E79088E8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67237635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5465911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4395936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1302039" y="6590849"/>
            <a:ext cx="1375048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3D474D6F-13B4-4544-AF38-B263CCD0A08E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6491" y="6590849"/>
            <a:ext cx="5185171" cy="188328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590849"/>
            <a:ext cx="360239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67346049"/>
      </p:ext>
    </p:extLst>
  </p:cSld>
  <p:clrMapOvr>
    <a:masterClrMapping/>
  </p:clrMapOvr>
  <p:hf hdr="0"/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Kuva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4" r="-360" b="16199"/>
          <a:stretch/>
        </p:blipFill>
        <p:spPr>
          <a:xfrm>
            <a:off x="4192" y="674171"/>
            <a:ext cx="6344124" cy="6183829"/>
          </a:xfrm>
          <a:prstGeom prst="rect">
            <a:avLst/>
          </a:prstGeom>
        </p:spPr>
      </p:pic>
      <p:sp>
        <p:nvSpPr>
          <p:cNvPr id="12" name="Freeform 7"/>
          <p:cNvSpPr>
            <a:spLocks noEditPoints="1"/>
          </p:cNvSpPr>
          <p:nvPr/>
        </p:nvSpPr>
        <p:spPr bwMode="auto">
          <a:xfrm>
            <a:off x="235744" y="6108362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5187380" y="987425"/>
            <a:ext cx="6172200" cy="539390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43980" y="2057400"/>
            <a:ext cx="3932237" cy="432392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pic>
        <p:nvPicPr>
          <p:cNvPr id="13" name="Kuva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595" y="129639"/>
            <a:ext cx="1521524" cy="1458850"/>
          </a:xfrm>
          <a:prstGeom prst="rect">
            <a:avLst/>
          </a:prstGeom>
        </p:spPr>
      </p:pic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1302039" y="6590849"/>
            <a:ext cx="1375048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3D474D6F-13B4-4544-AF38-B263CCD0A08E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6491" y="6590849"/>
            <a:ext cx="5185171" cy="188328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590849"/>
            <a:ext cx="360239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130327042"/>
      </p:ext>
    </p:extLst>
  </p:cSld>
  <p:clrMapOvr>
    <a:masterClrMapping/>
  </p:clrMapOvr>
  <p:hf hdr="0"/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302039" y="6590849"/>
            <a:ext cx="1375048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3D474D6F-13B4-4544-AF38-B263CCD0A08E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6491" y="6590849"/>
            <a:ext cx="5185171" cy="188328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590849"/>
            <a:ext cx="360239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59232110"/>
      </p:ext>
    </p:extLst>
  </p:cSld>
  <p:clrMapOvr>
    <a:masterClrMapping/>
  </p:clrMapOvr>
  <p:hf hdr="0"/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8688288" y="365125"/>
            <a:ext cx="1944216" cy="5811838"/>
          </a:xfrm>
        </p:spPr>
        <p:txBody>
          <a:bodyPr vert="eaVert"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302039" y="6590849"/>
            <a:ext cx="1375048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3D474D6F-13B4-4544-AF38-B263CCD0A08E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6491" y="6590849"/>
            <a:ext cx="5185171" cy="188328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590849"/>
            <a:ext cx="360239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7" name="Kuva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487595" y="129639"/>
            <a:ext cx="1521524" cy="1458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28429"/>
      </p:ext>
    </p:extLst>
  </p:cSld>
  <p:clrMapOvr>
    <a:masterClrMapping/>
  </p:clrMapOvr>
  <p:hf hdr="0"/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DD2EA-4530-48CA-831B-F713147DD99A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541095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2017</a:t>
            </a:r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S-ryhmän strategia 2017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83472524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5D2CB-D784-4130-B137-C0C1BD082F25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017930193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07CD01-1753-4C22-9B55-A37382CE6CF3}" type="datetime1">
              <a:rPr lang="fi-FI" smtClean="0">
                <a:solidFill>
                  <a:prstClr val="white"/>
                </a:solidFill>
              </a:rPr>
              <a:pPr/>
              <a:t>28.2.2018</a:t>
            </a:fld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Presentation name / Author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761859211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40DFD-5ADA-4216-A035-D29531EF2E11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947358433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556DF3-E3B5-48E8-B1BC-402AD5C47182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1177828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3C33E56-095F-4E08-9E3B-7E23074DA865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9" name="Round Same Side Corner Rectangle 8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/>
          </a:p>
        </p:txBody>
      </p:sp>
      <p:sp>
        <p:nvSpPr>
          <p:cNvPr id="13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sz="2200" dirty="0" smtClean="0">
                <a:latin typeface="Arial Narrow" panose="020B0606020202030204" pitchFamily="34" charset="0"/>
              </a:rPr>
              <a:t>HENKILÖSTÖTYÖ</a:t>
            </a:r>
            <a:endParaRPr lang="fi-FI" sz="22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3569581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ejä naps.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26C4FB-3052-4A35-9572-94DC01B94BCF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702984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D1310-16D2-4CA7-A201-3B922ECA5606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683672174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ACB84CF7-E792-4082-B67A-952233CF1864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075218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A53B4E-0622-4CDB-B5BF-36956792851D}" type="datetime1">
              <a:rPr lang="fi-FI" smtClean="0">
                <a:solidFill>
                  <a:prstClr val="white"/>
                </a:solidFill>
              </a:rPr>
              <a:pPr/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Presentation name / Author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774053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3CB8751-2921-43B4-A6E5-18012E68ECAF}" type="datetime1">
              <a:rPr lang="fi-FI" smtClean="0">
                <a:solidFill>
                  <a:prstClr val="white"/>
                </a:solidFill>
              </a:rPr>
              <a:pPr/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Presentation name / Author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697092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E2A5A9-BB84-4217-BBBB-FD533374063A}" type="datetime1">
              <a:rPr lang="fi-FI" smtClean="0">
                <a:solidFill>
                  <a:prstClr val="white"/>
                </a:solidFill>
              </a:rPr>
              <a:pPr/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Presentation name / Author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5438452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Vedä kuva paikkamerkkiin tai lisää napsauttamalla kuvaketta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8817ED58-4E7D-474E-950A-8B392760788B}" type="datetime1">
              <a:rPr lang="fi-FI" smtClean="0">
                <a:solidFill>
                  <a:prstClr val="white"/>
                </a:solidFill>
              </a:rPr>
              <a:pPr/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Presentation name / Author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53557780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8E50BE-6255-4528-95C3-11025144E72A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1907688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172B4-697B-448A-AA07-2F430A13DCB6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908135748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1EFE66-C6C2-4280-817D-BD491099F41B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Vedä kuva paikkamerkkiin tai lisää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750266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26ABE0B-C0CD-4CDA-97C9-A9E879B0A917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Round Same Side Corner Rectangle 9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/>
          </a:p>
        </p:txBody>
      </p:sp>
      <p:sp>
        <p:nvSpPr>
          <p:cNvPr id="13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sz="2200" dirty="0" smtClean="0">
                <a:latin typeface="Arial Narrow" panose="020B0606020202030204" pitchFamily="34" charset="0"/>
              </a:rPr>
              <a:t>HENKILÖSTÖTYÖ</a:t>
            </a:r>
            <a:endParaRPr lang="fi-FI" sz="22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6506911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CCC6F-9900-44D7-A112-AE5680D1B56C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Vedä kuva paikkamerkkiin tai lisää napsauttamalla kuvaketta</a:t>
            </a:r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</p:spTree>
    <p:extLst>
      <p:ext uri="{BB962C8B-B14F-4D97-AF65-F5344CB8AC3E}">
        <p14:creationId xmlns:p14="http://schemas.microsoft.com/office/powerpoint/2010/main" val="339347719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FAE833-B762-4E31-A4FA-887ADA82051E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Vedä kuva paikkamerkkiin tai lisää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73992726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Vedä kuva paikkamerkkiin tai lisää napsauttamalla kuvaketta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1B3D45D-11FD-4EE2-82F1-87E5DE432E40}" type="datetime1">
              <a:rPr lang="fi-FI" smtClean="0">
                <a:solidFill>
                  <a:prstClr val="white"/>
                </a:solidFill>
              </a:rPr>
              <a:pPr/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Presentation name / Author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24013034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Vedä kuva paikkamerkkiin tai lisää napsauttamalla kuvaketta</a:t>
            </a:r>
            <a:endParaRPr lang="fi-FI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66BE9F-08D5-47B4-96D9-2E24350F4E52}" type="datetime1">
              <a:rPr lang="fi-FI" smtClean="0">
                <a:solidFill>
                  <a:prstClr val="white"/>
                </a:solidFill>
              </a:rPr>
              <a:pPr/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Presentation name / Author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05890844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Vedä kuva paikkamerkkiin tai lisää napsauttamalla kuvaketta</a:t>
            </a:r>
            <a:endParaRPr lang="fi-FI"/>
          </a:p>
        </p:txBody>
      </p:sp>
      <p:sp>
        <p:nvSpPr>
          <p:cNvPr id="7" name="Rectangle 6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0B44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3087B58-DED9-4924-944C-03132940351A}" type="datetime1">
              <a:rPr lang="fi-FI" smtClean="0">
                <a:solidFill>
                  <a:prstClr val="white"/>
                </a:solidFill>
              </a:rPr>
              <a:pPr/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Presentation name / Author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15824885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136E8B-1E9A-4D49-821C-BD67FA42F820}" type="datetime1">
              <a:rPr lang="fi-FI" smtClean="0">
                <a:solidFill>
                  <a:prstClr val="white"/>
                </a:solidFill>
              </a:rPr>
              <a:pPr/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Presentation name / Author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048729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7E5EF-D456-4003-998B-EFD1F9A315A8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053625334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5336D-1C31-445B-85B4-210D1DD957F2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944921444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C36D0-EB18-467C-8CF1-5C8D6C2F7D40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573926813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D629D-8C6F-4900-A6F3-F37F1A8C88B4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r>
              <a:rPr lang="fi-FI" smtClean="0"/>
              <a:t>Lisää kaavio napsauttamalla symbolia</a:t>
            </a:r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r>
              <a:rPr lang="fi-FI" smtClean="0"/>
              <a:t>Lisää kaavio napsauttamalla symboli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734941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CB4F52-A46D-49E5-BB61-22FA79EE31BC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Round Same Side Corner Rectangle 10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/>
          </a:p>
        </p:txBody>
      </p:sp>
      <p:sp>
        <p:nvSpPr>
          <p:cNvPr id="12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sz="2200" dirty="0" smtClean="0">
                <a:latin typeface="Arial Narrow" panose="020B0606020202030204" pitchFamily="34" charset="0"/>
              </a:rPr>
              <a:t>HENKILÖSTÖTYÖ</a:t>
            </a:r>
            <a:endParaRPr lang="fi-FI" sz="22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4102009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2BE5B-A973-4447-A016-690E9F15BDDC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r>
              <a:rPr lang="fi-FI" smtClean="0"/>
              <a:t>Lisää kaavio napsauttamalla symboli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42407733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ejä naps.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300583-C875-45E7-85C2-6CB6606A8EF1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4101880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DB046-97EE-4D8B-877D-FC65188A9760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3084059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5D2CB-D784-4130-B137-C0C1BD082F25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066695146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07CD01-1753-4C22-9B55-A37382CE6CF3}" type="datetime1">
              <a:rPr lang="fi-FI" smtClean="0">
                <a:solidFill>
                  <a:prstClr val="white"/>
                </a:solidFill>
              </a:rPr>
              <a:pPr/>
              <a:t>28.2.2018</a:t>
            </a:fld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Presentation name / Author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781227330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40DFD-5ADA-4216-A035-D29531EF2E11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739365494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556DF3-E3B5-48E8-B1BC-402AD5C47182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297953347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ejä naps.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26C4FB-3052-4A35-9572-94DC01B94BCF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797195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D1310-16D2-4CA7-A201-3B922ECA5606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070814386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ACB84CF7-E792-4082-B67A-952233CF1864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700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FE9350EC-555B-417C-96A5-36F0CCF51B2C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616388395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A53B4E-0622-4CDB-B5BF-36956792851D}" type="datetime1">
              <a:rPr lang="fi-FI" smtClean="0">
                <a:solidFill>
                  <a:prstClr val="white"/>
                </a:solidFill>
              </a:rPr>
              <a:pPr/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Presentation name / Author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024134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3CB8751-2921-43B4-A6E5-18012E68ECAF}" type="datetime1">
              <a:rPr lang="fi-FI" smtClean="0">
                <a:solidFill>
                  <a:prstClr val="white"/>
                </a:solidFill>
              </a:rPr>
              <a:pPr/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Presentation name / Author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6768411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E2A5A9-BB84-4217-BBBB-FD533374063A}" type="datetime1">
              <a:rPr lang="fi-FI" smtClean="0">
                <a:solidFill>
                  <a:prstClr val="white"/>
                </a:solidFill>
              </a:rPr>
              <a:pPr/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Presentation name / Author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7554845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Vedä kuva paikkamerkkiin tai lisää napsauttamalla kuvaketta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8817ED58-4E7D-474E-950A-8B392760788B}" type="datetime1">
              <a:rPr lang="fi-FI" smtClean="0">
                <a:solidFill>
                  <a:prstClr val="white"/>
                </a:solidFill>
              </a:rPr>
              <a:pPr/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Presentation name / Author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26622229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8E50BE-6255-4528-95C3-11025144E72A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989215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172B4-697B-448A-AA07-2F430A13DCB6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574968149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1EFE66-C6C2-4280-817D-BD491099F41B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Vedä kuva paikkamerkkiin tai lisää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35794691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CCC6F-9900-44D7-A112-AE5680D1B56C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Vedä kuva paikkamerkkiin tai lisää napsauttamalla kuvaketta</a:t>
            </a:r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</p:spTree>
    <p:extLst>
      <p:ext uri="{BB962C8B-B14F-4D97-AF65-F5344CB8AC3E}">
        <p14:creationId xmlns:p14="http://schemas.microsoft.com/office/powerpoint/2010/main" val="2840947029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FAE833-B762-4E31-A4FA-887ADA82051E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Vedä kuva paikkamerkkiin tai lisää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74275978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Vedä kuva paikkamerkkiin tai lisää napsauttamalla kuvaketta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1B3D45D-11FD-4EE2-82F1-87E5DE432E40}" type="datetime1">
              <a:rPr lang="fi-FI" smtClean="0">
                <a:solidFill>
                  <a:prstClr val="white"/>
                </a:solidFill>
              </a:rPr>
              <a:pPr/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Presentation name / Author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21478599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32124-BCF4-4789-A9AC-3B7C0462AE4D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17868300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Vedä kuva paikkamerkkiin tai lisää napsauttamalla kuvaketta</a:t>
            </a:r>
            <a:endParaRPr lang="fi-FI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66BE9F-08D5-47B4-96D9-2E24350F4E52}" type="datetime1">
              <a:rPr lang="fi-FI" smtClean="0">
                <a:solidFill>
                  <a:prstClr val="white"/>
                </a:solidFill>
              </a:rPr>
              <a:pPr/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Presentation name / Author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52178084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Vedä kuva paikkamerkkiin tai lisää napsauttamalla kuvaketta</a:t>
            </a:r>
            <a:endParaRPr lang="fi-FI"/>
          </a:p>
        </p:txBody>
      </p:sp>
      <p:sp>
        <p:nvSpPr>
          <p:cNvPr id="7" name="Rectangle 6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0B44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3087B58-DED9-4924-944C-03132940351A}" type="datetime1">
              <a:rPr lang="fi-FI" smtClean="0">
                <a:solidFill>
                  <a:prstClr val="white"/>
                </a:solidFill>
              </a:rPr>
              <a:pPr/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Presentation name / Author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746936191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136E8B-1E9A-4D49-821C-BD67FA42F820}" type="datetime1">
              <a:rPr lang="fi-FI" smtClean="0">
                <a:solidFill>
                  <a:prstClr val="white"/>
                </a:solidFill>
              </a:rPr>
              <a:pPr/>
              <a:t>28.2.2018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Presentation name / Author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1409159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7E5EF-D456-4003-998B-EFD1F9A315A8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257521979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5336D-1C31-445B-85B4-210D1DD957F2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868440441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C36D0-EB18-467C-8CF1-5C8D6C2F7D40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355228842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D629D-8C6F-4900-A6F3-F37F1A8C88B4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r>
              <a:rPr lang="fi-FI" smtClean="0"/>
              <a:t>Lisää kaavio napsauttamalla symbolia</a:t>
            </a:r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r>
              <a:rPr lang="fi-FI" smtClean="0"/>
              <a:t>Lisää kaavio napsauttamalla symboli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74209266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2BE5B-A973-4447-A016-690E9F15BDDC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r>
              <a:rPr lang="fi-FI" smtClean="0"/>
              <a:t>Lisää kaavio napsauttamalla symboli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80009838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ejä naps.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300583-C875-45E7-85C2-6CB6606A8EF1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6765588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DB046-97EE-4D8B-877D-FC65188A9760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409696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83354E-A40C-4A4B-A2BE-3D6F2B1DAB34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6750174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800" b="1" i="0" spc="-150">
                <a:latin typeface="Trebuchet MS" charset="0"/>
                <a:ea typeface="Trebuchet MS" charset="0"/>
                <a:cs typeface="Trebuchet MS" charset="0"/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2786062"/>
          </a:xfrm>
        </p:spPr>
        <p:txBody>
          <a:bodyPr/>
          <a:lstStyle>
            <a:lvl1pPr marL="0" indent="0" algn="ctr">
              <a:buNone/>
              <a:defRPr sz="2400" b="0" i="0">
                <a:latin typeface="Trebuchet MS" charset="0"/>
                <a:ea typeface="Trebuchet MS" charset="0"/>
                <a:cs typeface="Trebuchet MS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302039" y="6590849"/>
            <a:ext cx="1375048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3D474D6F-13B4-4544-AF38-B263CCD0A08E}" type="datetime1">
              <a:rPr lang="fi-FI" smtClean="0">
                <a:solidFill>
                  <a:prstClr val="black"/>
                </a:solidFill>
              </a:rPr>
              <a:pPr/>
              <a:t>28.2.2018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6491" y="6590849"/>
            <a:ext cx="5185171" cy="188328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r>
              <a:rPr lang="fi-FI" smtClean="0">
                <a:solidFill>
                  <a:prstClr val="black"/>
                </a:solidFill>
              </a:rPr>
              <a:t>Sanna-Mari Myllynen / Nuori Mieli Työssä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590849"/>
            <a:ext cx="360239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876492"/>
      </p:ext>
    </p:extLst>
  </p:cSld>
  <p:clrMapOvr>
    <a:masterClrMapping/>
  </p:clrMapOvr>
  <p:hf hdr="0"/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587876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302039" y="6590849"/>
            <a:ext cx="1375048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0A1972FE-AC51-4DA9-82C0-8EF0F5650D67}" type="datetime1">
              <a:rPr lang="fi-FI" smtClean="0">
                <a:solidFill>
                  <a:prstClr val="black"/>
                </a:solidFill>
              </a:rPr>
              <a:pPr/>
              <a:t>28.2.2018</a:t>
            </a:fld>
            <a:endParaRPr lang="fi-FI">
              <a:solidFill>
                <a:prstClr val="black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6491" y="6590849"/>
            <a:ext cx="5185171" cy="188328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r>
              <a:rPr lang="fi-FI" smtClean="0">
                <a:solidFill>
                  <a:prstClr val="black"/>
                </a:solidFill>
              </a:rPr>
              <a:t>Sanna-Mari Myllynen / Nuori Mieli Työssä</a:t>
            </a:r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590849"/>
            <a:ext cx="360239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black"/>
                </a:solidFill>
              </a:rPr>
              <a:pPr/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783713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1850" y="10239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1850" y="3903663"/>
            <a:ext cx="10515600" cy="181133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302039" y="6590849"/>
            <a:ext cx="1375048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3D474D6F-13B4-4544-AF38-B263CCD0A08E}" type="datetime1">
              <a:rPr lang="fi-FI" smtClean="0">
                <a:solidFill>
                  <a:prstClr val="black"/>
                </a:solidFill>
              </a:rPr>
              <a:pPr/>
              <a:t>28.2.2018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6491" y="6590849"/>
            <a:ext cx="5185171" cy="188328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r>
              <a:rPr lang="fi-FI" smtClean="0">
                <a:solidFill>
                  <a:prstClr val="black"/>
                </a:solidFill>
              </a:rPr>
              <a:t>Sanna-Mari Myllynen / Nuori Mieli Työssä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590849"/>
            <a:ext cx="360239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029344"/>
      </p:ext>
    </p:extLst>
  </p:cSld>
  <p:clrMapOvr>
    <a:masterClrMapping/>
  </p:clrMapOvr>
  <p:hf hdr="0"/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825624"/>
            <a:ext cx="5181600" cy="4587875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181600" cy="4587875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1302039" y="6590849"/>
            <a:ext cx="1375048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3D474D6F-13B4-4544-AF38-B263CCD0A08E}" type="datetime1">
              <a:rPr lang="fi-FI" smtClean="0">
                <a:solidFill>
                  <a:prstClr val="black"/>
                </a:solidFill>
              </a:rPr>
              <a:pPr/>
              <a:t>28.2.2018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6491" y="6590849"/>
            <a:ext cx="5185171" cy="188328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r>
              <a:rPr lang="fi-FI" smtClean="0">
                <a:solidFill>
                  <a:prstClr val="black"/>
                </a:solidFill>
              </a:rPr>
              <a:t>Sanna-Mari Myllynen / Nuori Mieli Työssä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590849"/>
            <a:ext cx="360239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434385"/>
      </p:ext>
    </p:extLst>
  </p:cSld>
  <p:clrMapOvr>
    <a:masterClrMapping/>
  </p:clrMapOvr>
  <p:hf hdr="0"/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9434512" cy="1325563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 i="0">
                <a:latin typeface="Trebuchet MS" charset="0"/>
                <a:ea typeface="Trebuchet MS" charset="0"/>
                <a:cs typeface="Trebuchet MS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839788" y="2505074"/>
            <a:ext cx="5157787" cy="3883025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 i="0">
                <a:latin typeface="Trebuchet MS" charset="0"/>
                <a:ea typeface="Trebuchet MS" charset="0"/>
                <a:cs typeface="Trebuchet MS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183188" cy="3883025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1302039" y="6590849"/>
            <a:ext cx="1375048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3D474D6F-13B4-4544-AF38-B263CCD0A08E}" type="datetime1">
              <a:rPr lang="fi-FI" smtClean="0">
                <a:solidFill>
                  <a:prstClr val="black"/>
                </a:solidFill>
              </a:rPr>
              <a:pPr/>
              <a:t>28.2.2018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16491" y="6590849"/>
            <a:ext cx="5185171" cy="188328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r>
              <a:rPr lang="fi-FI" smtClean="0">
                <a:solidFill>
                  <a:prstClr val="black"/>
                </a:solidFill>
              </a:rPr>
              <a:t>Sanna-Mari Myllynen / Nuori Mieli Työssä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8200" y="6590849"/>
            <a:ext cx="360239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583321"/>
      </p:ext>
    </p:extLst>
  </p:cSld>
  <p:clrMapOvr>
    <a:masterClrMapping/>
  </p:clrMapOvr>
  <p:hf hdr="0"/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302039" y="6590849"/>
            <a:ext cx="1375048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6B36103B-FF42-4FFC-9DBC-DB426A876962}" type="datetime1">
              <a:rPr lang="fi-FI" smtClean="0">
                <a:solidFill>
                  <a:prstClr val="black"/>
                </a:solidFill>
              </a:rPr>
              <a:pPr/>
              <a:t>28.2.2018</a:t>
            </a:fld>
            <a:endParaRPr lang="fi-FI">
              <a:solidFill>
                <a:prstClr val="black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6491" y="6590849"/>
            <a:ext cx="5185171" cy="188328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r>
              <a:rPr lang="fi-FI" smtClean="0">
                <a:solidFill>
                  <a:prstClr val="black"/>
                </a:solidFill>
              </a:rPr>
              <a:t>Sanna-Mari Myllynen / Nuori Mieli Työssä</a:t>
            </a:r>
            <a:endParaRPr lang="fi-FI">
              <a:solidFill>
                <a:prstClr val="black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590849"/>
            <a:ext cx="360239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black"/>
                </a:solidFill>
              </a:rPr>
              <a:pPr/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273311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 suuri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Kuvan paikkamerkki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 smtClean="0"/>
              <a:t>Lisää kuva napsauttamalla kuvaketta</a:t>
            </a:r>
            <a:endParaRPr lang="fi-FI"/>
          </a:p>
        </p:txBody>
      </p:sp>
      <p:pic>
        <p:nvPicPr>
          <p:cNvPr id="8" name="Kuva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595" y="129639"/>
            <a:ext cx="1521524" cy="1458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8577"/>
      </p:ext>
    </p:extLst>
  </p:cSld>
  <p:clrMapOvr>
    <a:masterClrMapping/>
  </p:clrMapOvr>
  <p:hf hdr="0"/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 kuv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Kuvan paikkamerkki 2"/>
          <p:cNvSpPr>
            <a:spLocks noGrp="1"/>
          </p:cNvSpPr>
          <p:nvPr>
            <p:ph type="pic" idx="11"/>
          </p:nvPr>
        </p:nvSpPr>
        <p:spPr>
          <a:xfrm>
            <a:off x="0" y="0"/>
            <a:ext cx="6023992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11" name="Kuvan paikkamerkki 2"/>
          <p:cNvSpPr>
            <a:spLocks noGrp="1"/>
          </p:cNvSpPr>
          <p:nvPr>
            <p:ph type="pic" idx="12"/>
          </p:nvPr>
        </p:nvSpPr>
        <p:spPr>
          <a:xfrm>
            <a:off x="6184032" y="0"/>
            <a:ext cx="6023992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 smtClean="0"/>
              <a:t>Lisää kuva napsauttamalla kuvaketta</a:t>
            </a:r>
            <a:endParaRPr lang="fi-FI"/>
          </a:p>
        </p:txBody>
      </p:sp>
      <p:pic>
        <p:nvPicPr>
          <p:cNvPr id="8" name="Kuva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595" y="129639"/>
            <a:ext cx="1521524" cy="1458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828164"/>
      </p:ext>
    </p:extLst>
  </p:cSld>
  <p:clrMapOvr>
    <a:masterClrMapping/>
  </p:clrMapOvr>
  <p:hf hdr="0"/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kuv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Kuvan paikkamerkki 2"/>
          <p:cNvSpPr>
            <a:spLocks noGrp="1"/>
          </p:cNvSpPr>
          <p:nvPr>
            <p:ph type="pic" idx="11"/>
          </p:nvPr>
        </p:nvSpPr>
        <p:spPr>
          <a:xfrm>
            <a:off x="0" y="0"/>
            <a:ext cx="3908338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9" name="Kuvan paikkamerkki 2"/>
          <p:cNvSpPr>
            <a:spLocks noGrp="1"/>
          </p:cNvSpPr>
          <p:nvPr>
            <p:ph type="pic" idx="12"/>
          </p:nvPr>
        </p:nvSpPr>
        <p:spPr>
          <a:xfrm>
            <a:off x="4033149" y="0"/>
            <a:ext cx="4032448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10" name="Kuvan paikkamerkki 2"/>
          <p:cNvSpPr>
            <a:spLocks noGrp="1"/>
          </p:cNvSpPr>
          <p:nvPr>
            <p:ph type="pic" idx="13"/>
          </p:nvPr>
        </p:nvSpPr>
        <p:spPr>
          <a:xfrm>
            <a:off x="8190408" y="0"/>
            <a:ext cx="4000252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 smtClean="0"/>
              <a:t>Lisää kuva napsauttamalla kuvaketta</a:t>
            </a:r>
            <a:endParaRPr lang="fi-FI"/>
          </a:p>
        </p:txBody>
      </p:sp>
      <p:pic>
        <p:nvPicPr>
          <p:cNvPr id="8" name="Kuva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595" y="129639"/>
            <a:ext cx="1521524" cy="1458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316427"/>
      </p:ext>
    </p:extLst>
  </p:cSld>
  <p:clrMapOvr>
    <a:masterClrMapping/>
  </p:clrMapOvr>
  <p:hf hdr="0"/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5465911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4395936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1302039" y="6590849"/>
            <a:ext cx="1375048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3D474D6F-13B4-4544-AF38-B263CCD0A08E}" type="datetime1">
              <a:rPr lang="fi-FI" smtClean="0">
                <a:solidFill>
                  <a:prstClr val="black"/>
                </a:solidFill>
              </a:rPr>
              <a:pPr/>
              <a:t>28.2.2018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6491" y="6590849"/>
            <a:ext cx="5185171" cy="188328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r>
              <a:rPr lang="fi-FI" smtClean="0">
                <a:solidFill>
                  <a:prstClr val="black"/>
                </a:solidFill>
              </a:rPr>
              <a:t>Sanna-Mari Myllynen / Nuori Mieli Työssä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590849"/>
            <a:ext cx="360239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745828"/>
      </p:ext>
    </p:extLst>
  </p:cSld>
  <p:clrMapOvr>
    <a:masterClrMapping/>
  </p:clrMapOvr>
  <p:hf hd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05430B-988C-4F84-83D6-1F84331791C0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57656916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Kuva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4" r="-360" b="16199"/>
          <a:stretch/>
        </p:blipFill>
        <p:spPr>
          <a:xfrm>
            <a:off x="4192" y="674171"/>
            <a:ext cx="6344124" cy="6183829"/>
          </a:xfrm>
          <a:prstGeom prst="rect">
            <a:avLst/>
          </a:prstGeom>
        </p:spPr>
      </p:pic>
      <p:sp>
        <p:nvSpPr>
          <p:cNvPr id="12" name="Freeform 7"/>
          <p:cNvSpPr>
            <a:spLocks noEditPoints="1"/>
          </p:cNvSpPr>
          <p:nvPr/>
        </p:nvSpPr>
        <p:spPr bwMode="auto">
          <a:xfrm>
            <a:off x="235744" y="6108362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5187380" y="987425"/>
            <a:ext cx="6172200" cy="539390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43980" y="2057400"/>
            <a:ext cx="3932237" cy="432392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pic>
        <p:nvPicPr>
          <p:cNvPr id="13" name="Kuva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595" y="129639"/>
            <a:ext cx="1521524" cy="1458850"/>
          </a:xfrm>
          <a:prstGeom prst="rect">
            <a:avLst/>
          </a:prstGeom>
        </p:spPr>
      </p:pic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1302039" y="6590849"/>
            <a:ext cx="1375048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3D474D6F-13B4-4544-AF38-B263CCD0A08E}" type="datetime1">
              <a:rPr lang="fi-FI" smtClean="0">
                <a:solidFill>
                  <a:prstClr val="black"/>
                </a:solidFill>
              </a:rPr>
              <a:pPr/>
              <a:t>28.2.2018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6491" y="6590849"/>
            <a:ext cx="5185171" cy="188328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r>
              <a:rPr lang="fi-FI" smtClean="0">
                <a:solidFill>
                  <a:prstClr val="black"/>
                </a:solidFill>
              </a:rPr>
              <a:t>Sanna-Mari Myllynen / Nuori Mieli Työssä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590849"/>
            <a:ext cx="360239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615632"/>
      </p:ext>
    </p:extLst>
  </p:cSld>
  <p:clrMapOvr>
    <a:masterClrMapping/>
  </p:clrMapOvr>
  <p:hf hdr="0"/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302039" y="6590849"/>
            <a:ext cx="1375048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3D474D6F-13B4-4544-AF38-B263CCD0A08E}" type="datetime1">
              <a:rPr lang="fi-FI" smtClean="0">
                <a:solidFill>
                  <a:prstClr val="black"/>
                </a:solidFill>
              </a:rPr>
              <a:pPr/>
              <a:t>28.2.2018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6491" y="6590849"/>
            <a:ext cx="5185171" cy="188328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r>
              <a:rPr lang="fi-FI" smtClean="0">
                <a:solidFill>
                  <a:prstClr val="black"/>
                </a:solidFill>
              </a:rPr>
              <a:t>Sanna-Mari Myllynen / Nuori Mieli Työssä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590849"/>
            <a:ext cx="360239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440017"/>
      </p:ext>
    </p:extLst>
  </p:cSld>
  <p:clrMapOvr>
    <a:masterClrMapping/>
  </p:clrMapOvr>
  <p:hf hdr="0"/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8688288" y="365125"/>
            <a:ext cx="1944216" cy="5811838"/>
          </a:xfrm>
        </p:spPr>
        <p:txBody>
          <a:bodyPr vert="eaVert"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302039" y="6590849"/>
            <a:ext cx="1375048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3D474D6F-13B4-4544-AF38-B263CCD0A08E}" type="datetime1">
              <a:rPr lang="fi-FI" smtClean="0">
                <a:solidFill>
                  <a:prstClr val="black"/>
                </a:solidFill>
              </a:rPr>
              <a:pPr/>
              <a:t>28.2.2018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6491" y="6590849"/>
            <a:ext cx="5185171" cy="188328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r>
              <a:rPr lang="fi-FI" smtClean="0">
                <a:solidFill>
                  <a:prstClr val="black"/>
                </a:solidFill>
              </a:rPr>
              <a:t>Sanna-Mari Myllynen / Nuori Mieli Työssä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590849"/>
            <a:ext cx="360239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pic>
        <p:nvPicPr>
          <p:cNvPr id="7" name="Kuva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487595" y="129639"/>
            <a:ext cx="1521524" cy="1458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594320"/>
      </p:ext>
    </p:extLst>
  </p:cSld>
  <p:clrMapOvr>
    <a:masterClrMapping/>
  </p:clrMapOvr>
  <p:hf hdr="0"/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DD2EA-4530-48CA-831B-F713147DD99A}" type="datetime1">
              <a:rPr lang="fi-FI" smtClean="0">
                <a:solidFill>
                  <a:prstClr val="black"/>
                </a:solidFill>
              </a:rPr>
              <a:pPr/>
              <a:t>28.2.2018</a:t>
            </a:fld>
            <a:endParaRPr lang="fi-FI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prstClr val="black"/>
                </a:solidFill>
              </a:rPr>
              <a:t>Sanna-Mari Myllynen / Nuori Mieli Työssä</a:t>
            </a:r>
            <a:endParaRPr lang="fi-FI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prstClr val="black"/>
                </a:solidFill>
              </a:rPr>
              <a:pPr/>
              <a:t>‹#›</a:t>
            </a:fld>
            <a:endParaRPr lang="fi-FI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3479343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247150478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60097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9221665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719669366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i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94625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3320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218117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7B331A-82F5-419E-9FB4-209E83675FB8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08797915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pl-PL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767702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404317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17465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93676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i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87906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pl-PL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15761992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622013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360930109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00761887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8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8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</p:spTree>
    <p:extLst>
      <p:ext uri="{BB962C8B-B14F-4D97-AF65-F5344CB8AC3E}">
        <p14:creationId xmlns:p14="http://schemas.microsoft.com/office/powerpoint/2010/main" val="404797928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26580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74BA85-CEB5-4136-9C65-DE722522F58C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145818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8F0182-5064-4693-AB15-459F06FDB38A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01122195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pl-PL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50520380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851427079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7" name="Rectangle 6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0B44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403694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8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435635318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8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8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927787700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8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8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8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946457798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lme pointt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647660" y="1916790"/>
            <a:ext cx="7633060" cy="1080150"/>
          </a:xfrm>
        </p:spPr>
        <p:txBody>
          <a:bodyPr anchor="ctr"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  <a:lvl2pPr marL="361950" indent="-180975">
              <a:buFont typeface="Arial" panose="020B0604020202020204" pitchFamily="34" charset="0"/>
              <a:buChar char="–"/>
              <a:defRPr/>
            </a:lvl2pPr>
            <a:lvl3pPr marL="266700" indent="0">
              <a:buNone/>
              <a:defRPr/>
            </a:lvl3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917256"/>
            <a:ext cx="2448395" cy="1079683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8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11225" y="3285214"/>
            <a:ext cx="2448247" cy="1079916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8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911225" y="4653170"/>
            <a:ext cx="2448247" cy="1080150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8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17" hasCustomPrompt="1"/>
          </p:nvPr>
        </p:nvSpPr>
        <p:spPr>
          <a:xfrm>
            <a:off x="3647660" y="3284980"/>
            <a:ext cx="7633060" cy="1080150"/>
          </a:xfrm>
        </p:spPr>
        <p:txBody>
          <a:bodyPr anchor="ctr"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  <a:lvl2pPr marL="361950" indent="-180975">
              <a:buFont typeface="Arial" panose="020B0604020202020204" pitchFamily="34" charset="0"/>
              <a:buChar char="–"/>
              <a:defRPr/>
            </a:lvl2pPr>
            <a:lvl3pPr marL="266700" indent="0">
              <a:buNone/>
              <a:defRPr/>
            </a:lvl3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8" hasCustomPrompt="1"/>
          </p:nvPr>
        </p:nvSpPr>
        <p:spPr>
          <a:xfrm>
            <a:off x="3647660" y="4653170"/>
            <a:ext cx="7633060" cy="1080150"/>
          </a:xfrm>
        </p:spPr>
        <p:txBody>
          <a:bodyPr anchor="ctr"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  <a:lvl2pPr marL="361950" indent="-180975">
              <a:buFont typeface="Arial" panose="020B0604020202020204" pitchFamily="34" charset="0"/>
              <a:buChar char="–"/>
              <a:defRPr/>
            </a:lvl2pPr>
            <a:lvl3pPr marL="266700" indent="0">
              <a:buNone/>
              <a:defRPr/>
            </a:lvl3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2322576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8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8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8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8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r>
              <a:rPr lang="fi-FI" smtClean="0"/>
              <a:t>Lisää kaavio napsauttamalla kuvaketta</a:t>
            </a:r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r>
              <a:rPr lang="fi-FI" smtClean="0"/>
              <a:t>Lisää kaavio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06090911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8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800"/>
            </a:lvl1pPr>
            <a:lvl2pPr>
              <a:spcBef>
                <a:spcPts val="200"/>
              </a:spcBef>
              <a:defRPr sz="18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r>
              <a:rPr lang="fi-FI" smtClean="0"/>
              <a:t>Lisää kaavio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746996419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253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022277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6FFAE4E0-7BC3-4D3A-AB63-03D39A91512D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Round Same Side Corner Rectangle 11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/>
          </a:p>
        </p:txBody>
      </p:sp>
      <p:sp>
        <p:nvSpPr>
          <p:cNvPr id="11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sz="2200" dirty="0" smtClean="0">
                <a:latin typeface="Arial Narrow" panose="020B0606020202030204" pitchFamily="34" charset="0"/>
              </a:rPr>
              <a:t>HENKILÖSTÖTYÖ</a:t>
            </a:r>
            <a:endParaRPr lang="fi-FI" sz="22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5152643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7713882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Master </a:t>
            </a:r>
            <a:r>
              <a:rPr lang="fi-FI" dirty="0" err="1" smtClean="0"/>
              <a:t>title</a:t>
            </a:r>
            <a:r>
              <a:rPr lang="fi-FI" dirty="0" smtClean="0"/>
              <a:t> </a:t>
            </a:r>
            <a:r>
              <a:rPr lang="fi-FI" dirty="0" err="1" smtClean="0"/>
              <a:t>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Master </a:t>
            </a:r>
            <a:r>
              <a:rPr lang="fi-FI" dirty="0" err="1" smtClean="0"/>
              <a:t>text</a:t>
            </a:r>
            <a:r>
              <a:rPr lang="fi-FI" dirty="0" smtClean="0"/>
              <a:t> </a:t>
            </a:r>
            <a:r>
              <a:rPr lang="fi-FI" dirty="0" err="1" smtClean="0"/>
              <a:t>styles</a:t>
            </a:r>
            <a:endParaRPr lang="fi-FI" dirty="0" smtClean="0"/>
          </a:p>
          <a:p>
            <a:pPr lvl="1"/>
            <a:r>
              <a:rPr lang="fi-FI" dirty="0" smtClean="0"/>
              <a:t>Second </a:t>
            </a:r>
            <a:r>
              <a:rPr lang="fi-FI" dirty="0" err="1" smtClean="0"/>
              <a:t>level</a:t>
            </a:r>
            <a:endParaRPr lang="fi-FI" dirty="0" smtClean="0"/>
          </a:p>
          <a:p>
            <a:pPr lvl="2"/>
            <a:r>
              <a:rPr lang="fi-FI" dirty="0" smtClean="0"/>
              <a:t>Third </a:t>
            </a:r>
            <a:r>
              <a:rPr lang="fi-FI" dirty="0" err="1" smtClean="0"/>
              <a:t>level</a:t>
            </a:r>
            <a:endParaRPr lang="fi-FI" dirty="0" smtClean="0"/>
          </a:p>
          <a:p>
            <a:pPr lvl="3"/>
            <a:r>
              <a:rPr lang="fi-FI" dirty="0" err="1" smtClean="0"/>
              <a:t>Fourth</a:t>
            </a:r>
            <a:r>
              <a:rPr lang="fi-FI" dirty="0" smtClean="0"/>
              <a:t> </a:t>
            </a:r>
            <a:r>
              <a:rPr lang="fi-FI" dirty="0" err="1" smtClean="0"/>
              <a:t>level</a:t>
            </a:r>
            <a:endParaRPr lang="fi-FI" dirty="0" smtClean="0"/>
          </a:p>
          <a:p>
            <a:pPr lvl="4"/>
            <a:r>
              <a:rPr lang="fi-FI" dirty="0" err="1" smtClean="0"/>
              <a:t>Fifth</a:t>
            </a:r>
            <a:r>
              <a:rPr lang="fi-FI" dirty="0" smtClean="0"/>
              <a:t> </a:t>
            </a:r>
            <a:r>
              <a:rPr lang="fi-FI" dirty="0" err="1" smtClean="0"/>
              <a:t>level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94C849-FA3A-43C7-8D06-521D1B60EDE3}" type="slidenum">
              <a:rPr lang="fi-FI">
                <a:solidFill>
                  <a:srgbClr val="0B4499"/>
                </a:solidFill>
              </a:rPr>
              <a:pPr>
                <a:defRPr/>
              </a:pPr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3718386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390499590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637292740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956524293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650094229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i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67853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2245822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576357101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479139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81585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D50212-32D2-4E4E-A68B-93926C829A0F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13" name="Round Same Side Corner Rectangle 12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/>
          </a:p>
        </p:txBody>
      </p:sp>
      <p:sp>
        <p:nvSpPr>
          <p:cNvPr id="14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sz="2200" dirty="0" smtClean="0">
                <a:latin typeface="Arial Narrow" panose="020B0606020202030204" pitchFamily="34" charset="0"/>
              </a:rPr>
              <a:t>HENKILÖSTÖTYÖ</a:t>
            </a:r>
            <a:endParaRPr lang="fi-FI" sz="22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6214489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717703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1315745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400866334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08352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527700586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60878144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</p:spTree>
    <p:extLst>
      <p:ext uri="{BB962C8B-B14F-4D97-AF65-F5344CB8AC3E}">
        <p14:creationId xmlns:p14="http://schemas.microsoft.com/office/powerpoint/2010/main" val="516752242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13571380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327751072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17744942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BE4D9D-CBF5-48FE-BD1C-885A8C3AB365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13" name="Round Same Side Corner Rectangle 12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/>
          </a:p>
        </p:txBody>
      </p:sp>
      <p:sp>
        <p:nvSpPr>
          <p:cNvPr id="12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sz="2200" dirty="0" smtClean="0">
                <a:latin typeface="Arial Narrow" panose="020B0606020202030204" pitchFamily="34" charset="0"/>
              </a:rPr>
              <a:t>HENKILÖSTÖTYÖ</a:t>
            </a:r>
            <a:endParaRPr lang="fi-FI" sz="22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0042718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7" name="Rectangle 6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0B44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860170999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i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9445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175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064865526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i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540774013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497475270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r>
              <a:rPr lang="fi-FI" smtClean="0"/>
              <a:t>Lisää kaavio napsauttamalla kuvaketta</a:t>
            </a:r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r>
              <a:rPr lang="fi-FI" smtClean="0"/>
              <a:t>Lisää kaavio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60605800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r>
              <a:rPr lang="fi-FI" smtClean="0"/>
              <a:t>Lisää kaavio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08495550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484514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932818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Master </a:t>
            </a:r>
            <a:r>
              <a:rPr lang="fi-FI" dirty="0" err="1" smtClean="0"/>
              <a:t>title</a:t>
            </a:r>
            <a:r>
              <a:rPr lang="fi-FI" dirty="0" smtClean="0"/>
              <a:t> </a:t>
            </a:r>
            <a:r>
              <a:rPr lang="fi-FI" dirty="0" err="1" smtClean="0"/>
              <a:t>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Master </a:t>
            </a:r>
            <a:r>
              <a:rPr lang="fi-FI" dirty="0" err="1" smtClean="0"/>
              <a:t>text</a:t>
            </a:r>
            <a:r>
              <a:rPr lang="fi-FI" dirty="0" smtClean="0"/>
              <a:t> </a:t>
            </a:r>
            <a:r>
              <a:rPr lang="fi-FI" dirty="0" err="1" smtClean="0"/>
              <a:t>styles</a:t>
            </a:r>
            <a:endParaRPr lang="fi-FI" dirty="0" smtClean="0"/>
          </a:p>
          <a:p>
            <a:pPr lvl="1"/>
            <a:r>
              <a:rPr lang="fi-FI" dirty="0" smtClean="0"/>
              <a:t>Second </a:t>
            </a:r>
            <a:r>
              <a:rPr lang="fi-FI" dirty="0" err="1" smtClean="0"/>
              <a:t>level</a:t>
            </a:r>
            <a:endParaRPr lang="fi-FI" dirty="0" smtClean="0"/>
          </a:p>
          <a:p>
            <a:pPr lvl="2"/>
            <a:r>
              <a:rPr lang="fi-FI" dirty="0" smtClean="0"/>
              <a:t>Third </a:t>
            </a:r>
            <a:r>
              <a:rPr lang="fi-FI" dirty="0" err="1" smtClean="0"/>
              <a:t>level</a:t>
            </a:r>
            <a:endParaRPr lang="fi-FI" dirty="0" smtClean="0"/>
          </a:p>
          <a:p>
            <a:pPr lvl="3"/>
            <a:r>
              <a:rPr lang="fi-FI" dirty="0" err="1" smtClean="0"/>
              <a:t>Fourth</a:t>
            </a:r>
            <a:r>
              <a:rPr lang="fi-FI" dirty="0" smtClean="0"/>
              <a:t> </a:t>
            </a:r>
            <a:r>
              <a:rPr lang="fi-FI" dirty="0" err="1" smtClean="0"/>
              <a:t>level</a:t>
            </a:r>
            <a:endParaRPr lang="fi-FI" dirty="0" smtClean="0"/>
          </a:p>
          <a:p>
            <a:pPr lvl="4"/>
            <a:r>
              <a:rPr lang="fi-FI" dirty="0" err="1" smtClean="0"/>
              <a:t>Fifth</a:t>
            </a:r>
            <a:r>
              <a:rPr lang="fi-FI" dirty="0" smtClean="0"/>
              <a:t> </a:t>
            </a:r>
            <a:r>
              <a:rPr lang="fi-FI" dirty="0" err="1" smtClean="0"/>
              <a:t>level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94C849-FA3A-43C7-8D06-521D1B60EDE3}" type="slidenum">
              <a:rPr lang="fi-FI">
                <a:solidFill>
                  <a:srgbClr val="0B4499"/>
                </a:solidFill>
              </a:rPr>
              <a:pPr>
                <a:defRPr/>
              </a:pPr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66810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85630B-87FC-4E27-BC13-D20A69E918FE}" type="datetime1">
              <a:rPr lang="fi-FI" smtClean="0"/>
              <a:t>28.2.2018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9" name="Round Same Side Corner Rectangle 8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/>
          </a:p>
        </p:txBody>
      </p:sp>
      <p:sp>
        <p:nvSpPr>
          <p:cNvPr id="11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sz="2200" dirty="0" smtClean="0">
                <a:latin typeface="Arial Narrow" panose="020B0606020202030204" pitchFamily="34" charset="0"/>
              </a:rPr>
              <a:t>HENKILÖSTÖTYÖ</a:t>
            </a:r>
            <a:endParaRPr lang="fi-FI" sz="22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4565587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751384156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265324869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801322366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969855981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399070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933324105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359250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5685339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9333198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719361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1AD639-3401-42E0-BC87-C43E2AC1F41A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84671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533939914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322209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570491726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46859545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</p:spTree>
    <p:extLst>
      <p:ext uri="{BB962C8B-B14F-4D97-AF65-F5344CB8AC3E}">
        <p14:creationId xmlns:p14="http://schemas.microsoft.com/office/powerpoint/2010/main" val="4002765850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953439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248508108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058815868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7" name="Rectangle 6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0B44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92035458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i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46910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166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6B687-4BA0-4AF7-83D1-1F92E3F85AC3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1574955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42172319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i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03342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142581255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95039088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r>
              <a:rPr lang="fi-FI" smtClean="0"/>
              <a:t>Lisää kaavio napsauttamalla kuvaketta</a:t>
            </a:r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r>
              <a:rPr lang="fi-FI" smtClean="0"/>
              <a:t>Lisää kaavio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84472474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r>
              <a:rPr lang="fi-FI" smtClean="0"/>
              <a:t>Lisää kaavio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07890833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14083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234245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52924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2518380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Master </a:t>
            </a:r>
            <a:r>
              <a:rPr lang="fi-FI" dirty="0" err="1" smtClean="0"/>
              <a:t>title</a:t>
            </a:r>
            <a:r>
              <a:rPr lang="fi-FI" dirty="0" smtClean="0"/>
              <a:t> </a:t>
            </a:r>
            <a:r>
              <a:rPr lang="fi-FI" dirty="0" err="1" smtClean="0"/>
              <a:t>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Master </a:t>
            </a:r>
            <a:r>
              <a:rPr lang="fi-FI" dirty="0" err="1" smtClean="0"/>
              <a:t>text</a:t>
            </a:r>
            <a:r>
              <a:rPr lang="fi-FI" dirty="0" smtClean="0"/>
              <a:t> </a:t>
            </a:r>
            <a:r>
              <a:rPr lang="fi-FI" dirty="0" err="1" smtClean="0"/>
              <a:t>styles</a:t>
            </a:r>
            <a:endParaRPr lang="fi-FI" dirty="0" smtClean="0"/>
          </a:p>
          <a:p>
            <a:pPr lvl="1"/>
            <a:r>
              <a:rPr lang="fi-FI" dirty="0" smtClean="0"/>
              <a:t>Second </a:t>
            </a:r>
            <a:r>
              <a:rPr lang="fi-FI" dirty="0" err="1" smtClean="0"/>
              <a:t>level</a:t>
            </a:r>
            <a:endParaRPr lang="fi-FI" dirty="0" smtClean="0"/>
          </a:p>
          <a:p>
            <a:pPr lvl="2"/>
            <a:r>
              <a:rPr lang="fi-FI" dirty="0" smtClean="0"/>
              <a:t>Third </a:t>
            </a:r>
            <a:r>
              <a:rPr lang="fi-FI" dirty="0" err="1" smtClean="0"/>
              <a:t>level</a:t>
            </a:r>
            <a:endParaRPr lang="fi-FI" dirty="0" smtClean="0"/>
          </a:p>
          <a:p>
            <a:pPr lvl="3"/>
            <a:r>
              <a:rPr lang="fi-FI" dirty="0" err="1" smtClean="0"/>
              <a:t>Fourth</a:t>
            </a:r>
            <a:r>
              <a:rPr lang="fi-FI" dirty="0" smtClean="0"/>
              <a:t> </a:t>
            </a:r>
            <a:r>
              <a:rPr lang="fi-FI" dirty="0" err="1" smtClean="0"/>
              <a:t>level</a:t>
            </a:r>
            <a:endParaRPr lang="fi-FI" dirty="0" smtClean="0"/>
          </a:p>
          <a:p>
            <a:pPr lvl="4"/>
            <a:r>
              <a:rPr lang="fi-FI" dirty="0" err="1" smtClean="0"/>
              <a:t>Fifth</a:t>
            </a:r>
            <a:r>
              <a:rPr lang="fi-FI" dirty="0" smtClean="0"/>
              <a:t> </a:t>
            </a:r>
            <a:r>
              <a:rPr lang="fi-FI" dirty="0" err="1" smtClean="0"/>
              <a:t>level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94C849-FA3A-43C7-8D06-521D1B60EDE3}" type="slidenum">
              <a:rPr lang="fi-FI">
                <a:solidFill>
                  <a:srgbClr val="0B4499"/>
                </a:solidFill>
              </a:rPr>
              <a:pPr>
                <a:defRPr/>
              </a:pPr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616653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477159885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02257388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3BDBF-71B9-4AC7-B3B4-8ECB94328345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8375344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014390758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169020716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863027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841240592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805866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684827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922736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2049013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287566886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79026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58281-0197-4212-BB77-FF0EEF05FFAF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90037517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199269610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06055675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</p:spTree>
    <p:extLst>
      <p:ext uri="{BB962C8B-B14F-4D97-AF65-F5344CB8AC3E}">
        <p14:creationId xmlns:p14="http://schemas.microsoft.com/office/powerpoint/2010/main" val="1010042640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65847324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542459612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972873264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7" name="Rectangle 6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0B44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31209296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6110601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848413646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19572564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436C5D-FD13-4281-A14A-49CE39C67764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86665927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739756563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r>
              <a:rPr lang="fi-FI" smtClean="0"/>
              <a:t>Lisää kaavio napsauttamalla kuvaketta</a:t>
            </a:r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r>
              <a:rPr lang="fi-FI" smtClean="0"/>
              <a:t>Lisää kaavio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61032939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r>
              <a:rPr lang="fi-FI" smtClean="0"/>
              <a:t>Lisää kaavio napsauttamalla kuvaketta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60301697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06904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763274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Master </a:t>
            </a:r>
            <a:r>
              <a:rPr lang="fi-FI" dirty="0" err="1" smtClean="0"/>
              <a:t>title</a:t>
            </a:r>
            <a:r>
              <a:rPr lang="fi-FI" dirty="0" smtClean="0"/>
              <a:t> </a:t>
            </a:r>
            <a:r>
              <a:rPr lang="fi-FI" dirty="0" err="1" smtClean="0"/>
              <a:t>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Master </a:t>
            </a:r>
            <a:r>
              <a:rPr lang="fi-FI" dirty="0" err="1" smtClean="0"/>
              <a:t>text</a:t>
            </a:r>
            <a:r>
              <a:rPr lang="fi-FI" dirty="0" smtClean="0"/>
              <a:t> </a:t>
            </a:r>
            <a:r>
              <a:rPr lang="fi-FI" dirty="0" err="1" smtClean="0"/>
              <a:t>styles</a:t>
            </a:r>
            <a:endParaRPr lang="fi-FI" dirty="0" smtClean="0"/>
          </a:p>
          <a:p>
            <a:pPr lvl="1"/>
            <a:r>
              <a:rPr lang="fi-FI" dirty="0" smtClean="0"/>
              <a:t>Second </a:t>
            </a:r>
            <a:r>
              <a:rPr lang="fi-FI" dirty="0" err="1" smtClean="0"/>
              <a:t>level</a:t>
            </a:r>
            <a:endParaRPr lang="fi-FI" dirty="0" smtClean="0"/>
          </a:p>
          <a:p>
            <a:pPr lvl="2"/>
            <a:r>
              <a:rPr lang="fi-FI" dirty="0" smtClean="0"/>
              <a:t>Third </a:t>
            </a:r>
            <a:r>
              <a:rPr lang="fi-FI" dirty="0" err="1" smtClean="0"/>
              <a:t>level</a:t>
            </a:r>
            <a:endParaRPr lang="fi-FI" dirty="0" smtClean="0"/>
          </a:p>
          <a:p>
            <a:pPr lvl="3"/>
            <a:r>
              <a:rPr lang="fi-FI" dirty="0" err="1" smtClean="0"/>
              <a:t>Fourth</a:t>
            </a:r>
            <a:r>
              <a:rPr lang="fi-FI" dirty="0" smtClean="0"/>
              <a:t> </a:t>
            </a:r>
            <a:r>
              <a:rPr lang="fi-FI" dirty="0" err="1" smtClean="0"/>
              <a:t>level</a:t>
            </a:r>
            <a:endParaRPr lang="fi-FI" dirty="0" smtClean="0"/>
          </a:p>
          <a:p>
            <a:pPr lvl="4"/>
            <a:r>
              <a:rPr lang="fi-FI" dirty="0" err="1" smtClean="0"/>
              <a:t>Fifth</a:t>
            </a:r>
            <a:r>
              <a:rPr lang="fi-FI" dirty="0" smtClean="0"/>
              <a:t> </a:t>
            </a:r>
            <a:r>
              <a:rPr lang="fi-FI" dirty="0" err="1" smtClean="0"/>
              <a:t>level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94C849-FA3A-43C7-8D06-521D1B60EDE3}" type="slidenum">
              <a:rPr lang="fi-FI">
                <a:solidFill>
                  <a:srgbClr val="0B4499"/>
                </a:solidFill>
              </a:rPr>
              <a:pPr>
                <a:defRPr/>
              </a:pPr>
              <a:t>‹#›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2555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1D8033-CA23-4F2B-AAF8-B31E1AEE190F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8316434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6103B-FF42-4FFC-9DBC-DB426A876962}" type="datetime1">
              <a:rPr lang="fi-FI" smtClean="0"/>
              <a:t>28.2.2018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674878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4A979-3E3D-4E57-9211-D5E46B273925}" type="datetime1">
              <a:rPr lang="fi-FI" smtClean="0"/>
              <a:t>28.2.2018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6250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42517-EF14-4248-9679-6D00D5887BC1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810111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2941ED-BB30-4993-8B9C-53474546B1C5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40"/>
            <p:cNvSpPr>
              <a:spLocks noEditPoints="1"/>
            </p:cNvSpPr>
            <p:nvPr userDrawn="1"/>
          </p:nvSpPr>
          <p:spPr bwMode="auto">
            <a:xfrm>
              <a:off x="8786797" y="6473684"/>
              <a:ext cx="2115771" cy="211200"/>
            </a:xfrm>
            <a:custGeom>
              <a:avLst/>
              <a:gdLst>
                <a:gd name="T0" fmla="*/ 2210 w 2245"/>
                <a:gd name="T1" fmla="*/ 221 h 224"/>
                <a:gd name="T2" fmla="*/ 2210 w 2245"/>
                <a:gd name="T3" fmla="*/ 2 h 224"/>
                <a:gd name="T4" fmla="*/ 2086 w 2245"/>
                <a:gd name="T5" fmla="*/ 221 h 224"/>
                <a:gd name="T6" fmla="*/ 1915 w 2245"/>
                <a:gd name="T7" fmla="*/ 221 h 224"/>
                <a:gd name="T8" fmla="*/ 1993 w 2245"/>
                <a:gd name="T9" fmla="*/ 2 h 224"/>
                <a:gd name="T10" fmla="*/ 1851 w 2245"/>
                <a:gd name="T11" fmla="*/ 221 h 224"/>
                <a:gd name="T12" fmla="*/ 1783 w 2245"/>
                <a:gd name="T13" fmla="*/ 221 h 224"/>
                <a:gd name="T14" fmla="*/ 1669 w 2245"/>
                <a:gd name="T15" fmla="*/ 221 h 224"/>
                <a:gd name="T16" fmla="*/ 1607 w 2245"/>
                <a:gd name="T17" fmla="*/ 2 h 224"/>
                <a:gd name="T18" fmla="*/ 1474 w 2245"/>
                <a:gd name="T19" fmla="*/ 180 h 224"/>
                <a:gd name="T20" fmla="*/ 1486 w 2245"/>
                <a:gd name="T21" fmla="*/ 192 h 224"/>
                <a:gd name="T22" fmla="*/ 1505 w 2245"/>
                <a:gd name="T23" fmla="*/ 185 h 224"/>
                <a:gd name="T24" fmla="*/ 1506 w 2245"/>
                <a:gd name="T25" fmla="*/ 42 h 224"/>
                <a:gd name="T26" fmla="*/ 1494 w 2245"/>
                <a:gd name="T27" fmla="*/ 30 h 224"/>
                <a:gd name="T28" fmla="*/ 1475 w 2245"/>
                <a:gd name="T29" fmla="*/ 39 h 224"/>
                <a:gd name="T30" fmla="*/ 1438 w 2245"/>
                <a:gd name="T31" fmla="*/ 48 h 224"/>
                <a:gd name="T32" fmla="*/ 1445 w 2245"/>
                <a:gd name="T33" fmla="*/ 22 h 224"/>
                <a:gd name="T34" fmla="*/ 1467 w 2245"/>
                <a:gd name="T35" fmla="*/ 3 h 224"/>
                <a:gd name="T36" fmla="*/ 1502 w 2245"/>
                <a:gd name="T37" fmla="*/ 0 h 224"/>
                <a:gd name="T38" fmla="*/ 1529 w 2245"/>
                <a:gd name="T39" fmla="*/ 13 h 224"/>
                <a:gd name="T40" fmla="*/ 1541 w 2245"/>
                <a:gd name="T41" fmla="*/ 42 h 224"/>
                <a:gd name="T42" fmla="*/ 1540 w 2245"/>
                <a:gd name="T43" fmla="*/ 187 h 224"/>
                <a:gd name="T44" fmla="*/ 1529 w 2245"/>
                <a:gd name="T45" fmla="*/ 209 h 224"/>
                <a:gd name="T46" fmla="*/ 1502 w 2245"/>
                <a:gd name="T47" fmla="*/ 223 h 224"/>
                <a:gd name="T48" fmla="*/ 1467 w 2245"/>
                <a:gd name="T49" fmla="*/ 220 h 224"/>
                <a:gd name="T50" fmla="*/ 1445 w 2245"/>
                <a:gd name="T51" fmla="*/ 202 h 224"/>
                <a:gd name="T52" fmla="*/ 1438 w 2245"/>
                <a:gd name="T53" fmla="*/ 168 h 224"/>
                <a:gd name="T54" fmla="*/ 1382 w 2245"/>
                <a:gd name="T55" fmla="*/ 221 h 224"/>
                <a:gd name="T56" fmla="*/ 1280 w 2245"/>
                <a:gd name="T57" fmla="*/ 94 h 224"/>
                <a:gd name="T58" fmla="*/ 1198 w 2245"/>
                <a:gd name="T59" fmla="*/ 221 h 224"/>
                <a:gd name="T60" fmla="*/ 1106 w 2245"/>
                <a:gd name="T61" fmla="*/ 134 h 224"/>
                <a:gd name="T62" fmla="*/ 1095 w 2245"/>
                <a:gd name="T63" fmla="*/ 97 h 224"/>
                <a:gd name="T64" fmla="*/ 1106 w 2245"/>
                <a:gd name="T65" fmla="*/ 134 h 224"/>
                <a:gd name="T66" fmla="*/ 926 w 2245"/>
                <a:gd name="T67" fmla="*/ 2 h 224"/>
                <a:gd name="T68" fmla="*/ 846 w 2245"/>
                <a:gd name="T69" fmla="*/ 2 h 224"/>
                <a:gd name="T70" fmla="*/ 744 w 2245"/>
                <a:gd name="T71" fmla="*/ 2 h 224"/>
                <a:gd name="T72" fmla="*/ 665 w 2245"/>
                <a:gd name="T73" fmla="*/ 2 h 224"/>
                <a:gd name="T74" fmla="*/ 517 w 2245"/>
                <a:gd name="T75" fmla="*/ 2 h 224"/>
                <a:gd name="T76" fmla="*/ 517 w 2245"/>
                <a:gd name="T77" fmla="*/ 2 h 224"/>
                <a:gd name="T78" fmla="*/ 487 w 2245"/>
                <a:gd name="T79" fmla="*/ 190 h 224"/>
                <a:gd name="T80" fmla="*/ 428 w 2245"/>
                <a:gd name="T81" fmla="*/ 33 h 224"/>
                <a:gd name="T82" fmla="*/ 335 w 2245"/>
                <a:gd name="T83" fmla="*/ 221 h 224"/>
                <a:gd name="T84" fmla="*/ 174 w 2245"/>
                <a:gd name="T85" fmla="*/ 176 h 224"/>
                <a:gd name="T86" fmla="*/ 184 w 2245"/>
                <a:gd name="T87" fmla="*/ 191 h 224"/>
                <a:gd name="T88" fmla="*/ 205 w 2245"/>
                <a:gd name="T89" fmla="*/ 187 h 224"/>
                <a:gd name="T90" fmla="*/ 209 w 2245"/>
                <a:gd name="T91" fmla="*/ 46 h 224"/>
                <a:gd name="T92" fmla="*/ 199 w 2245"/>
                <a:gd name="T93" fmla="*/ 31 h 224"/>
                <a:gd name="T94" fmla="*/ 178 w 2245"/>
                <a:gd name="T95" fmla="*/ 36 h 224"/>
                <a:gd name="T96" fmla="*/ 139 w 2245"/>
                <a:gd name="T97" fmla="*/ 55 h 224"/>
                <a:gd name="T98" fmla="*/ 144 w 2245"/>
                <a:gd name="T99" fmla="*/ 26 h 224"/>
                <a:gd name="T100" fmla="*/ 164 w 2245"/>
                <a:gd name="T101" fmla="*/ 5 h 224"/>
                <a:gd name="T102" fmla="*/ 198 w 2245"/>
                <a:gd name="T103" fmla="*/ 0 h 224"/>
                <a:gd name="T104" fmla="*/ 227 w 2245"/>
                <a:gd name="T105" fmla="*/ 10 h 224"/>
                <a:gd name="T106" fmla="*/ 242 w 2245"/>
                <a:gd name="T107" fmla="*/ 37 h 224"/>
                <a:gd name="T108" fmla="*/ 243 w 2245"/>
                <a:gd name="T109" fmla="*/ 180 h 224"/>
                <a:gd name="T110" fmla="*/ 233 w 2245"/>
                <a:gd name="T111" fmla="*/ 205 h 224"/>
                <a:gd name="T112" fmla="*/ 209 w 2245"/>
                <a:gd name="T113" fmla="*/ 222 h 224"/>
                <a:gd name="T114" fmla="*/ 174 w 2245"/>
                <a:gd name="T115" fmla="*/ 222 h 224"/>
                <a:gd name="T116" fmla="*/ 150 w 2245"/>
                <a:gd name="T117" fmla="*/ 205 h 224"/>
                <a:gd name="T118" fmla="*/ 140 w 2245"/>
                <a:gd name="T119" fmla="*/ 175 h 224"/>
                <a:gd name="T120" fmla="*/ 35 w 2245"/>
                <a:gd name="T121" fmla="*/ 2 h 224"/>
                <a:gd name="T122" fmla="*/ 74 w 2245"/>
                <a:gd name="T123" fmla="*/ 2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5" h="224">
                  <a:moveTo>
                    <a:pt x="2166" y="152"/>
                  </a:moveTo>
                  <a:lnTo>
                    <a:pt x="2199" y="152"/>
                  </a:lnTo>
                  <a:lnTo>
                    <a:pt x="2182" y="41"/>
                  </a:lnTo>
                  <a:lnTo>
                    <a:pt x="2166" y="152"/>
                  </a:lnTo>
                  <a:close/>
                  <a:moveTo>
                    <a:pt x="2245" y="221"/>
                  </a:moveTo>
                  <a:lnTo>
                    <a:pt x="2210" y="221"/>
                  </a:lnTo>
                  <a:lnTo>
                    <a:pt x="2204" y="181"/>
                  </a:lnTo>
                  <a:lnTo>
                    <a:pt x="2162" y="181"/>
                  </a:lnTo>
                  <a:lnTo>
                    <a:pt x="2156" y="221"/>
                  </a:lnTo>
                  <a:lnTo>
                    <a:pt x="2124" y="221"/>
                  </a:lnTo>
                  <a:lnTo>
                    <a:pt x="2159" y="2"/>
                  </a:lnTo>
                  <a:lnTo>
                    <a:pt x="2210" y="2"/>
                  </a:lnTo>
                  <a:lnTo>
                    <a:pt x="2245" y="221"/>
                  </a:lnTo>
                  <a:close/>
                  <a:moveTo>
                    <a:pt x="2016" y="2"/>
                  </a:moveTo>
                  <a:lnTo>
                    <a:pt x="2122" y="2"/>
                  </a:lnTo>
                  <a:lnTo>
                    <a:pt x="2122" y="33"/>
                  </a:lnTo>
                  <a:lnTo>
                    <a:pt x="2086" y="33"/>
                  </a:lnTo>
                  <a:lnTo>
                    <a:pt x="2086" y="221"/>
                  </a:lnTo>
                  <a:lnTo>
                    <a:pt x="2052" y="221"/>
                  </a:lnTo>
                  <a:lnTo>
                    <a:pt x="2052" y="33"/>
                  </a:lnTo>
                  <a:lnTo>
                    <a:pt x="2016" y="33"/>
                  </a:lnTo>
                  <a:lnTo>
                    <a:pt x="2016" y="2"/>
                  </a:lnTo>
                  <a:close/>
                  <a:moveTo>
                    <a:pt x="1915" y="62"/>
                  </a:moveTo>
                  <a:lnTo>
                    <a:pt x="1915" y="221"/>
                  </a:lnTo>
                  <a:lnTo>
                    <a:pt x="1884" y="221"/>
                  </a:lnTo>
                  <a:lnTo>
                    <a:pt x="1884" y="2"/>
                  </a:lnTo>
                  <a:lnTo>
                    <a:pt x="1927" y="2"/>
                  </a:lnTo>
                  <a:lnTo>
                    <a:pt x="1962" y="133"/>
                  </a:lnTo>
                  <a:lnTo>
                    <a:pt x="1962" y="2"/>
                  </a:lnTo>
                  <a:lnTo>
                    <a:pt x="1993" y="2"/>
                  </a:lnTo>
                  <a:lnTo>
                    <a:pt x="1993" y="221"/>
                  </a:lnTo>
                  <a:lnTo>
                    <a:pt x="1958" y="221"/>
                  </a:lnTo>
                  <a:lnTo>
                    <a:pt x="1915" y="62"/>
                  </a:lnTo>
                  <a:close/>
                  <a:moveTo>
                    <a:pt x="1817" y="2"/>
                  </a:moveTo>
                  <a:lnTo>
                    <a:pt x="1851" y="2"/>
                  </a:lnTo>
                  <a:lnTo>
                    <a:pt x="1851" y="221"/>
                  </a:lnTo>
                  <a:lnTo>
                    <a:pt x="1817" y="221"/>
                  </a:lnTo>
                  <a:lnTo>
                    <a:pt x="1817" y="2"/>
                  </a:lnTo>
                  <a:close/>
                  <a:moveTo>
                    <a:pt x="1713" y="157"/>
                  </a:moveTo>
                  <a:lnTo>
                    <a:pt x="1736" y="2"/>
                  </a:lnTo>
                  <a:lnTo>
                    <a:pt x="1783" y="2"/>
                  </a:lnTo>
                  <a:lnTo>
                    <a:pt x="1783" y="221"/>
                  </a:lnTo>
                  <a:lnTo>
                    <a:pt x="1752" y="221"/>
                  </a:lnTo>
                  <a:lnTo>
                    <a:pt x="1752" y="64"/>
                  </a:lnTo>
                  <a:lnTo>
                    <a:pt x="1727" y="221"/>
                  </a:lnTo>
                  <a:lnTo>
                    <a:pt x="1695" y="221"/>
                  </a:lnTo>
                  <a:lnTo>
                    <a:pt x="1669" y="66"/>
                  </a:lnTo>
                  <a:lnTo>
                    <a:pt x="1669" y="221"/>
                  </a:lnTo>
                  <a:lnTo>
                    <a:pt x="1640" y="221"/>
                  </a:lnTo>
                  <a:lnTo>
                    <a:pt x="1640" y="2"/>
                  </a:lnTo>
                  <a:lnTo>
                    <a:pt x="1687" y="2"/>
                  </a:lnTo>
                  <a:lnTo>
                    <a:pt x="1713" y="157"/>
                  </a:lnTo>
                  <a:close/>
                  <a:moveTo>
                    <a:pt x="1572" y="2"/>
                  </a:moveTo>
                  <a:lnTo>
                    <a:pt x="1607" y="2"/>
                  </a:lnTo>
                  <a:lnTo>
                    <a:pt x="1607" y="221"/>
                  </a:lnTo>
                  <a:lnTo>
                    <a:pt x="1572" y="221"/>
                  </a:lnTo>
                  <a:lnTo>
                    <a:pt x="1572" y="2"/>
                  </a:lnTo>
                  <a:close/>
                  <a:moveTo>
                    <a:pt x="1471" y="171"/>
                  </a:moveTo>
                  <a:lnTo>
                    <a:pt x="1473" y="176"/>
                  </a:lnTo>
                  <a:lnTo>
                    <a:pt x="1474" y="180"/>
                  </a:lnTo>
                  <a:lnTo>
                    <a:pt x="1474" y="183"/>
                  </a:lnTo>
                  <a:lnTo>
                    <a:pt x="1475" y="185"/>
                  </a:lnTo>
                  <a:lnTo>
                    <a:pt x="1477" y="187"/>
                  </a:lnTo>
                  <a:lnTo>
                    <a:pt x="1479" y="189"/>
                  </a:lnTo>
                  <a:lnTo>
                    <a:pt x="1482" y="191"/>
                  </a:lnTo>
                  <a:lnTo>
                    <a:pt x="1486" y="192"/>
                  </a:lnTo>
                  <a:lnTo>
                    <a:pt x="1489" y="192"/>
                  </a:lnTo>
                  <a:lnTo>
                    <a:pt x="1494" y="192"/>
                  </a:lnTo>
                  <a:lnTo>
                    <a:pt x="1497" y="191"/>
                  </a:lnTo>
                  <a:lnTo>
                    <a:pt x="1500" y="189"/>
                  </a:lnTo>
                  <a:lnTo>
                    <a:pt x="1503" y="187"/>
                  </a:lnTo>
                  <a:lnTo>
                    <a:pt x="1505" y="185"/>
                  </a:lnTo>
                  <a:lnTo>
                    <a:pt x="1506" y="180"/>
                  </a:lnTo>
                  <a:lnTo>
                    <a:pt x="1507" y="176"/>
                  </a:lnTo>
                  <a:lnTo>
                    <a:pt x="1507" y="171"/>
                  </a:lnTo>
                  <a:lnTo>
                    <a:pt x="1507" y="52"/>
                  </a:lnTo>
                  <a:lnTo>
                    <a:pt x="1507" y="46"/>
                  </a:lnTo>
                  <a:lnTo>
                    <a:pt x="1506" y="42"/>
                  </a:lnTo>
                  <a:lnTo>
                    <a:pt x="1505" y="40"/>
                  </a:lnTo>
                  <a:lnTo>
                    <a:pt x="1505" y="39"/>
                  </a:lnTo>
                  <a:lnTo>
                    <a:pt x="1503" y="36"/>
                  </a:lnTo>
                  <a:lnTo>
                    <a:pt x="1500" y="33"/>
                  </a:lnTo>
                  <a:lnTo>
                    <a:pt x="1497" y="31"/>
                  </a:lnTo>
                  <a:lnTo>
                    <a:pt x="1494" y="30"/>
                  </a:lnTo>
                  <a:lnTo>
                    <a:pt x="1489" y="30"/>
                  </a:lnTo>
                  <a:lnTo>
                    <a:pt x="1486" y="30"/>
                  </a:lnTo>
                  <a:lnTo>
                    <a:pt x="1482" y="31"/>
                  </a:lnTo>
                  <a:lnTo>
                    <a:pt x="1479" y="33"/>
                  </a:lnTo>
                  <a:lnTo>
                    <a:pt x="1477" y="36"/>
                  </a:lnTo>
                  <a:lnTo>
                    <a:pt x="1475" y="39"/>
                  </a:lnTo>
                  <a:lnTo>
                    <a:pt x="1474" y="42"/>
                  </a:lnTo>
                  <a:lnTo>
                    <a:pt x="1473" y="46"/>
                  </a:lnTo>
                  <a:lnTo>
                    <a:pt x="1471" y="52"/>
                  </a:lnTo>
                  <a:lnTo>
                    <a:pt x="1471" y="171"/>
                  </a:lnTo>
                  <a:close/>
                  <a:moveTo>
                    <a:pt x="1438" y="55"/>
                  </a:moveTo>
                  <a:lnTo>
                    <a:pt x="1438" y="48"/>
                  </a:lnTo>
                  <a:lnTo>
                    <a:pt x="1439" y="42"/>
                  </a:lnTo>
                  <a:lnTo>
                    <a:pt x="1440" y="37"/>
                  </a:lnTo>
                  <a:lnTo>
                    <a:pt x="1440" y="33"/>
                  </a:lnTo>
                  <a:lnTo>
                    <a:pt x="1441" y="31"/>
                  </a:lnTo>
                  <a:lnTo>
                    <a:pt x="1443" y="26"/>
                  </a:lnTo>
                  <a:lnTo>
                    <a:pt x="1445" y="22"/>
                  </a:lnTo>
                  <a:lnTo>
                    <a:pt x="1448" y="18"/>
                  </a:lnTo>
                  <a:lnTo>
                    <a:pt x="1451" y="13"/>
                  </a:lnTo>
                  <a:lnTo>
                    <a:pt x="1455" y="10"/>
                  </a:lnTo>
                  <a:lnTo>
                    <a:pt x="1459" y="7"/>
                  </a:lnTo>
                  <a:lnTo>
                    <a:pt x="1463" y="5"/>
                  </a:lnTo>
                  <a:lnTo>
                    <a:pt x="1467" y="3"/>
                  </a:lnTo>
                  <a:lnTo>
                    <a:pt x="1473" y="1"/>
                  </a:lnTo>
                  <a:lnTo>
                    <a:pt x="1478" y="0"/>
                  </a:lnTo>
                  <a:lnTo>
                    <a:pt x="1484" y="0"/>
                  </a:lnTo>
                  <a:lnTo>
                    <a:pt x="1489" y="0"/>
                  </a:lnTo>
                  <a:lnTo>
                    <a:pt x="1496" y="0"/>
                  </a:lnTo>
                  <a:lnTo>
                    <a:pt x="1502" y="0"/>
                  </a:lnTo>
                  <a:lnTo>
                    <a:pt x="1507" y="1"/>
                  </a:lnTo>
                  <a:lnTo>
                    <a:pt x="1513" y="3"/>
                  </a:lnTo>
                  <a:lnTo>
                    <a:pt x="1517" y="5"/>
                  </a:lnTo>
                  <a:lnTo>
                    <a:pt x="1521" y="7"/>
                  </a:lnTo>
                  <a:lnTo>
                    <a:pt x="1525" y="10"/>
                  </a:lnTo>
                  <a:lnTo>
                    <a:pt x="1529" y="13"/>
                  </a:lnTo>
                  <a:lnTo>
                    <a:pt x="1532" y="18"/>
                  </a:lnTo>
                  <a:lnTo>
                    <a:pt x="1535" y="22"/>
                  </a:lnTo>
                  <a:lnTo>
                    <a:pt x="1537" y="26"/>
                  </a:lnTo>
                  <a:lnTo>
                    <a:pt x="1539" y="31"/>
                  </a:lnTo>
                  <a:lnTo>
                    <a:pt x="1540" y="37"/>
                  </a:lnTo>
                  <a:lnTo>
                    <a:pt x="1541" y="42"/>
                  </a:lnTo>
                  <a:lnTo>
                    <a:pt x="1542" y="48"/>
                  </a:lnTo>
                  <a:lnTo>
                    <a:pt x="1542" y="55"/>
                  </a:lnTo>
                  <a:lnTo>
                    <a:pt x="1542" y="168"/>
                  </a:lnTo>
                  <a:lnTo>
                    <a:pt x="1542" y="175"/>
                  </a:lnTo>
                  <a:lnTo>
                    <a:pt x="1541" y="180"/>
                  </a:lnTo>
                  <a:lnTo>
                    <a:pt x="1540" y="187"/>
                  </a:lnTo>
                  <a:lnTo>
                    <a:pt x="1539" y="189"/>
                  </a:lnTo>
                  <a:lnTo>
                    <a:pt x="1539" y="192"/>
                  </a:lnTo>
                  <a:lnTo>
                    <a:pt x="1537" y="196"/>
                  </a:lnTo>
                  <a:lnTo>
                    <a:pt x="1535" y="202"/>
                  </a:lnTo>
                  <a:lnTo>
                    <a:pt x="1532" y="205"/>
                  </a:lnTo>
                  <a:lnTo>
                    <a:pt x="1529" y="209"/>
                  </a:lnTo>
                  <a:lnTo>
                    <a:pt x="1525" y="212"/>
                  </a:lnTo>
                  <a:lnTo>
                    <a:pt x="1521" y="215"/>
                  </a:lnTo>
                  <a:lnTo>
                    <a:pt x="1517" y="217"/>
                  </a:lnTo>
                  <a:lnTo>
                    <a:pt x="1513" y="220"/>
                  </a:lnTo>
                  <a:lnTo>
                    <a:pt x="1507" y="222"/>
                  </a:lnTo>
                  <a:lnTo>
                    <a:pt x="1502" y="223"/>
                  </a:lnTo>
                  <a:lnTo>
                    <a:pt x="1496" y="223"/>
                  </a:lnTo>
                  <a:lnTo>
                    <a:pt x="1489" y="224"/>
                  </a:lnTo>
                  <a:lnTo>
                    <a:pt x="1484" y="223"/>
                  </a:lnTo>
                  <a:lnTo>
                    <a:pt x="1478" y="223"/>
                  </a:lnTo>
                  <a:lnTo>
                    <a:pt x="1473" y="222"/>
                  </a:lnTo>
                  <a:lnTo>
                    <a:pt x="1467" y="220"/>
                  </a:lnTo>
                  <a:lnTo>
                    <a:pt x="1463" y="217"/>
                  </a:lnTo>
                  <a:lnTo>
                    <a:pt x="1459" y="215"/>
                  </a:lnTo>
                  <a:lnTo>
                    <a:pt x="1455" y="212"/>
                  </a:lnTo>
                  <a:lnTo>
                    <a:pt x="1451" y="209"/>
                  </a:lnTo>
                  <a:lnTo>
                    <a:pt x="1448" y="205"/>
                  </a:lnTo>
                  <a:lnTo>
                    <a:pt x="1445" y="202"/>
                  </a:lnTo>
                  <a:lnTo>
                    <a:pt x="1443" y="196"/>
                  </a:lnTo>
                  <a:lnTo>
                    <a:pt x="1441" y="192"/>
                  </a:lnTo>
                  <a:lnTo>
                    <a:pt x="1440" y="187"/>
                  </a:lnTo>
                  <a:lnTo>
                    <a:pt x="1439" y="180"/>
                  </a:lnTo>
                  <a:lnTo>
                    <a:pt x="1438" y="175"/>
                  </a:lnTo>
                  <a:lnTo>
                    <a:pt x="1438" y="168"/>
                  </a:lnTo>
                  <a:lnTo>
                    <a:pt x="1438" y="55"/>
                  </a:lnTo>
                  <a:close/>
                  <a:moveTo>
                    <a:pt x="1311" y="2"/>
                  </a:moveTo>
                  <a:lnTo>
                    <a:pt x="1418" y="2"/>
                  </a:lnTo>
                  <a:lnTo>
                    <a:pt x="1418" y="33"/>
                  </a:lnTo>
                  <a:lnTo>
                    <a:pt x="1382" y="33"/>
                  </a:lnTo>
                  <a:lnTo>
                    <a:pt x="1382" y="221"/>
                  </a:lnTo>
                  <a:lnTo>
                    <a:pt x="1347" y="221"/>
                  </a:lnTo>
                  <a:lnTo>
                    <a:pt x="1347" y="33"/>
                  </a:lnTo>
                  <a:lnTo>
                    <a:pt x="1311" y="33"/>
                  </a:lnTo>
                  <a:lnTo>
                    <a:pt x="1311" y="2"/>
                  </a:lnTo>
                  <a:close/>
                  <a:moveTo>
                    <a:pt x="1232" y="94"/>
                  </a:moveTo>
                  <a:lnTo>
                    <a:pt x="1280" y="94"/>
                  </a:lnTo>
                  <a:lnTo>
                    <a:pt x="1280" y="125"/>
                  </a:lnTo>
                  <a:lnTo>
                    <a:pt x="1232" y="125"/>
                  </a:lnTo>
                  <a:lnTo>
                    <a:pt x="1232" y="190"/>
                  </a:lnTo>
                  <a:lnTo>
                    <a:pt x="1292" y="190"/>
                  </a:lnTo>
                  <a:lnTo>
                    <a:pt x="1292" y="221"/>
                  </a:lnTo>
                  <a:lnTo>
                    <a:pt x="1198" y="221"/>
                  </a:lnTo>
                  <a:lnTo>
                    <a:pt x="1198" y="2"/>
                  </a:lnTo>
                  <a:lnTo>
                    <a:pt x="1292" y="2"/>
                  </a:lnTo>
                  <a:lnTo>
                    <a:pt x="1292" y="33"/>
                  </a:lnTo>
                  <a:lnTo>
                    <a:pt x="1232" y="33"/>
                  </a:lnTo>
                  <a:lnTo>
                    <a:pt x="1232" y="94"/>
                  </a:lnTo>
                  <a:close/>
                  <a:moveTo>
                    <a:pt x="1106" y="134"/>
                  </a:moveTo>
                  <a:lnTo>
                    <a:pt x="1095" y="154"/>
                  </a:lnTo>
                  <a:lnTo>
                    <a:pt x="1095" y="221"/>
                  </a:lnTo>
                  <a:lnTo>
                    <a:pt x="1060" y="221"/>
                  </a:lnTo>
                  <a:lnTo>
                    <a:pt x="1060" y="2"/>
                  </a:lnTo>
                  <a:lnTo>
                    <a:pt x="1095" y="2"/>
                  </a:lnTo>
                  <a:lnTo>
                    <a:pt x="1095" y="97"/>
                  </a:lnTo>
                  <a:lnTo>
                    <a:pt x="1140" y="2"/>
                  </a:lnTo>
                  <a:lnTo>
                    <a:pt x="1174" y="2"/>
                  </a:lnTo>
                  <a:lnTo>
                    <a:pt x="1127" y="99"/>
                  </a:lnTo>
                  <a:lnTo>
                    <a:pt x="1174" y="221"/>
                  </a:lnTo>
                  <a:lnTo>
                    <a:pt x="1139" y="221"/>
                  </a:lnTo>
                  <a:lnTo>
                    <a:pt x="1106" y="134"/>
                  </a:lnTo>
                  <a:close/>
                  <a:moveTo>
                    <a:pt x="993" y="2"/>
                  </a:moveTo>
                  <a:lnTo>
                    <a:pt x="1027" y="2"/>
                  </a:lnTo>
                  <a:lnTo>
                    <a:pt x="1027" y="221"/>
                  </a:lnTo>
                  <a:lnTo>
                    <a:pt x="993" y="221"/>
                  </a:lnTo>
                  <a:lnTo>
                    <a:pt x="993" y="2"/>
                  </a:lnTo>
                  <a:close/>
                  <a:moveTo>
                    <a:pt x="926" y="2"/>
                  </a:moveTo>
                  <a:lnTo>
                    <a:pt x="961" y="2"/>
                  </a:lnTo>
                  <a:lnTo>
                    <a:pt x="961" y="221"/>
                  </a:lnTo>
                  <a:lnTo>
                    <a:pt x="926" y="221"/>
                  </a:lnTo>
                  <a:lnTo>
                    <a:pt x="926" y="2"/>
                  </a:lnTo>
                  <a:close/>
                  <a:moveTo>
                    <a:pt x="812" y="2"/>
                  </a:moveTo>
                  <a:lnTo>
                    <a:pt x="846" y="2"/>
                  </a:lnTo>
                  <a:lnTo>
                    <a:pt x="846" y="190"/>
                  </a:lnTo>
                  <a:lnTo>
                    <a:pt x="903" y="190"/>
                  </a:lnTo>
                  <a:lnTo>
                    <a:pt x="903" y="221"/>
                  </a:lnTo>
                  <a:lnTo>
                    <a:pt x="812" y="221"/>
                  </a:lnTo>
                  <a:lnTo>
                    <a:pt x="812" y="2"/>
                  </a:lnTo>
                  <a:close/>
                  <a:moveTo>
                    <a:pt x="744" y="2"/>
                  </a:moveTo>
                  <a:lnTo>
                    <a:pt x="779" y="2"/>
                  </a:lnTo>
                  <a:lnTo>
                    <a:pt x="779" y="221"/>
                  </a:lnTo>
                  <a:lnTo>
                    <a:pt x="744" y="221"/>
                  </a:lnTo>
                  <a:lnTo>
                    <a:pt x="744" y="2"/>
                  </a:lnTo>
                  <a:close/>
                  <a:moveTo>
                    <a:pt x="631" y="2"/>
                  </a:moveTo>
                  <a:lnTo>
                    <a:pt x="665" y="2"/>
                  </a:lnTo>
                  <a:lnTo>
                    <a:pt x="665" y="190"/>
                  </a:lnTo>
                  <a:lnTo>
                    <a:pt x="722" y="190"/>
                  </a:lnTo>
                  <a:lnTo>
                    <a:pt x="722" y="221"/>
                  </a:lnTo>
                  <a:lnTo>
                    <a:pt x="631" y="221"/>
                  </a:lnTo>
                  <a:lnTo>
                    <a:pt x="631" y="2"/>
                  </a:lnTo>
                  <a:close/>
                  <a:moveTo>
                    <a:pt x="517" y="2"/>
                  </a:moveTo>
                  <a:lnTo>
                    <a:pt x="550" y="2"/>
                  </a:lnTo>
                  <a:lnTo>
                    <a:pt x="550" y="190"/>
                  </a:lnTo>
                  <a:lnTo>
                    <a:pt x="607" y="190"/>
                  </a:lnTo>
                  <a:lnTo>
                    <a:pt x="607" y="221"/>
                  </a:lnTo>
                  <a:lnTo>
                    <a:pt x="517" y="221"/>
                  </a:lnTo>
                  <a:lnTo>
                    <a:pt x="517" y="2"/>
                  </a:lnTo>
                  <a:close/>
                  <a:moveTo>
                    <a:pt x="428" y="94"/>
                  </a:moveTo>
                  <a:lnTo>
                    <a:pt x="475" y="94"/>
                  </a:lnTo>
                  <a:lnTo>
                    <a:pt x="475" y="125"/>
                  </a:lnTo>
                  <a:lnTo>
                    <a:pt x="428" y="125"/>
                  </a:lnTo>
                  <a:lnTo>
                    <a:pt x="428" y="190"/>
                  </a:lnTo>
                  <a:lnTo>
                    <a:pt x="487" y="190"/>
                  </a:lnTo>
                  <a:lnTo>
                    <a:pt x="487" y="221"/>
                  </a:lnTo>
                  <a:lnTo>
                    <a:pt x="394" y="221"/>
                  </a:lnTo>
                  <a:lnTo>
                    <a:pt x="394" y="2"/>
                  </a:lnTo>
                  <a:lnTo>
                    <a:pt x="487" y="2"/>
                  </a:lnTo>
                  <a:lnTo>
                    <a:pt x="487" y="33"/>
                  </a:lnTo>
                  <a:lnTo>
                    <a:pt x="428" y="33"/>
                  </a:lnTo>
                  <a:lnTo>
                    <a:pt x="428" y="94"/>
                  </a:lnTo>
                  <a:close/>
                  <a:moveTo>
                    <a:pt x="264" y="2"/>
                  </a:moveTo>
                  <a:lnTo>
                    <a:pt x="371" y="2"/>
                  </a:lnTo>
                  <a:lnTo>
                    <a:pt x="371" y="33"/>
                  </a:lnTo>
                  <a:lnTo>
                    <a:pt x="335" y="33"/>
                  </a:lnTo>
                  <a:lnTo>
                    <a:pt x="335" y="221"/>
                  </a:lnTo>
                  <a:lnTo>
                    <a:pt x="300" y="221"/>
                  </a:lnTo>
                  <a:lnTo>
                    <a:pt x="300" y="33"/>
                  </a:lnTo>
                  <a:lnTo>
                    <a:pt x="264" y="33"/>
                  </a:lnTo>
                  <a:lnTo>
                    <a:pt x="264" y="2"/>
                  </a:lnTo>
                  <a:close/>
                  <a:moveTo>
                    <a:pt x="174" y="171"/>
                  </a:moveTo>
                  <a:lnTo>
                    <a:pt x="174" y="176"/>
                  </a:lnTo>
                  <a:lnTo>
                    <a:pt x="175" y="180"/>
                  </a:lnTo>
                  <a:lnTo>
                    <a:pt x="176" y="183"/>
                  </a:lnTo>
                  <a:lnTo>
                    <a:pt x="177" y="185"/>
                  </a:lnTo>
                  <a:lnTo>
                    <a:pt x="178" y="187"/>
                  </a:lnTo>
                  <a:lnTo>
                    <a:pt x="181" y="189"/>
                  </a:lnTo>
                  <a:lnTo>
                    <a:pt x="184" y="191"/>
                  </a:lnTo>
                  <a:lnTo>
                    <a:pt x="188" y="192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9" y="191"/>
                  </a:lnTo>
                  <a:lnTo>
                    <a:pt x="202" y="189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6"/>
                  </a:lnTo>
                  <a:lnTo>
                    <a:pt x="210" y="171"/>
                  </a:lnTo>
                  <a:lnTo>
                    <a:pt x="210" y="52"/>
                  </a:lnTo>
                  <a:lnTo>
                    <a:pt x="209" y="46"/>
                  </a:lnTo>
                  <a:lnTo>
                    <a:pt x="209" y="42"/>
                  </a:lnTo>
                  <a:lnTo>
                    <a:pt x="208" y="40"/>
                  </a:lnTo>
                  <a:lnTo>
                    <a:pt x="207" y="39"/>
                  </a:lnTo>
                  <a:lnTo>
                    <a:pt x="205" y="36"/>
                  </a:lnTo>
                  <a:lnTo>
                    <a:pt x="202" y="33"/>
                  </a:lnTo>
                  <a:lnTo>
                    <a:pt x="199" y="31"/>
                  </a:lnTo>
                  <a:lnTo>
                    <a:pt x="196" y="30"/>
                  </a:lnTo>
                  <a:lnTo>
                    <a:pt x="192" y="30"/>
                  </a:lnTo>
                  <a:lnTo>
                    <a:pt x="188" y="30"/>
                  </a:lnTo>
                  <a:lnTo>
                    <a:pt x="184" y="31"/>
                  </a:lnTo>
                  <a:lnTo>
                    <a:pt x="181" y="33"/>
                  </a:lnTo>
                  <a:lnTo>
                    <a:pt x="178" y="36"/>
                  </a:lnTo>
                  <a:lnTo>
                    <a:pt x="177" y="39"/>
                  </a:lnTo>
                  <a:lnTo>
                    <a:pt x="175" y="42"/>
                  </a:lnTo>
                  <a:lnTo>
                    <a:pt x="174" y="46"/>
                  </a:lnTo>
                  <a:lnTo>
                    <a:pt x="174" y="52"/>
                  </a:lnTo>
                  <a:lnTo>
                    <a:pt x="174" y="171"/>
                  </a:lnTo>
                  <a:close/>
                  <a:moveTo>
                    <a:pt x="139" y="55"/>
                  </a:moveTo>
                  <a:lnTo>
                    <a:pt x="140" y="48"/>
                  </a:lnTo>
                  <a:lnTo>
                    <a:pt x="140" y="42"/>
                  </a:lnTo>
                  <a:lnTo>
                    <a:pt x="141" y="37"/>
                  </a:lnTo>
                  <a:lnTo>
                    <a:pt x="142" y="33"/>
                  </a:lnTo>
                  <a:lnTo>
                    <a:pt x="143" y="31"/>
                  </a:lnTo>
                  <a:lnTo>
                    <a:pt x="144" y="26"/>
                  </a:lnTo>
                  <a:lnTo>
                    <a:pt x="147" y="22"/>
                  </a:lnTo>
                  <a:lnTo>
                    <a:pt x="150" y="18"/>
                  </a:lnTo>
                  <a:lnTo>
                    <a:pt x="153" y="13"/>
                  </a:lnTo>
                  <a:lnTo>
                    <a:pt x="156" y="10"/>
                  </a:lnTo>
                  <a:lnTo>
                    <a:pt x="160" y="7"/>
                  </a:lnTo>
                  <a:lnTo>
                    <a:pt x="164" y="5"/>
                  </a:lnTo>
                  <a:lnTo>
                    <a:pt x="170" y="3"/>
                  </a:lnTo>
                  <a:lnTo>
                    <a:pt x="174" y="1"/>
                  </a:lnTo>
                  <a:lnTo>
                    <a:pt x="179" y="0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0"/>
                  </a:lnTo>
                  <a:lnTo>
                    <a:pt x="203" y="0"/>
                  </a:lnTo>
                  <a:lnTo>
                    <a:pt x="209" y="1"/>
                  </a:lnTo>
                  <a:lnTo>
                    <a:pt x="214" y="3"/>
                  </a:lnTo>
                  <a:lnTo>
                    <a:pt x="218" y="5"/>
                  </a:lnTo>
                  <a:lnTo>
                    <a:pt x="224" y="7"/>
                  </a:lnTo>
                  <a:lnTo>
                    <a:pt x="227" y="10"/>
                  </a:lnTo>
                  <a:lnTo>
                    <a:pt x="231" y="13"/>
                  </a:lnTo>
                  <a:lnTo>
                    <a:pt x="233" y="18"/>
                  </a:lnTo>
                  <a:lnTo>
                    <a:pt x="236" y="22"/>
                  </a:lnTo>
                  <a:lnTo>
                    <a:pt x="238" y="26"/>
                  </a:lnTo>
                  <a:lnTo>
                    <a:pt x="240" y="31"/>
                  </a:lnTo>
                  <a:lnTo>
                    <a:pt x="242" y="37"/>
                  </a:lnTo>
                  <a:lnTo>
                    <a:pt x="243" y="42"/>
                  </a:lnTo>
                  <a:lnTo>
                    <a:pt x="244" y="48"/>
                  </a:lnTo>
                  <a:lnTo>
                    <a:pt x="244" y="55"/>
                  </a:lnTo>
                  <a:lnTo>
                    <a:pt x="244" y="168"/>
                  </a:lnTo>
                  <a:lnTo>
                    <a:pt x="244" y="175"/>
                  </a:lnTo>
                  <a:lnTo>
                    <a:pt x="243" y="180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0" y="192"/>
                  </a:lnTo>
                  <a:lnTo>
                    <a:pt x="238" y="196"/>
                  </a:lnTo>
                  <a:lnTo>
                    <a:pt x="236" y="202"/>
                  </a:lnTo>
                  <a:lnTo>
                    <a:pt x="233" y="205"/>
                  </a:lnTo>
                  <a:lnTo>
                    <a:pt x="231" y="209"/>
                  </a:lnTo>
                  <a:lnTo>
                    <a:pt x="227" y="212"/>
                  </a:lnTo>
                  <a:lnTo>
                    <a:pt x="224" y="215"/>
                  </a:lnTo>
                  <a:lnTo>
                    <a:pt x="218" y="217"/>
                  </a:lnTo>
                  <a:lnTo>
                    <a:pt x="214" y="220"/>
                  </a:lnTo>
                  <a:lnTo>
                    <a:pt x="209" y="222"/>
                  </a:lnTo>
                  <a:lnTo>
                    <a:pt x="203" y="223"/>
                  </a:lnTo>
                  <a:lnTo>
                    <a:pt x="198" y="223"/>
                  </a:lnTo>
                  <a:lnTo>
                    <a:pt x="192" y="224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4" y="222"/>
                  </a:lnTo>
                  <a:lnTo>
                    <a:pt x="170" y="220"/>
                  </a:lnTo>
                  <a:lnTo>
                    <a:pt x="164" y="217"/>
                  </a:lnTo>
                  <a:lnTo>
                    <a:pt x="160" y="215"/>
                  </a:lnTo>
                  <a:lnTo>
                    <a:pt x="156" y="212"/>
                  </a:lnTo>
                  <a:lnTo>
                    <a:pt x="153" y="209"/>
                  </a:lnTo>
                  <a:lnTo>
                    <a:pt x="150" y="205"/>
                  </a:lnTo>
                  <a:lnTo>
                    <a:pt x="147" y="202"/>
                  </a:lnTo>
                  <a:lnTo>
                    <a:pt x="144" y="196"/>
                  </a:lnTo>
                  <a:lnTo>
                    <a:pt x="143" y="192"/>
                  </a:lnTo>
                  <a:lnTo>
                    <a:pt x="141" y="187"/>
                  </a:lnTo>
                  <a:lnTo>
                    <a:pt x="140" y="180"/>
                  </a:lnTo>
                  <a:lnTo>
                    <a:pt x="140" y="175"/>
                  </a:lnTo>
                  <a:lnTo>
                    <a:pt x="139" y="168"/>
                  </a:lnTo>
                  <a:lnTo>
                    <a:pt x="139" y="55"/>
                  </a:lnTo>
                  <a:close/>
                  <a:moveTo>
                    <a:pt x="35" y="221"/>
                  </a:moveTo>
                  <a:lnTo>
                    <a:pt x="0" y="221"/>
                  </a:lnTo>
                  <a:lnTo>
                    <a:pt x="0" y="2"/>
                  </a:lnTo>
                  <a:lnTo>
                    <a:pt x="35" y="2"/>
                  </a:lnTo>
                  <a:lnTo>
                    <a:pt x="35" y="96"/>
                  </a:lnTo>
                  <a:lnTo>
                    <a:pt x="74" y="96"/>
                  </a:lnTo>
                  <a:lnTo>
                    <a:pt x="74" y="2"/>
                  </a:lnTo>
                  <a:lnTo>
                    <a:pt x="109" y="2"/>
                  </a:lnTo>
                  <a:lnTo>
                    <a:pt x="109" y="221"/>
                  </a:lnTo>
                  <a:lnTo>
                    <a:pt x="74" y="221"/>
                  </a:lnTo>
                  <a:lnTo>
                    <a:pt x="74" y="126"/>
                  </a:lnTo>
                  <a:lnTo>
                    <a:pt x="35" y="126"/>
                  </a:lnTo>
                  <a:lnTo>
                    <a:pt x="35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89219278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40AC21-B136-48F6-A213-31FD61E40E84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40"/>
            <p:cNvSpPr>
              <a:spLocks noEditPoints="1"/>
            </p:cNvSpPr>
            <p:nvPr userDrawn="1"/>
          </p:nvSpPr>
          <p:spPr bwMode="auto">
            <a:xfrm>
              <a:off x="8786797" y="6473684"/>
              <a:ext cx="2115771" cy="211200"/>
            </a:xfrm>
            <a:custGeom>
              <a:avLst/>
              <a:gdLst>
                <a:gd name="T0" fmla="*/ 2210 w 2245"/>
                <a:gd name="T1" fmla="*/ 221 h 224"/>
                <a:gd name="T2" fmla="*/ 2210 w 2245"/>
                <a:gd name="T3" fmla="*/ 2 h 224"/>
                <a:gd name="T4" fmla="*/ 2086 w 2245"/>
                <a:gd name="T5" fmla="*/ 221 h 224"/>
                <a:gd name="T6" fmla="*/ 1915 w 2245"/>
                <a:gd name="T7" fmla="*/ 221 h 224"/>
                <a:gd name="T8" fmla="*/ 1993 w 2245"/>
                <a:gd name="T9" fmla="*/ 2 h 224"/>
                <a:gd name="T10" fmla="*/ 1851 w 2245"/>
                <a:gd name="T11" fmla="*/ 221 h 224"/>
                <a:gd name="T12" fmla="*/ 1783 w 2245"/>
                <a:gd name="T13" fmla="*/ 221 h 224"/>
                <a:gd name="T14" fmla="*/ 1669 w 2245"/>
                <a:gd name="T15" fmla="*/ 221 h 224"/>
                <a:gd name="T16" fmla="*/ 1607 w 2245"/>
                <a:gd name="T17" fmla="*/ 2 h 224"/>
                <a:gd name="T18" fmla="*/ 1474 w 2245"/>
                <a:gd name="T19" fmla="*/ 180 h 224"/>
                <a:gd name="T20" fmla="*/ 1486 w 2245"/>
                <a:gd name="T21" fmla="*/ 192 h 224"/>
                <a:gd name="T22" fmla="*/ 1505 w 2245"/>
                <a:gd name="T23" fmla="*/ 185 h 224"/>
                <a:gd name="T24" fmla="*/ 1506 w 2245"/>
                <a:gd name="T25" fmla="*/ 42 h 224"/>
                <a:gd name="T26" fmla="*/ 1494 w 2245"/>
                <a:gd name="T27" fmla="*/ 30 h 224"/>
                <a:gd name="T28" fmla="*/ 1475 w 2245"/>
                <a:gd name="T29" fmla="*/ 39 h 224"/>
                <a:gd name="T30" fmla="*/ 1438 w 2245"/>
                <a:gd name="T31" fmla="*/ 48 h 224"/>
                <a:gd name="T32" fmla="*/ 1445 w 2245"/>
                <a:gd name="T33" fmla="*/ 22 h 224"/>
                <a:gd name="T34" fmla="*/ 1467 w 2245"/>
                <a:gd name="T35" fmla="*/ 3 h 224"/>
                <a:gd name="T36" fmla="*/ 1502 w 2245"/>
                <a:gd name="T37" fmla="*/ 0 h 224"/>
                <a:gd name="T38" fmla="*/ 1529 w 2245"/>
                <a:gd name="T39" fmla="*/ 13 h 224"/>
                <a:gd name="T40" fmla="*/ 1541 w 2245"/>
                <a:gd name="T41" fmla="*/ 42 h 224"/>
                <a:gd name="T42" fmla="*/ 1540 w 2245"/>
                <a:gd name="T43" fmla="*/ 187 h 224"/>
                <a:gd name="T44" fmla="*/ 1529 w 2245"/>
                <a:gd name="T45" fmla="*/ 209 h 224"/>
                <a:gd name="T46" fmla="*/ 1502 w 2245"/>
                <a:gd name="T47" fmla="*/ 223 h 224"/>
                <a:gd name="T48" fmla="*/ 1467 w 2245"/>
                <a:gd name="T49" fmla="*/ 220 h 224"/>
                <a:gd name="T50" fmla="*/ 1445 w 2245"/>
                <a:gd name="T51" fmla="*/ 202 h 224"/>
                <a:gd name="T52" fmla="*/ 1438 w 2245"/>
                <a:gd name="T53" fmla="*/ 168 h 224"/>
                <a:gd name="T54" fmla="*/ 1382 w 2245"/>
                <a:gd name="T55" fmla="*/ 221 h 224"/>
                <a:gd name="T56" fmla="*/ 1280 w 2245"/>
                <a:gd name="T57" fmla="*/ 94 h 224"/>
                <a:gd name="T58" fmla="*/ 1198 w 2245"/>
                <a:gd name="T59" fmla="*/ 221 h 224"/>
                <a:gd name="T60" fmla="*/ 1106 w 2245"/>
                <a:gd name="T61" fmla="*/ 134 h 224"/>
                <a:gd name="T62" fmla="*/ 1095 w 2245"/>
                <a:gd name="T63" fmla="*/ 97 h 224"/>
                <a:gd name="T64" fmla="*/ 1106 w 2245"/>
                <a:gd name="T65" fmla="*/ 134 h 224"/>
                <a:gd name="T66" fmla="*/ 926 w 2245"/>
                <a:gd name="T67" fmla="*/ 2 h 224"/>
                <a:gd name="T68" fmla="*/ 846 w 2245"/>
                <a:gd name="T69" fmla="*/ 2 h 224"/>
                <a:gd name="T70" fmla="*/ 744 w 2245"/>
                <a:gd name="T71" fmla="*/ 2 h 224"/>
                <a:gd name="T72" fmla="*/ 665 w 2245"/>
                <a:gd name="T73" fmla="*/ 2 h 224"/>
                <a:gd name="T74" fmla="*/ 517 w 2245"/>
                <a:gd name="T75" fmla="*/ 2 h 224"/>
                <a:gd name="T76" fmla="*/ 517 w 2245"/>
                <a:gd name="T77" fmla="*/ 2 h 224"/>
                <a:gd name="T78" fmla="*/ 487 w 2245"/>
                <a:gd name="T79" fmla="*/ 190 h 224"/>
                <a:gd name="T80" fmla="*/ 428 w 2245"/>
                <a:gd name="T81" fmla="*/ 33 h 224"/>
                <a:gd name="T82" fmla="*/ 335 w 2245"/>
                <a:gd name="T83" fmla="*/ 221 h 224"/>
                <a:gd name="T84" fmla="*/ 174 w 2245"/>
                <a:gd name="T85" fmla="*/ 176 h 224"/>
                <a:gd name="T86" fmla="*/ 184 w 2245"/>
                <a:gd name="T87" fmla="*/ 191 h 224"/>
                <a:gd name="T88" fmla="*/ 205 w 2245"/>
                <a:gd name="T89" fmla="*/ 187 h 224"/>
                <a:gd name="T90" fmla="*/ 209 w 2245"/>
                <a:gd name="T91" fmla="*/ 46 h 224"/>
                <a:gd name="T92" fmla="*/ 199 w 2245"/>
                <a:gd name="T93" fmla="*/ 31 h 224"/>
                <a:gd name="T94" fmla="*/ 178 w 2245"/>
                <a:gd name="T95" fmla="*/ 36 h 224"/>
                <a:gd name="T96" fmla="*/ 139 w 2245"/>
                <a:gd name="T97" fmla="*/ 55 h 224"/>
                <a:gd name="T98" fmla="*/ 144 w 2245"/>
                <a:gd name="T99" fmla="*/ 26 h 224"/>
                <a:gd name="T100" fmla="*/ 164 w 2245"/>
                <a:gd name="T101" fmla="*/ 5 h 224"/>
                <a:gd name="T102" fmla="*/ 198 w 2245"/>
                <a:gd name="T103" fmla="*/ 0 h 224"/>
                <a:gd name="T104" fmla="*/ 227 w 2245"/>
                <a:gd name="T105" fmla="*/ 10 h 224"/>
                <a:gd name="T106" fmla="*/ 242 w 2245"/>
                <a:gd name="T107" fmla="*/ 37 h 224"/>
                <a:gd name="T108" fmla="*/ 243 w 2245"/>
                <a:gd name="T109" fmla="*/ 180 h 224"/>
                <a:gd name="T110" fmla="*/ 233 w 2245"/>
                <a:gd name="T111" fmla="*/ 205 h 224"/>
                <a:gd name="T112" fmla="*/ 209 w 2245"/>
                <a:gd name="T113" fmla="*/ 222 h 224"/>
                <a:gd name="T114" fmla="*/ 174 w 2245"/>
                <a:gd name="T115" fmla="*/ 222 h 224"/>
                <a:gd name="T116" fmla="*/ 150 w 2245"/>
                <a:gd name="T117" fmla="*/ 205 h 224"/>
                <a:gd name="T118" fmla="*/ 140 w 2245"/>
                <a:gd name="T119" fmla="*/ 175 h 224"/>
                <a:gd name="T120" fmla="*/ 35 w 2245"/>
                <a:gd name="T121" fmla="*/ 2 h 224"/>
                <a:gd name="T122" fmla="*/ 74 w 2245"/>
                <a:gd name="T123" fmla="*/ 2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5" h="224">
                  <a:moveTo>
                    <a:pt x="2166" y="152"/>
                  </a:moveTo>
                  <a:lnTo>
                    <a:pt x="2199" y="152"/>
                  </a:lnTo>
                  <a:lnTo>
                    <a:pt x="2182" y="41"/>
                  </a:lnTo>
                  <a:lnTo>
                    <a:pt x="2166" y="152"/>
                  </a:lnTo>
                  <a:close/>
                  <a:moveTo>
                    <a:pt x="2245" y="221"/>
                  </a:moveTo>
                  <a:lnTo>
                    <a:pt x="2210" y="221"/>
                  </a:lnTo>
                  <a:lnTo>
                    <a:pt x="2204" y="181"/>
                  </a:lnTo>
                  <a:lnTo>
                    <a:pt x="2162" y="181"/>
                  </a:lnTo>
                  <a:lnTo>
                    <a:pt x="2156" y="221"/>
                  </a:lnTo>
                  <a:lnTo>
                    <a:pt x="2124" y="221"/>
                  </a:lnTo>
                  <a:lnTo>
                    <a:pt x="2159" y="2"/>
                  </a:lnTo>
                  <a:lnTo>
                    <a:pt x="2210" y="2"/>
                  </a:lnTo>
                  <a:lnTo>
                    <a:pt x="2245" y="221"/>
                  </a:lnTo>
                  <a:close/>
                  <a:moveTo>
                    <a:pt x="2016" y="2"/>
                  </a:moveTo>
                  <a:lnTo>
                    <a:pt x="2122" y="2"/>
                  </a:lnTo>
                  <a:lnTo>
                    <a:pt x="2122" y="33"/>
                  </a:lnTo>
                  <a:lnTo>
                    <a:pt x="2086" y="33"/>
                  </a:lnTo>
                  <a:lnTo>
                    <a:pt x="2086" y="221"/>
                  </a:lnTo>
                  <a:lnTo>
                    <a:pt x="2052" y="221"/>
                  </a:lnTo>
                  <a:lnTo>
                    <a:pt x="2052" y="33"/>
                  </a:lnTo>
                  <a:lnTo>
                    <a:pt x="2016" y="33"/>
                  </a:lnTo>
                  <a:lnTo>
                    <a:pt x="2016" y="2"/>
                  </a:lnTo>
                  <a:close/>
                  <a:moveTo>
                    <a:pt x="1915" y="62"/>
                  </a:moveTo>
                  <a:lnTo>
                    <a:pt x="1915" y="221"/>
                  </a:lnTo>
                  <a:lnTo>
                    <a:pt x="1884" y="221"/>
                  </a:lnTo>
                  <a:lnTo>
                    <a:pt x="1884" y="2"/>
                  </a:lnTo>
                  <a:lnTo>
                    <a:pt x="1927" y="2"/>
                  </a:lnTo>
                  <a:lnTo>
                    <a:pt x="1962" y="133"/>
                  </a:lnTo>
                  <a:lnTo>
                    <a:pt x="1962" y="2"/>
                  </a:lnTo>
                  <a:lnTo>
                    <a:pt x="1993" y="2"/>
                  </a:lnTo>
                  <a:lnTo>
                    <a:pt x="1993" y="221"/>
                  </a:lnTo>
                  <a:lnTo>
                    <a:pt x="1958" y="221"/>
                  </a:lnTo>
                  <a:lnTo>
                    <a:pt x="1915" y="62"/>
                  </a:lnTo>
                  <a:close/>
                  <a:moveTo>
                    <a:pt x="1817" y="2"/>
                  </a:moveTo>
                  <a:lnTo>
                    <a:pt x="1851" y="2"/>
                  </a:lnTo>
                  <a:lnTo>
                    <a:pt x="1851" y="221"/>
                  </a:lnTo>
                  <a:lnTo>
                    <a:pt x="1817" y="221"/>
                  </a:lnTo>
                  <a:lnTo>
                    <a:pt x="1817" y="2"/>
                  </a:lnTo>
                  <a:close/>
                  <a:moveTo>
                    <a:pt x="1713" y="157"/>
                  </a:moveTo>
                  <a:lnTo>
                    <a:pt x="1736" y="2"/>
                  </a:lnTo>
                  <a:lnTo>
                    <a:pt x="1783" y="2"/>
                  </a:lnTo>
                  <a:lnTo>
                    <a:pt x="1783" y="221"/>
                  </a:lnTo>
                  <a:lnTo>
                    <a:pt x="1752" y="221"/>
                  </a:lnTo>
                  <a:lnTo>
                    <a:pt x="1752" y="64"/>
                  </a:lnTo>
                  <a:lnTo>
                    <a:pt x="1727" y="221"/>
                  </a:lnTo>
                  <a:lnTo>
                    <a:pt x="1695" y="221"/>
                  </a:lnTo>
                  <a:lnTo>
                    <a:pt x="1669" y="66"/>
                  </a:lnTo>
                  <a:lnTo>
                    <a:pt x="1669" y="221"/>
                  </a:lnTo>
                  <a:lnTo>
                    <a:pt x="1640" y="221"/>
                  </a:lnTo>
                  <a:lnTo>
                    <a:pt x="1640" y="2"/>
                  </a:lnTo>
                  <a:lnTo>
                    <a:pt x="1687" y="2"/>
                  </a:lnTo>
                  <a:lnTo>
                    <a:pt x="1713" y="157"/>
                  </a:lnTo>
                  <a:close/>
                  <a:moveTo>
                    <a:pt x="1572" y="2"/>
                  </a:moveTo>
                  <a:lnTo>
                    <a:pt x="1607" y="2"/>
                  </a:lnTo>
                  <a:lnTo>
                    <a:pt x="1607" y="221"/>
                  </a:lnTo>
                  <a:lnTo>
                    <a:pt x="1572" y="221"/>
                  </a:lnTo>
                  <a:lnTo>
                    <a:pt x="1572" y="2"/>
                  </a:lnTo>
                  <a:close/>
                  <a:moveTo>
                    <a:pt x="1471" y="171"/>
                  </a:moveTo>
                  <a:lnTo>
                    <a:pt x="1473" y="176"/>
                  </a:lnTo>
                  <a:lnTo>
                    <a:pt x="1474" y="180"/>
                  </a:lnTo>
                  <a:lnTo>
                    <a:pt x="1474" y="183"/>
                  </a:lnTo>
                  <a:lnTo>
                    <a:pt x="1475" y="185"/>
                  </a:lnTo>
                  <a:lnTo>
                    <a:pt x="1477" y="187"/>
                  </a:lnTo>
                  <a:lnTo>
                    <a:pt x="1479" y="189"/>
                  </a:lnTo>
                  <a:lnTo>
                    <a:pt x="1482" y="191"/>
                  </a:lnTo>
                  <a:lnTo>
                    <a:pt x="1486" y="192"/>
                  </a:lnTo>
                  <a:lnTo>
                    <a:pt x="1489" y="192"/>
                  </a:lnTo>
                  <a:lnTo>
                    <a:pt x="1494" y="192"/>
                  </a:lnTo>
                  <a:lnTo>
                    <a:pt x="1497" y="191"/>
                  </a:lnTo>
                  <a:lnTo>
                    <a:pt x="1500" y="189"/>
                  </a:lnTo>
                  <a:lnTo>
                    <a:pt x="1503" y="187"/>
                  </a:lnTo>
                  <a:lnTo>
                    <a:pt x="1505" y="185"/>
                  </a:lnTo>
                  <a:lnTo>
                    <a:pt x="1506" y="180"/>
                  </a:lnTo>
                  <a:lnTo>
                    <a:pt x="1507" y="176"/>
                  </a:lnTo>
                  <a:lnTo>
                    <a:pt x="1507" y="171"/>
                  </a:lnTo>
                  <a:lnTo>
                    <a:pt x="1507" y="52"/>
                  </a:lnTo>
                  <a:lnTo>
                    <a:pt x="1507" y="46"/>
                  </a:lnTo>
                  <a:lnTo>
                    <a:pt x="1506" y="42"/>
                  </a:lnTo>
                  <a:lnTo>
                    <a:pt x="1505" y="40"/>
                  </a:lnTo>
                  <a:lnTo>
                    <a:pt x="1505" y="39"/>
                  </a:lnTo>
                  <a:lnTo>
                    <a:pt x="1503" y="36"/>
                  </a:lnTo>
                  <a:lnTo>
                    <a:pt x="1500" y="33"/>
                  </a:lnTo>
                  <a:lnTo>
                    <a:pt x="1497" y="31"/>
                  </a:lnTo>
                  <a:lnTo>
                    <a:pt x="1494" y="30"/>
                  </a:lnTo>
                  <a:lnTo>
                    <a:pt x="1489" y="30"/>
                  </a:lnTo>
                  <a:lnTo>
                    <a:pt x="1486" y="30"/>
                  </a:lnTo>
                  <a:lnTo>
                    <a:pt x="1482" y="31"/>
                  </a:lnTo>
                  <a:lnTo>
                    <a:pt x="1479" y="33"/>
                  </a:lnTo>
                  <a:lnTo>
                    <a:pt x="1477" y="36"/>
                  </a:lnTo>
                  <a:lnTo>
                    <a:pt x="1475" y="39"/>
                  </a:lnTo>
                  <a:lnTo>
                    <a:pt x="1474" y="42"/>
                  </a:lnTo>
                  <a:lnTo>
                    <a:pt x="1473" y="46"/>
                  </a:lnTo>
                  <a:lnTo>
                    <a:pt x="1471" y="52"/>
                  </a:lnTo>
                  <a:lnTo>
                    <a:pt x="1471" y="171"/>
                  </a:lnTo>
                  <a:close/>
                  <a:moveTo>
                    <a:pt x="1438" y="55"/>
                  </a:moveTo>
                  <a:lnTo>
                    <a:pt x="1438" y="48"/>
                  </a:lnTo>
                  <a:lnTo>
                    <a:pt x="1439" y="42"/>
                  </a:lnTo>
                  <a:lnTo>
                    <a:pt x="1440" y="37"/>
                  </a:lnTo>
                  <a:lnTo>
                    <a:pt x="1440" y="33"/>
                  </a:lnTo>
                  <a:lnTo>
                    <a:pt x="1441" y="31"/>
                  </a:lnTo>
                  <a:lnTo>
                    <a:pt x="1443" y="26"/>
                  </a:lnTo>
                  <a:lnTo>
                    <a:pt x="1445" y="22"/>
                  </a:lnTo>
                  <a:lnTo>
                    <a:pt x="1448" y="18"/>
                  </a:lnTo>
                  <a:lnTo>
                    <a:pt x="1451" y="13"/>
                  </a:lnTo>
                  <a:lnTo>
                    <a:pt x="1455" y="10"/>
                  </a:lnTo>
                  <a:lnTo>
                    <a:pt x="1459" y="7"/>
                  </a:lnTo>
                  <a:lnTo>
                    <a:pt x="1463" y="5"/>
                  </a:lnTo>
                  <a:lnTo>
                    <a:pt x="1467" y="3"/>
                  </a:lnTo>
                  <a:lnTo>
                    <a:pt x="1473" y="1"/>
                  </a:lnTo>
                  <a:lnTo>
                    <a:pt x="1478" y="0"/>
                  </a:lnTo>
                  <a:lnTo>
                    <a:pt x="1484" y="0"/>
                  </a:lnTo>
                  <a:lnTo>
                    <a:pt x="1489" y="0"/>
                  </a:lnTo>
                  <a:lnTo>
                    <a:pt x="1496" y="0"/>
                  </a:lnTo>
                  <a:lnTo>
                    <a:pt x="1502" y="0"/>
                  </a:lnTo>
                  <a:lnTo>
                    <a:pt x="1507" y="1"/>
                  </a:lnTo>
                  <a:lnTo>
                    <a:pt x="1513" y="3"/>
                  </a:lnTo>
                  <a:lnTo>
                    <a:pt x="1517" y="5"/>
                  </a:lnTo>
                  <a:lnTo>
                    <a:pt x="1521" y="7"/>
                  </a:lnTo>
                  <a:lnTo>
                    <a:pt x="1525" y="10"/>
                  </a:lnTo>
                  <a:lnTo>
                    <a:pt x="1529" y="13"/>
                  </a:lnTo>
                  <a:lnTo>
                    <a:pt x="1532" y="18"/>
                  </a:lnTo>
                  <a:lnTo>
                    <a:pt x="1535" y="22"/>
                  </a:lnTo>
                  <a:lnTo>
                    <a:pt x="1537" y="26"/>
                  </a:lnTo>
                  <a:lnTo>
                    <a:pt x="1539" y="31"/>
                  </a:lnTo>
                  <a:lnTo>
                    <a:pt x="1540" y="37"/>
                  </a:lnTo>
                  <a:lnTo>
                    <a:pt x="1541" y="42"/>
                  </a:lnTo>
                  <a:lnTo>
                    <a:pt x="1542" y="48"/>
                  </a:lnTo>
                  <a:lnTo>
                    <a:pt x="1542" y="55"/>
                  </a:lnTo>
                  <a:lnTo>
                    <a:pt x="1542" y="168"/>
                  </a:lnTo>
                  <a:lnTo>
                    <a:pt x="1542" y="175"/>
                  </a:lnTo>
                  <a:lnTo>
                    <a:pt x="1541" y="180"/>
                  </a:lnTo>
                  <a:lnTo>
                    <a:pt x="1540" y="187"/>
                  </a:lnTo>
                  <a:lnTo>
                    <a:pt x="1539" y="189"/>
                  </a:lnTo>
                  <a:lnTo>
                    <a:pt x="1539" y="192"/>
                  </a:lnTo>
                  <a:lnTo>
                    <a:pt x="1537" y="196"/>
                  </a:lnTo>
                  <a:lnTo>
                    <a:pt x="1535" y="202"/>
                  </a:lnTo>
                  <a:lnTo>
                    <a:pt x="1532" y="205"/>
                  </a:lnTo>
                  <a:lnTo>
                    <a:pt x="1529" y="209"/>
                  </a:lnTo>
                  <a:lnTo>
                    <a:pt x="1525" y="212"/>
                  </a:lnTo>
                  <a:lnTo>
                    <a:pt x="1521" y="215"/>
                  </a:lnTo>
                  <a:lnTo>
                    <a:pt x="1517" y="217"/>
                  </a:lnTo>
                  <a:lnTo>
                    <a:pt x="1513" y="220"/>
                  </a:lnTo>
                  <a:lnTo>
                    <a:pt x="1507" y="222"/>
                  </a:lnTo>
                  <a:lnTo>
                    <a:pt x="1502" y="223"/>
                  </a:lnTo>
                  <a:lnTo>
                    <a:pt x="1496" y="223"/>
                  </a:lnTo>
                  <a:lnTo>
                    <a:pt x="1489" y="224"/>
                  </a:lnTo>
                  <a:lnTo>
                    <a:pt x="1484" y="223"/>
                  </a:lnTo>
                  <a:lnTo>
                    <a:pt x="1478" y="223"/>
                  </a:lnTo>
                  <a:lnTo>
                    <a:pt x="1473" y="222"/>
                  </a:lnTo>
                  <a:lnTo>
                    <a:pt x="1467" y="220"/>
                  </a:lnTo>
                  <a:lnTo>
                    <a:pt x="1463" y="217"/>
                  </a:lnTo>
                  <a:lnTo>
                    <a:pt x="1459" y="215"/>
                  </a:lnTo>
                  <a:lnTo>
                    <a:pt x="1455" y="212"/>
                  </a:lnTo>
                  <a:lnTo>
                    <a:pt x="1451" y="209"/>
                  </a:lnTo>
                  <a:lnTo>
                    <a:pt x="1448" y="205"/>
                  </a:lnTo>
                  <a:lnTo>
                    <a:pt x="1445" y="202"/>
                  </a:lnTo>
                  <a:lnTo>
                    <a:pt x="1443" y="196"/>
                  </a:lnTo>
                  <a:lnTo>
                    <a:pt x="1441" y="192"/>
                  </a:lnTo>
                  <a:lnTo>
                    <a:pt x="1440" y="187"/>
                  </a:lnTo>
                  <a:lnTo>
                    <a:pt x="1439" y="180"/>
                  </a:lnTo>
                  <a:lnTo>
                    <a:pt x="1438" y="175"/>
                  </a:lnTo>
                  <a:lnTo>
                    <a:pt x="1438" y="168"/>
                  </a:lnTo>
                  <a:lnTo>
                    <a:pt x="1438" y="55"/>
                  </a:lnTo>
                  <a:close/>
                  <a:moveTo>
                    <a:pt x="1311" y="2"/>
                  </a:moveTo>
                  <a:lnTo>
                    <a:pt x="1418" y="2"/>
                  </a:lnTo>
                  <a:lnTo>
                    <a:pt x="1418" y="33"/>
                  </a:lnTo>
                  <a:lnTo>
                    <a:pt x="1382" y="33"/>
                  </a:lnTo>
                  <a:lnTo>
                    <a:pt x="1382" y="221"/>
                  </a:lnTo>
                  <a:lnTo>
                    <a:pt x="1347" y="221"/>
                  </a:lnTo>
                  <a:lnTo>
                    <a:pt x="1347" y="33"/>
                  </a:lnTo>
                  <a:lnTo>
                    <a:pt x="1311" y="33"/>
                  </a:lnTo>
                  <a:lnTo>
                    <a:pt x="1311" y="2"/>
                  </a:lnTo>
                  <a:close/>
                  <a:moveTo>
                    <a:pt x="1232" y="94"/>
                  </a:moveTo>
                  <a:lnTo>
                    <a:pt x="1280" y="94"/>
                  </a:lnTo>
                  <a:lnTo>
                    <a:pt x="1280" y="125"/>
                  </a:lnTo>
                  <a:lnTo>
                    <a:pt x="1232" y="125"/>
                  </a:lnTo>
                  <a:lnTo>
                    <a:pt x="1232" y="190"/>
                  </a:lnTo>
                  <a:lnTo>
                    <a:pt x="1292" y="190"/>
                  </a:lnTo>
                  <a:lnTo>
                    <a:pt x="1292" y="221"/>
                  </a:lnTo>
                  <a:lnTo>
                    <a:pt x="1198" y="221"/>
                  </a:lnTo>
                  <a:lnTo>
                    <a:pt x="1198" y="2"/>
                  </a:lnTo>
                  <a:lnTo>
                    <a:pt x="1292" y="2"/>
                  </a:lnTo>
                  <a:lnTo>
                    <a:pt x="1292" y="33"/>
                  </a:lnTo>
                  <a:lnTo>
                    <a:pt x="1232" y="33"/>
                  </a:lnTo>
                  <a:lnTo>
                    <a:pt x="1232" y="94"/>
                  </a:lnTo>
                  <a:close/>
                  <a:moveTo>
                    <a:pt x="1106" y="134"/>
                  </a:moveTo>
                  <a:lnTo>
                    <a:pt x="1095" y="154"/>
                  </a:lnTo>
                  <a:lnTo>
                    <a:pt x="1095" y="221"/>
                  </a:lnTo>
                  <a:lnTo>
                    <a:pt x="1060" y="221"/>
                  </a:lnTo>
                  <a:lnTo>
                    <a:pt x="1060" y="2"/>
                  </a:lnTo>
                  <a:lnTo>
                    <a:pt x="1095" y="2"/>
                  </a:lnTo>
                  <a:lnTo>
                    <a:pt x="1095" y="97"/>
                  </a:lnTo>
                  <a:lnTo>
                    <a:pt x="1140" y="2"/>
                  </a:lnTo>
                  <a:lnTo>
                    <a:pt x="1174" y="2"/>
                  </a:lnTo>
                  <a:lnTo>
                    <a:pt x="1127" y="99"/>
                  </a:lnTo>
                  <a:lnTo>
                    <a:pt x="1174" y="221"/>
                  </a:lnTo>
                  <a:lnTo>
                    <a:pt x="1139" y="221"/>
                  </a:lnTo>
                  <a:lnTo>
                    <a:pt x="1106" y="134"/>
                  </a:lnTo>
                  <a:close/>
                  <a:moveTo>
                    <a:pt x="993" y="2"/>
                  </a:moveTo>
                  <a:lnTo>
                    <a:pt x="1027" y="2"/>
                  </a:lnTo>
                  <a:lnTo>
                    <a:pt x="1027" y="221"/>
                  </a:lnTo>
                  <a:lnTo>
                    <a:pt x="993" y="221"/>
                  </a:lnTo>
                  <a:lnTo>
                    <a:pt x="993" y="2"/>
                  </a:lnTo>
                  <a:close/>
                  <a:moveTo>
                    <a:pt x="926" y="2"/>
                  </a:moveTo>
                  <a:lnTo>
                    <a:pt x="961" y="2"/>
                  </a:lnTo>
                  <a:lnTo>
                    <a:pt x="961" y="221"/>
                  </a:lnTo>
                  <a:lnTo>
                    <a:pt x="926" y="221"/>
                  </a:lnTo>
                  <a:lnTo>
                    <a:pt x="926" y="2"/>
                  </a:lnTo>
                  <a:close/>
                  <a:moveTo>
                    <a:pt x="812" y="2"/>
                  </a:moveTo>
                  <a:lnTo>
                    <a:pt x="846" y="2"/>
                  </a:lnTo>
                  <a:lnTo>
                    <a:pt x="846" y="190"/>
                  </a:lnTo>
                  <a:lnTo>
                    <a:pt x="903" y="190"/>
                  </a:lnTo>
                  <a:lnTo>
                    <a:pt x="903" y="221"/>
                  </a:lnTo>
                  <a:lnTo>
                    <a:pt x="812" y="221"/>
                  </a:lnTo>
                  <a:lnTo>
                    <a:pt x="812" y="2"/>
                  </a:lnTo>
                  <a:close/>
                  <a:moveTo>
                    <a:pt x="744" y="2"/>
                  </a:moveTo>
                  <a:lnTo>
                    <a:pt x="779" y="2"/>
                  </a:lnTo>
                  <a:lnTo>
                    <a:pt x="779" y="221"/>
                  </a:lnTo>
                  <a:lnTo>
                    <a:pt x="744" y="221"/>
                  </a:lnTo>
                  <a:lnTo>
                    <a:pt x="744" y="2"/>
                  </a:lnTo>
                  <a:close/>
                  <a:moveTo>
                    <a:pt x="631" y="2"/>
                  </a:moveTo>
                  <a:lnTo>
                    <a:pt x="665" y="2"/>
                  </a:lnTo>
                  <a:lnTo>
                    <a:pt x="665" y="190"/>
                  </a:lnTo>
                  <a:lnTo>
                    <a:pt x="722" y="190"/>
                  </a:lnTo>
                  <a:lnTo>
                    <a:pt x="722" y="221"/>
                  </a:lnTo>
                  <a:lnTo>
                    <a:pt x="631" y="221"/>
                  </a:lnTo>
                  <a:lnTo>
                    <a:pt x="631" y="2"/>
                  </a:lnTo>
                  <a:close/>
                  <a:moveTo>
                    <a:pt x="517" y="2"/>
                  </a:moveTo>
                  <a:lnTo>
                    <a:pt x="550" y="2"/>
                  </a:lnTo>
                  <a:lnTo>
                    <a:pt x="550" y="190"/>
                  </a:lnTo>
                  <a:lnTo>
                    <a:pt x="607" y="190"/>
                  </a:lnTo>
                  <a:lnTo>
                    <a:pt x="607" y="221"/>
                  </a:lnTo>
                  <a:lnTo>
                    <a:pt x="517" y="221"/>
                  </a:lnTo>
                  <a:lnTo>
                    <a:pt x="517" y="2"/>
                  </a:lnTo>
                  <a:close/>
                  <a:moveTo>
                    <a:pt x="428" y="94"/>
                  </a:moveTo>
                  <a:lnTo>
                    <a:pt x="475" y="94"/>
                  </a:lnTo>
                  <a:lnTo>
                    <a:pt x="475" y="125"/>
                  </a:lnTo>
                  <a:lnTo>
                    <a:pt x="428" y="125"/>
                  </a:lnTo>
                  <a:lnTo>
                    <a:pt x="428" y="190"/>
                  </a:lnTo>
                  <a:lnTo>
                    <a:pt x="487" y="190"/>
                  </a:lnTo>
                  <a:lnTo>
                    <a:pt x="487" y="221"/>
                  </a:lnTo>
                  <a:lnTo>
                    <a:pt x="394" y="221"/>
                  </a:lnTo>
                  <a:lnTo>
                    <a:pt x="394" y="2"/>
                  </a:lnTo>
                  <a:lnTo>
                    <a:pt x="487" y="2"/>
                  </a:lnTo>
                  <a:lnTo>
                    <a:pt x="487" y="33"/>
                  </a:lnTo>
                  <a:lnTo>
                    <a:pt x="428" y="33"/>
                  </a:lnTo>
                  <a:lnTo>
                    <a:pt x="428" y="94"/>
                  </a:lnTo>
                  <a:close/>
                  <a:moveTo>
                    <a:pt x="264" y="2"/>
                  </a:moveTo>
                  <a:lnTo>
                    <a:pt x="371" y="2"/>
                  </a:lnTo>
                  <a:lnTo>
                    <a:pt x="371" y="33"/>
                  </a:lnTo>
                  <a:lnTo>
                    <a:pt x="335" y="33"/>
                  </a:lnTo>
                  <a:lnTo>
                    <a:pt x="335" y="221"/>
                  </a:lnTo>
                  <a:lnTo>
                    <a:pt x="300" y="221"/>
                  </a:lnTo>
                  <a:lnTo>
                    <a:pt x="300" y="33"/>
                  </a:lnTo>
                  <a:lnTo>
                    <a:pt x="264" y="33"/>
                  </a:lnTo>
                  <a:lnTo>
                    <a:pt x="264" y="2"/>
                  </a:lnTo>
                  <a:close/>
                  <a:moveTo>
                    <a:pt x="174" y="171"/>
                  </a:moveTo>
                  <a:lnTo>
                    <a:pt x="174" y="176"/>
                  </a:lnTo>
                  <a:lnTo>
                    <a:pt x="175" y="180"/>
                  </a:lnTo>
                  <a:lnTo>
                    <a:pt x="176" y="183"/>
                  </a:lnTo>
                  <a:lnTo>
                    <a:pt x="177" y="185"/>
                  </a:lnTo>
                  <a:lnTo>
                    <a:pt x="178" y="187"/>
                  </a:lnTo>
                  <a:lnTo>
                    <a:pt x="181" y="189"/>
                  </a:lnTo>
                  <a:lnTo>
                    <a:pt x="184" y="191"/>
                  </a:lnTo>
                  <a:lnTo>
                    <a:pt x="188" y="192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9" y="191"/>
                  </a:lnTo>
                  <a:lnTo>
                    <a:pt x="202" y="189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6"/>
                  </a:lnTo>
                  <a:lnTo>
                    <a:pt x="210" y="171"/>
                  </a:lnTo>
                  <a:lnTo>
                    <a:pt x="210" y="52"/>
                  </a:lnTo>
                  <a:lnTo>
                    <a:pt x="209" y="46"/>
                  </a:lnTo>
                  <a:lnTo>
                    <a:pt x="209" y="42"/>
                  </a:lnTo>
                  <a:lnTo>
                    <a:pt x="208" y="40"/>
                  </a:lnTo>
                  <a:lnTo>
                    <a:pt x="207" y="39"/>
                  </a:lnTo>
                  <a:lnTo>
                    <a:pt x="205" y="36"/>
                  </a:lnTo>
                  <a:lnTo>
                    <a:pt x="202" y="33"/>
                  </a:lnTo>
                  <a:lnTo>
                    <a:pt x="199" y="31"/>
                  </a:lnTo>
                  <a:lnTo>
                    <a:pt x="196" y="30"/>
                  </a:lnTo>
                  <a:lnTo>
                    <a:pt x="192" y="30"/>
                  </a:lnTo>
                  <a:lnTo>
                    <a:pt x="188" y="30"/>
                  </a:lnTo>
                  <a:lnTo>
                    <a:pt x="184" y="31"/>
                  </a:lnTo>
                  <a:lnTo>
                    <a:pt x="181" y="33"/>
                  </a:lnTo>
                  <a:lnTo>
                    <a:pt x="178" y="36"/>
                  </a:lnTo>
                  <a:lnTo>
                    <a:pt x="177" y="39"/>
                  </a:lnTo>
                  <a:lnTo>
                    <a:pt x="175" y="42"/>
                  </a:lnTo>
                  <a:lnTo>
                    <a:pt x="174" y="46"/>
                  </a:lnTo>
                  <a:lnTo>
                    <a:pt x="174" y="52"/>
                  </a:lnTo>
                  <a:lnTo>
                    <a:pt x="174" y="171"/>
                  </a:lnTo>
                  <a:close/>
                  <a:moveTo>
                    <a:pt x="139" y="55"/>
                  </a:moveTo>
                  <a:lnTo>
                    <a:pt x="140" y="48"/>
                  </a:lnTo>
                  <a:lnTo>
                    <a:pt x="140" y="42"/>
                  </a:lnTo>
                  <a:lnTo>
                    <a:pt x="141" y="37"/>
                  </a:lnTo>
                  <a:lnTo>
                    <a:pt x="142" y="33"/>
                  </a:lnTo>
                  <a:lnTo>
                    <a:pt x="143" y="31"/>
                  </a:lnTo>
                  <a:lnTo>
                    <a:pt x="144" y="26"/>
                  </a:lnTo>
                  <a:lnTo>
                    <a:pt x="147" y="22"/>
                  </a:lnTo>
                  <a:lnTo>
                    <a:pt x="150" y="18"/>
                  </a:lnTo>
                  <a:lnTo>
                    <a:pt x="153" y="13"/>
                  </a:lnTo>
                  <a:lnTo>
                    <a:pt x="156" y="10"/>
                  </a:lnTo>
                  <a:lnTo>
                    <a:pt x="160" y="7"/>
                  </a:lnTo>
                  <a:lnTo>
                    <a:pt x="164" y="5"/>
                  </a:lnTo>
                  <a:lnTo>
                    <a:pt x="170" y="3"/>
                  </a:lnTo>
                  <a:lnTo>
                    <a:pt x="174" y="1"/>
                  </a:lnTo>
                  <a:lnTo>
                    <a:pt x="179" y="0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0"/>
                  </a:lnTo>
                  <a:lnTo>
                    <a:pt x="203" y="0"/>
                  </a:lnTo>
                  <a:lnTo>
                    <a:pt x="209" y="1"/>
                  </a:lnTo>
                  <a:lnTo>
                    <a:pt x="214" y="3"/>
                  </a:lnTo>
                  <a:lnTo>
                    <a:pt x="218" y="5"/>
                  </a:lnTo>
                  <a:lnTo>
                    <a:pt x="224" y="7"/>
                  </a:lnTo>
                  <a:lnTo>
                    <a:pt x="227" y="10"/>
                  </a:lnTo>
                  <a:lnTo>
                    <a:pt x="231" y="13"/>
                  </a:lnTo>
                  <a:lnTo>
                    <a:pt x="233" y="18"/>
                  </a:lnTo>
                  <a:lnTo>
                    <a:pt x="236" y="22"/>
                  </a:lnTo>
                  <a:lnTo>
                    <a:pt x="238" y="26"/>
                  </a:lnTo>
                  <a:lnTo>
                    <a:pt x="240" y="31"/>
                  </a:lnTo>
                  <a:lnTo>
                    <a:pt x="242" y="37"/>
                  </a:lnTo>
                  <a:lnTo>
                    <a:pt x="243" y="42"/>
                  </a:lnTo>
                  <a:lnTo>
                    <a:pt x="244" y="48"/>
                  </a:lnTo>
                  <a:lnTo>
                    <a:pt x="244" y="55"/>
                  </a:lnTo>
                  <a:lnTo>
                    <a:pt x="244" y="168"/>
                  </a:lnTo>
                  <a:lnTo>
                    <a:pt x="244" y="175"/>
                  </a:lnTo>
                  <a:lnTo>
                    <a:pt x="243" y="180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0" y="192"/>
                  </a:lnTo>
                  <a:lnTo>
                    <a:pt x="238" y="196"/>
                  </a:lnTo>
                  <a:lnTo>
                    <a:pt x="236" y="202"/>
                  </a:lnTo>
                  <a:lnTo>
                    <a:pt x="233" y="205"/>
                  </a:lnTo>
                  <a:lnTo>
                    <a:pt x="231" y="209"/>
                  </a:lnTo>
                  <a:lnTo>
                    <a:pt x="227" y="212"/>
                  </a:lnTo>
                  <a:lnTo>
                    <a:pt x="224" y="215"/>
                  </a:lnTo>
                  <a:lnTo>
                    <a:pt x="218" y="217"/>
                  </a:lnTo>
                  <a:lnTo>
                    <a:pt x="214" y="220"/>
                  </a:lnTo>
                  <a:lnTo>
                    <a:pt x="209" y="222"/>
                  </a:lnTo>
                  <a:lnTo>
                    <a:pt x="203" y="223"/>
                  </a:lnTo>
                  <a:lnTo>
                    <a:pt x="198" y="223"/>
                  </a:lnTo>
                  <a:lnTo>
                    <a:pt x="192" y="224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4" y="222"/>
                  </a:lnTo>
                  <a:lnTo>
                    <a:pt x="170" y="220"/>
                  </a:lnTo>
                  <a:lnTo>
                    <a:pt x="164" y="217"/>
                  </a:lnTo>
                  <a:lnTo>
                    <a:pt x="160" y="215"/>
                  </a:lnTo>
                  <a:lnTo>
                    <a:pt x="156" y="212"/>
                  </a:lnTo>
                  <a:lnTo>
                    <a:pt x="153" y="209"/>
                  </a:lnTo>
                  <a:lnTo>
                    <a:pt x="150" y="205"/>
                  </a:lnTo>
                  <a:lnTo>
                    <a:pt x="147" y="202"/>
                  </a:lnTo>
                  <a:lnTo>
                    <a:pt x="144" y="196"/>
                  </a:lnTo>
                  <a:lnTo>
                    <a:pt x="143" y="192"/>
                  </a:lnTo>
                  <a:lnTo>
                    <a:pt x="141" y="187"/>
                  </a:lnTo>
                  <a:lnTo>
                    <a:pt x="140" y="180"/>
                  </a:lnTo>
                  <a:lnTo>
                    <a:pt x="140" y="175"/>
                  </a:lnTo>
                  <a:lnTo>
                    <a:pt x="139" y="168"/>
                  </a:lnTo>
                  <a:lnTo>
                    <a:pt x="139" y="55"/>
                  </a:lnTo>
                  <a:close/>
                  <a:moveTo>
                    <a:pt x="35" y="221"/>
                  </a:moveTo>
                  <a:lnTo>
                    <a:pt x="0" y="221"/>
                  </a:lnTo>
                  <a:lnTo>
                    <a:pt x="0" y="2"/>
                  </a:lnTo>
                  <a:lnTo>
                    <a:pt x="35" y="2"/>
                  </a:lnTo>
                  <a:lnTo>
                    <a:pt x="35" y="96"/>
                  </a:lnTo>
                  <a:lnTo>
                    <a:pt x="74" y="96"/>
                  </a:lnTo>
                  <a:lnTo>
                    <a:pt x="74" y="2"/>
                  </a:lnTo>
                  <a:lnTo>
                    <a:pt x="109" y="2"/>
                  </a:lnTo>
                  <a:lnTo>
                    <a:pt x="109" y="221"/>
                  </a:lnTo>
                  <a:lnTo>
                    <a:pt x="74" y="221"/>
                  </a:lnTo>
                  <a:lnTo>
                    <a:pt x="74" y="126"/>
                  </a:lnTo>
                  <a:lnTo>
                    <a:pt x="35" y="126"/>
                  </a:lnTo>
                  <a:lnTo>
                    <a:pt x="35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5602412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E9CC9-CE9A-4161-B9A5-4E158ED5C1FB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40"/>
            <p:cNvSpPr>
              <a:spLocks noEditPoints="1"/>
            </p:cNvSpPr>
            <p:nvPr userDrawn="1"/>
          </p:nvSpPr>
          <p:spPr bwMode="auto">
            <a:xfrm>
              <a:off x="8786797" y="6473684"/>
              <a:ext cx="2115771" cy="211200"/>
            </a:xfrm>
            <a:custGeom>
              <a:avLst/>
              <a:gdLst>
                <a:gd name="T0" fmla="*/ 2210 w 2245"/>
                <a:gd name="T1" fmla="*/ 221 h 224"/>
                <a:gd name="T2" fmla="*/ 2210 w 2245"/>
                <a:gd name="T3" fmla="*/ 2 h 224"/>
                <a:gd name="T4" fmla="*/ 2086 w 2245"/>
                <a:gd name="T5" fmla="*/ 221 h 224"/>
                <a:gd name="T6" fmla="*/ 1915 w 2245"/>
                <a:gd name="T7" fmla="*/ 221 h 224"/>
                <a:gd name="T8" fmla="*/ 1993 w 2245"/>
                <a:gd name="T9" fmla="*/ 2 h 224"/>
                <a:gd name="T10" fmla="*/ 1851 w 2245"/>
                <a:gd name="T11" fmla="*/ 221 h 224"/>
                <a:gd name="T12" fmla="*/ 1783 w 2245"/>
                <a:gd name="T13" fmla="*/ 221 h 224"/>
                <a:gd name="T14" fmla="*/ 1669 w 2245"/>
                <a:gd name="T15" fmla="*/ 221 h 224"/>
                <a:gd name="T16" fmla="*/ 1607 w 2245"/>
                <a:gd name="T17" fmla="*/ 2 h 224"/>
                <a:gd name="T18" fmla="*/ 1474 w 2245"/>
                <a:gd name="T19" fmla="*/ 180 h 224"/>
                <a:gd name="T20" fmla="*/ 1486 w 2245"/>
                <a:gd name="T21" fmla="*/ 192 h 224"/>
                <a:gd name="T22" fmla="*/ 1505 w 2245"/>
                <a:gd name="T23" fmla="*/ 185 h 224"/>
                <a:gd name="T24" fmla="*/ 1506 w 2245"/>
                <a:gd name="T25" fmla="*/ 42 h 224"/>
                <a:gd name="T26" fmla="*/ 1494 w 2245"/>
                <a:gd name="T27" fmla="*/ 30 h 224"/>
                <a:gd name="T28" fmla="*/ 1475 w 2245"/>
                <a:gd name="T29" fmla="*/ 39 h 224"/>
                <a:gd name="T30" fmla="*/ 1438 w 2245"/>
                <a:gd name="T31" fmla="*/ 48 h 224"/>
                <a:gd name="T32" fmla="*/ 1445 w 2245"/>
                <a:gd name="T33" fmla="*/ 22 h 224"/>
                <a:gd name="T34" fmla="*/ 1467 w 2245"/>
                <a:gd name="T35" fmla="*/ 3 h 224"/>
                <a:gd name="T36" fmla="*/ 1502 w 2245"/>
                <a:gd name="T37" fmla="*/ 0 h 224"/>
                <a:gd name="T38" fmla="*/ 1529 w 2245"/>
                <a:gd name="T39" fmla="*/ 13 h 224"/>
                <a:gd name="T40" fmla="*/ 1541 w 2245"/>
                <a:gd name="T41" fmla="*/ 42 h 224"/>
                <a:gd name="T42" fmla="*/ 1540 w 2245"/>
                <a:gd name="T43" fmla="*/ 187 h 224"/>
                <a:gd name="T44" fmla="*/ 1529 w 2245"/>
                <a:gd name="T45" fmla="*/ 209 h 224"/>
                <a:gd name="T46" fmla="*/ 1502 w 2245"/>
                <a:gd name="T47" fmla="*/ 223 h 224"/>
                <a:gd name="T48" fmla="*/ 1467 w 2245"/>
                <a:gd name="T49" fmla="*/ 220 h 224"/>
                <a:gd name="T50" fmla="*/ 1445 w 2245"/>
                <a:gd name="T51" fmla="*/ 202 h 224"/>
                <a:gd name="T52" fmla="*/ 1438 w 2245"/>
                <a:gd name="T53" fmla="*/ 168 h 224"/>
                <a:gd name="T54" fmla="*/ 1382 w 2245"/>
                <a:gd name="T55" fmla="*/ 221 h 224"/>
                <a:gd name="T56" fmla="*/ 1280 w 2245"/>
                <a:gd name="T57" fmla="*/ 94 h 224"/>
                <a:gd name="T58" fmla="*/ 1198 w 2245"/>
                <a:gd name="T59" fmla="*/ 221 h 224"/>
                <a:gd name="T60" fmla="*/ 1106 w 2245"/>
                <a:gd name="T61" fmla="*/ 134 h 224"/>
                <a:gd name="T62" fmla="*/ 1095 w 2245"/>
                <a:gd name="T63" fmla="*/ 97 h 224"/>
                <a:gd name="T64" fmla="*/ 1106 w 2245"/>
                <a:gd name="T65" fmla="*/ 134 h 224"/>
                <a:gd name="T66" fmla="*/ 926 w 2245"/>
                <a:gd name="T67" fmla="*/ 2 h 224"/>
                <a:gd name="T68" fmla="*/ 846 w 2245"/>
                <a:gd name="T69" fmla="*/ 2 h 224"/>
                <a:gd name="T70" fmla="*/ 744 w 2245"/>
                <a:gd name="T71" fmla="*/ 2 h 224"/>
                <a:gd name="T72" fmla="*/ 665 w 2245"/>
                <a:gd name="T73" fmla="*/ 2 h 224"/>
                <a:gd name="T74" fmla="*/ 517 w 2245"/>
                <a:gd name="T75" fmla="*/ 2 h 224"/>
                <a:gd name="T76" fmla="*/ 517 w 2245"/>
                <a:gd name="T77" fmla="*/ 2 h 224"/>
                <a:gd name="T78" fmla="*/ 487 w 2245"/>
                <a:gd name="T79" fmla="*/ 190 h 224"/>
                <a:gd name="T80" fmla="*/ 428 w 2245"/>
                <a:gd name="T81" fmla="*/ 33 h 224"/>
                <a:gd name="T82" fmla="*/ 335 w 2245"/>
                <a:gd name="T83" fmla="*/ 221 h 224"/>
                <a:gd name="T84" fmla="*/ 174 w 2245"/>
                <a:gd name="T85" fmla="*/ 176 h 224"/>
                <a:gd name="T86" fmla="*/ 184 w 2245"/>
                <a:gd name="T87" fmla="*/ 191 h 224"/>
                <a:gd name="T88" fmla="*/ 205 w 2245"/>
                <a:gd name="T89" fmla="*/ 187 h 224"/>
                <a:gd name="T90" fmla="*/ 209 w 2245"/>
                <a:gd name="T91" fmla="*/ 46 h 224"/>
                <a:gd name="T92" fmla="*/ 199 w 2245"/>
                <a:gd name="T93" fmla="*/ 31 h 224"/>
                <a:gd name="T94" fmla="*/ 178 w 2245"/>
                <a:gd name="T95" fmla="*/ 36 h 224"/>
                <a:gd name="T96" fmla="*/ 139 w 2245"/>
                <a:gd name="T97" fmla="*/ 55 h 224"/>
                <a:gd name="T98" fmla="*/ 144 w 2245"/>
                <a:gd name="T99" fmla="*/ 26 h 224"/>
                <a:gd name="T100" fmla="*/ 164 w 2245"/>
                <a:gd name="T101" fmla="*/ 5 h 224"/>
                <a:gd name="T102" fmla="*/ 198 w 2245"/>
                <a:gd name="T103" fmla="*/ 0 h 224"/>
                <a:gd name="T104" fmla="*/ 227 w 2245"/>
                <a:gd name="T105" fmla="*/ 10 h 224"/>
                <a:gd name="T106" fmla="*/ 242 w 2245"/>
                <a:gd name="T107" fmla="*/ 37 h 224"/>
                <a:gd name="T108" fmla="*/ 243 w 2245"/>
                <a:gd name="T109" fmla="*/ 180 h 224"/>
                <a:gd name="T110" fmla="*/ 233 w 2245"/>
                <a:gd name="T111" fmla="*/ 205 h 224"/>
                <a:gd name="T112" fmla="*/ 209 w 2245"/>
                <a:gd name="T113" fmla="*/ 222 h 224"/>
                <a:gd name="T114" fmla="*/ 174 w 2245"/>
                <a:gd name="T115" fmla="*/ 222 h 224"/>
                <a:gd name="T116" fmla="*/ 150 w 2245"/>
                <a:gd name="T117" fmla="*/ 205 h 224"/>
                <a:gd name="T118" fmla="*/ 140 w 2245"/>
                <a:gd name="T119" fmla="*/ 175 h 224"/>
                <a:gd name="T120" fmla="*/ 35 w 2245"/>
                <a:gd name="T121" fmla="*/ 2 h 224"/>
                <a:gd name="T122" fmla="*/ 74 w 2245"/>
                <a:gd name="T123" fmla="*/ 2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5" h="224">
                  <a:moveTo>
                    <a:pt x="2166" y="152"/>
                  </a:moveTo>
                  <a:lnTo>
                    <a:pt x="2199" y="152"/>
                  </a:lnTo>
                  <a:lnTo>
                    <a:pt x="2182" y="41"/>
                  </a:lnTo>
                  <a:lnTo>
                    <a:pt x="2166" y="152"/>
                  </a:lnTo>
                  <a:close/>
                  <a:moveTo>
                    <a:pt x="2245" y="221"/>
                  </a:moveTo>
                  <a:lnTo>
                    <a:pt x="2210" y="221"/>
                  </a:lnTo>
                  <a:lnTo>
                    <a:pt x="2204" y="181"/>
                  </a:lnTo>
                  <a:lnTo>
                    <a:pt x="2162" y="181"/>
                  </a:lnTo>
                  <a:lnTo>
                    <a:pt x="2156" y="221"/>
                  </a:lnTo>
                  <a:lnTo>
                    <a:pt x="2124" y="221"/>
                  </a:lnTo>
                  <a:lnTo>
                    <a:pt x="2159" y="2"/>
                  </a:lnTo>
                  <a:lnTo>
                    <a:pt x="2210" y="2"/>
                  </a:lnTo>
                  <a:lnTo>
                    <a:pt x="2245" y="221"/>
                  </a:lnTo>
                  <a:close/>
                  <a:moveTo>
                    <a:pt x="2016" y="2"/>
                  </a:moveTo>
                  <a:lnTo>
                    <a:pt x="2122" y="2"/>
                  </a:lnTo>
                  <a:lnTo>
                    <a:pt x="2122" y="33"/>
                  </a:lnTo>
                  <a:lnTo>
                    <a:pt x="2086" y="33"/>
                  </a:lnTo>
                  <a:lnTo>
                    <a:pt x="2086" y="221"/>
                  </a:lnTo>
                  <a:lnTo>
                    <a:pt x="2052" y="221"/>
                  </a:lnTo>
                  <a:lnTo>
                    <a:pt x="2052" y="33"/>
                  </a:lnTo>
                  <a:lnTo>
                    <a:pt x="2016" y="33"/>
                  </a:lnTo>
                  <a:lnTo>
                    <a:pt x="2016" y="2"/>
                  </a:lnTo>
                  <a:close/>
                  <a:moveTo>
                    <a:pt x="1915" y="62"/>
                  </a:moveTo>
                  <a:lnTo>
                    <a:pt x="1915" y="221"/>
                  </a:lnTo>
                  <a:lnTo>
                    <a:pt x="1884" y="221"/>
                  </a:lnTo>
                  <a:lnTo>
                    <a:pt x="1884" y="2"/>
                  </a:lnTo>
                  <a:lnTo>
                    <a:pt x="1927" y="2"/>
                  </a:lnTo>
                  <a:lnTo>
                    <a:pt x="1962" y="133"/>
                  </a:lnTo>
                  <a:lnTo>
                    <a:pt x="1962" y="2"/>
                  </a:lnTo>
                  <a:lnTo>
                    <a:pt x="1993" y="2"/>
                  </a:lnTo>
                  <a:lnTo>
                    <a:pt x="1993" y="221"/>
                  </a:lnTo>
                  <a:lnTo>
                    <a:pt x="1958" y="221"/>
                  </a:lnTo>
                  <a:lnTo>
                    <a:pt x="1915" y="62"/>
                  </a:lnTo>
                  <a:close/>
                  <a:moveTo>
                    <a:pt x="1817" y="2"/>
                  </a:moveTo>
                  <a:lnTo>
                    <a:pt x="1851" y="2"/>
                  </a:lnTo>
                  <a:lnTo>
                    <a:pt x="1851" y="221"/>
                  </a:lnTo>
                  <a:lnTo>
                    <a:pt x="1817" y="221"/>
                  </a:lnTo>
                  <a:lnTo>
                    <a:pt x="1817" y="2"/>
                  </a:lnTo>
                  <a:close/>
                  <a:moveTo>
                    <a:pt x="1713" y="157"/>
                  </a:moveTo>
                  <a:lnTo>
                    <a:pt x="1736" y="2"/>
                  </a:lnTo>
                  <a:lnTo>
                    <a:pt x="1783" y="2"/>
                  </a:lnTo>
                  <a:lnTo>
                    <a:pt x="1783" y="221"/>
                  </a:lnTo>
                  <a:lnTo>
                    <a:pt x="1752" y="221"/>
                  </a:lnTo>
                  <a:lnTo>
                    <a:pt x="1752" y="64"/>
                  </a:lnTo>
                  <a:lnTo>
                    <a:pt x="1727" y="221"/>
                  </a:lnTo>
                  <a:lnTo>
                    <a:pt x="1695" y="221"/>
                  </a:lnTo>
                  <a:lnTo>
                    <a:pt x="1669" y="66"/>
                  </a:lnTo>
                  <a:lnTo>
                    <a:pt x="1669" y="221"/>
                  </a:lnTo>
                  <a:lnTo>
                    <a:pt x="1640" y="221"/>
                  </a:lnTo>
                  <a:lnTo>
                    <a:pt x="1640" y="2"/>
                  </a:lnTo>
                  <a:lnTo>
                    <a:pt x="1687" y="2"/>
                  </a:lnTo>
                  <a:lnTo>
                    <a:pt x="1713" y="157"/>
                  </a:lnTo>
                  <a:close/>
                  <a:moveTo>
                    <a:pt x="1572" y="2"/>
                  </a:moveTo>
                  <a:lnTo>
                    <a:pt x="1607" y="2"/>
                  </a:lnTo>
                  <a:lnTo>
                    <a:pt x="1607" y="221"/>
                  </a:lnTo>
                  <a:lnTo>
                    <a:pt x="1572" y="221"/>
                  </a:lnTo>
                  <a:lnTo>
                    <a:pt x="1572" y="2"/>
                  </a:lnTo>
                  <a:close/>
                  <a:moveTo>
                    <a:pt x="1471" y="171"/>
                  </a:moveTo>
                  <a:lnTo>
                    <a:pt x="1473" y="176"/>
                  </a:lnTo>
                  <a:lnTo>
                    <a:pt x="1474" y="180"/>
                  </a:lnTo>
                  <a:lnTo>
                    <a:pt x="1474" y="183"/>
                  </a:lnTo>
                  <a:lnTo>
                    <a:pt x="1475" y="185"/>
                  </a:lnTo>
                  <a:lnTo>
                    <a:pt x="1477" y="187"/>
                  </a:lnTo>
                  <a:lnTo>
                    <a:pt x="1479" y="189"/>
                  </a:lnTo>
                  <a:lnTo>
                    <a:pt x="1482" y="191"/>
                  </a:lnTo>
                  <a:lnTo>
                    <a:pt x="1486" y="192"/>
                  </a:lnTo>
                  <a:lnTo>
                    <a:pt x="1489" y="192"/>
                  </a:lnTo>
                  <a:lnTo>
                    <a:pt x="1494" y="192"/>
                  </a:lnTo>
                  <a:lnTo>
                    <a:pt x="1497" y="191"/>
                  </a:lnTo>
                  <a:lnTo>
                    <a:pt x="1500" y="189"/>
                  </a:lnTo>
                  <a:lnTo>
                    <a:pt x="1503" y="187"/>
                  </a:lnTo>
                  <a:lnTo>
                    <a:pt x="1505" y="185"/>
                  </a:lnTo>
                  <a:lnTo>
                    <a:pt x="1506" y="180"/>
                  </a:lnTo>
                  <a:lnTo>
                    <a:pt x="1507" y="176"/>
                  </a:lnTo>
                  <a:lnTo>
                    <a:pt x="1507" y="171"/>
                  </a:lnTo>
                  <a:lnTo>
                    <a:pt x="1507" y="52"/>
                  </a:lnTo>
                  <a:lnTo>
                    <a:pt x="1507" y="46"/>
                  </a:lnTo>
                  <a:lnTo>
                    <a:pt x="1506" y="42"/>
                  </a:lnTo>
                  <a:lnTo>
                    <a:pt x="1505" y="40"/>
                  </a:lnTo>
                  <a:lnTo>
                    <a:pt x="1505" y="39"/>
                  </a:lnTo>
                  <a:lnTo>
                    <a:pt x="1503" y="36"/>
                  </a:lnTo>
                  <a:lnTo>
                    <a:pt x="1500" y="33"/>
                  </a:lnTo>
                  <a:lnTo>
                    <a:pt x="1497" y="31"/>
                  </a:lnTo>
                  <a:lnTo>
                    <a:pt x="1494" y="30"/>
                  </a:lnTo>
                  <a:lnTo>
                    <a:pt x="1489" y="30"/>
                  </a:lnTo>
                  <a:lnTo>
                    <a:pt x="1486" y="30"/>
                  </a:lnTo>
                  <a:lnTo>
                    <a:pt x="1482" y="31"/>
                  </a:lnTo>
                  <a:lnTo>
                    <a:pt x="1479" y="33"/>
                  </a:lnTo>
                  <a:lnTo>
                    <a:pt x="1477" y="36"/>
                  </a:lnTo>
                  <a:lnTo>
                    <a:pt x="1475" y="39"/>
                  </a:lnTo>
                  <a:lnTo>
                    <a:pt x="1474" y="42"/>
                  </a:lnTo>
                  <a:lnTo>
                    <a:pt x="1473" y="46"/>
                  </a:lnTo>
                  <a:lnTo>
                    <a:pt x="1471" y="52"/>
                  </a:lnTo>
                  <a:lnTo>
                    <a:pt x="1471" y="171"/>
                  </a:lnTo>
                  <a:close/>
                  <a:moveTo>
                    <a:pt x="1438" y="55"/>
                  </a:moveTo>
                  <a:lnTo>
                    <a:pt x="1438" y="48"/>
                  </a:lnTo>
                  <a:lnTo>
                    <a:pt x="1439" y="42"/>
                  </a:lnTo>
                  <a:lnTo>
                    <a:pt x="1440" y="37"/>
                  </a:lnTo>
                  <a:lnTo>
                    <a:pt x="1440" y="33"/>
                  </a:lnTo>
                  <a:lnTo>
                    <a:pt x="1441" y="31"/>
                  </a:lnTo>
                  <a:lnTo>
                    <a:pt x="1443" y="26"/>
                  </a:lnTo>
                  <a:lnTo>
                    <a:pt x="1445" y="22"/>
                  </a:lnTo>
                  <a:lnTo>
                    <a:pt x="1448" y="18"/>
                  </a:lnTo>
                  <a:lnTo>
                    <a:pt x="1451" y="13"/>
                  </a:lnTo>
                  <a:lnTo>
                    <a:pt x="1455" y="10"/>
                  </a:lnTo>
                  <a:lnTo>
                    <a:pt x="1459" y="7"/>
                  </a:lnTo>
                  <a:lnTo>
                    <a:pt x="1463" y="5"/>
                  </a:lnTo>
                  <a:lnTo>
                    <a:pt x="1467" y="3"/>
                  </a:lnTo>
                  <a:lnTo>
                    <a:pt x="1473" y="1"/>
                  </a:lnTo>
                  <a:lnTo>
                    <a:pt x="1478" y="0"/>
                  </a:lnTo>
                  <a:lnTo>
                    <a:pt x="1484" y="0"/>
                  </a:lnTo>
                  <a:lnTo>
                    <a:pt x="1489" y="0"/>
                  </a:lnTo>
                  <a:lnTo>
                    <a:pt x="1496" y="0"/>
                  </a:lnTo>
                  <a:lnTo>
                    <a:pt x="1502" y="0"/>
                  </a:lnTo>
                  <a:lnTo>
                    <a:pt x="1507" y="1"/>
                  </a:lnTo>
                  <a:lnTo>
                    <a:pt x="1513" y="3"/>
                  </a:lnTo>
                  <a:lnTo>
                    <a:pt x="1517" y="5"/>
                  </a:lnTo>
                  <a:lnTo>
                    <a:pt x="1521" y="7"/>
                  </a:lnTo>
                  <a:lnTo>
                    <a:pt x="1525" y="10"/>
                  </a:lnTo>
                  <a:lnTo>
                    <a:pt x="1529" y="13"/>
                  </a:lnTo>
                  <a:lnTo>
                    <a:pt x="1532" y="18"/>
                  </a:lnTo>
                  <a:lnTo>
                    <a:pt x="1535" y="22"/>
                  </a:lnTo>
                  <a:lnTo>
                    <a:pt x="1537" y="26"/>
                  </a:lnTo>
                  <a:lnTo>
                    <a:pt x="1539" y="31"/>
                  </a:lnTo>
                  <a:lnTo>
                    <a:pt x="1540" y="37"/>
                  </a:lnTo>
                  <a:lnTo>
                    <a:pt x="1541" y="42"/>
                  </a:lnTo>
                  <a:lnTo>
                    <a:pt x="1542" y="48"/>
                  </a:lnTo>
                  <a:lnTo>
                    <a:pt x="1542" y="55"/>
                  </a:lnTo>
                  <a:lnTo>
                    <a:pt x="1542" y="168"/>
                  </a:lnTo>
                  <a:lnTo>
                    <a:pt x="1542" y="175"/>
                  </a:lnTo>
                  <a:lnTo>
                    <a:pt x="1541" y="180"/>
                  </a:lnTo>
                  <a:lnTo>
                    <a:pt x="1540" y="187"/>
                  </a:lnTo>
                  <a:lnTo>
                    <a:pt x="1539" y="189"/>
                  </a:lnTo>
                  <a:lnTo>
                    <a:pt x="1539" y="192"/>
                  </a:lnTo>
                  <a:lnTo>
                    <a:pt x="1537" y="196"/>
                  </a:lnTo>
                  <a:lnTo>
                    <a:pt x="1535" y="202"/>
                  </a:lnTo>
                  <a:lnTo>
                    <a:pt x="1532" y="205"/>
                  </a:lnTo>
                  <a:lnTo>
                    <a:pt x="1529" y="209"/>
                  </a:lnTo>
                  <a:lnTo>
                    <a:pt x="1525" y="212"/>
                  </a:lnTo>
                  <a:lnTo>
                    <a:pt x="1521" y="215"/>
                  </a:lnTo>
                  <a:lnTo>
                    <a:pt x="1517" y="217"/>
                  </a:lnTo>
                  <a:lnTo>
                    <a:pt x="1513" y="220"/>
                  </a:lnTo>
                  <a:lnTo>
                    <a:pt x="1507" y="222"/>
                  </a:lnTo>
                  <a:lnTo>
                    <a:pt x="1502" y="223"/>
                  </a:lnTo>
                  <a:lnTo>
                    <a:pt x="1496" y="223"/>
                  </a:lnTo>
                  <a:lnTo>
                    <a:pt x="1489" y="224"/>
                  </a:lnTo>
                  <a:lnTo>
                    <a:pt x="1484" y="223"/>
                  </a:lnTo>
                  <a:lnTo>
                    <a:pt x="1478" y="223"/>
                  </a:lnTo>
                  <a:lnTo>
                    <a:pt x="1473" y="222"/>
                  </a:lnTo>
                  <a:lnTo>
                    <a:pt x="1467" y="220"/>
                  </a:lnTo>
                  <a:lnTo>
                    <a:pt x="1463" y="217"/>
                  </a:lnTo>
                  <a:lnTo>
                    <a:pt x="1459" y="215"/>
                  </a:lnTo>
                  <a:lnTo>
                    <a:pt x="1455" y="212"/>
                  </a:lnTo>
                  <a:lnTo>
                    <a:pt x="1451" y="209"/>
                  </a:lnTo>
                  <a:lnTo>
                    <a:pt x="1448" y="205"/>
                  </a:lnTo>
                  <a:lnTo>
                    <a:pt x="1445" y="202"/>
                  </a:lnTo>
                  <a:lnTo>
                    <a:pt x="1443" y="196"/>
                  </a:lnTo>
                  <a:lnTo>
                    <a:pt x="1441" y="192"/>
                  </a:lnTo>
                  <a:lnTo>
                    <a:pt x="1440" y="187"/>
                  </a:lnTo>
                  <a:lnTo>
                    <a:pt x="1439" y="180"/>
                  </a:lnTo>
                  <a:lnTo>
                    <a:pt x="1438" y="175"/>
                  </a:lnTo>
                  <a:lnTo>
                    <a:pt x="1438" y="168"/>
                  </a:lnTo>
                  <a:lnTo>
                    <a:pt x="1438" y="55"/>
                  </a:lnTo>
                  <a:close/>
                  <a:moveTo>
                    <a:pt x="1311" y="2"/>
                  </a:moveTo>
                  <a:lnTo>
                    <a:pt x="1418" y="2"/>
                  </a:lnTo>
                  <a:lnTo>
                    <a:pt x="1418" y="33"/>
                  </a:lnTo>
                  <a:lnTo>
                    <a:pt x="1382" y="33"/>
                  </a:lnTo>
                  <a:lnTo>
                    <a:pt x="1382" y="221"/>
                  </a:lnTo>
                  <a:lnTo>
                    <a:pt x="1347" y="221"/>
                  </a:lnTo>
                  <a:lnTo>
                    <a:pt x="1347" y="33"/>
                  </a:lnTo>
                  <a:lnTo>
                    <a:pt x="1311" y="33"/>
                  </a:lnTo>
                  <a:lnTo>
                    <a:pt x="1311" y="2"/>
                  </a:lnTo>
                  <a:close/>
                  <a:moveTo>
                    <a:pt x="1232" y="94"/>
                  </a:moveTo>
                  <a:lnTo>
                    <a:pt x="1280" y="94"/>
                  </a:lnTo>
                  <a:lnTo>
                    <a:pt x="1280" y="125"/>
                  </a:lnTo>
                  <a:lnTo>
                    <a:pt x="1232" y="125"/>
                  </a:lnTo>
                  <a:lnTo>
                    <a:pt x="1232" y="190"/>
                  </a:lnTo>
                  <a:lnTo>
                    <a:pt x="1292" y="190"/>
                  </a:lnTo>
                  <a:lnTo>
                    <a:pt x="1292" y="221"/>
                  </a:lnTo>
                  <a:lnTo>
                    <a:pt x="1198" y="221"/>
                  </a:lnTo>
                  <a:lnTo>
                    <a:pt x="1198" y="2"/>
                  </a:lnTo>
                  <a:lnTo>
                    <a:pt x="1292" y="2"/>
                  </a:lnTo>
                  <a:lnTo>
                    <a:pt x="1292" y="33"/>
                  </a:lnTo>
                  <a:lnTo>
                    <a:pt x="1232" y="33"/>
                  </a:lnTo>
                  <a:lnTo>
                    <a:pt x="1232" y="94"/>
                  </a:lnTo>
                  <a:close/>
                  <a:moveTo>
                    <a:pt x="1106" y="134"/>
                  </a:moveTo>
                  <a:lnTo>
                    <a:pt x="1095" y="154"/>
                  </a:lnTo>
                  <a:lnTo>
                    <a:pt x="1095" y="221"/>
                  </a:lnTo>
                  <a:lnTo>
                    <a:pt x="1060" y="221"/>
                  </a:lnTo>
                  <a:lnTo>
                    <a:pt x="1060" y="2"/>
                  </a:lnTo>
                  <a:lnTo>
                    <a:pt x="1095" y="2"/>
                  </a:lnTo>
                  <a:lnTo>
                    <a:pt x="1095" y="97"/>
                  </a:lnTo>
                  <a:lnTo>
                    <a:pt x="1140" y="2"/>
                  </a:lnTo>
                  <a:lnTo>
                    <a:pt x="1174" y="2"/>
                  </a:lnTo>
                  <a:lnTo>
                    <a:pt x="1127" y="99"/>
                  </a:lnTo>
                  <a:lnTo>
                    <a:pt x="1174" y="221"/>
                  </a:lnTo>
                  <a:lnTo>
                    <a:pt x="1139" y="221"/>
                  </a:lnTo>
                  <a:lnTo>
                    <a:pt x="1106" y="134"/>
                  </a:lnTo>
                  <a:close/>
                  <a:moveTo>
                    <a:pt x="993" y="2"/>
                  </a:moveTo>
                  <a:lnTo>
                    <a:pt x="1027" y="2"/>
                  </a:lnTo>
                  <a:lnTo>
                    <a:pt x="1027" y="221"/>
                  </a:lnTo>
                  <a:lnTo>
                    <a:pt x="993" y="221"/>
                  </a:lnTo>
                  <a:lnTo>
                    <a:pt x="993" y="2"/>
                  </a:lnTo>
                  <a:close/>
                  <a:moveTo>
                    <a:pt x="926" y="2"/>
                  </a:moveTo>
                  <a:lnTo>
                    <a:pt x="961" y="2"/>
                  </a:lnTo>
                  <a:lnTo>
                    <a:pt x="961" y="221"/>
                  </a:lnTo>
                  <a:lnTo>
                    <a:pt x="926" y="221"/>
                  </a:lnTo>
                  <a:lnTo>
                    <a:pt x="926" y="2"/>
                  </a:lnTo>
                  <a:close/>
                  <a:moveTo>
                    <a:pt x="812" y="2"/>
                  </a:moveTo>
                  <a:lnTo>
                    <a:pt x="846" y="2"/>
                  </a:lnTo>
                  <a:lnTo>
                    <a:pt x="846" y="190"/>
                  </a:lnTo>
                  <a:lnTo>
                    <a:pt x="903" y="190"/>
                  </a:lnTo>
                  <a:lnTo>
                    <a:pt x="903" y="221"/>
                  </a:lnTo>
                  <a:lnTo>
                    <a:pt x="812" y="221"/>
                  </a:lnTo>
                  <a:lnTo>
                    <a:pt x="812" y="2"/>
                  </a:lnTo>
                  <a:close/>
                  <a:moveTo>
                    <a:pt x="744" y="2"/>
                  </a:moveTo>
                  <a:lnTo>
                    <a:pt x="779" y="2"/>
                  </a:lnTo>
                  <a:lnTo>
                    <a:pt x="779" y="221"/>
                  </a:lnTo>
                  <a:lnTo>
                    <a:pt x="744" y="221"/>
                  </a:lnTo>
                  <a:lnTo>
                    <a:pt x="744" y="2"/>
                  </a:lnTo>
                  <a:close/>
                  <a:moveTo>
                    <a:pt x="631" y="2"/>
                  </a:moveTo>
                  <a:lnTo>
                    <a:pt x="665" y="2"/>
                  </a:lnTo>
                  <a:lnTo>
                    <a:pt x="665" y="190"/>
                  </a:lnTo>
                  <a:lnTo>
                    <a:pt x="722" y="190"/>
                  </a:lnTo>
                  <a:lnTo>
                    <a:pt x="722" y="221"/>
                  </a:lnTo>
                  <a:lnTo>
                    <a:pt x="631" y="221"/>
                  </a:lnTo>
                  <a:lnTo>
                    <a:pt x="631" y="2"/>
                  </a:lnTo>
                  <a:close/>
                  <a:moveTo>
                    <a:pt x="517" y="2"/>
                  </a:moveTo>
                  <a:lnTo>
                    <a:pt x="550" y="2"/>
                  </a:lnTo>
                  <a:lnTo>
                    <a:pt x="550" y="190"/>
                  </a:lnTo>
                  <a:lnTo>
                    <a:pt x="607" y="190"/>
                  </a:lnTo>
                  <a:lnTo>
                    <a:pt x="607" y="221"/>
                  </a:lnTo>
                  <a:lnTo>
                    <a:pt x="517" y="221"/>
                  </a:lnTo>
                  <a:lnTo>
                    <a:pt x="517" y="2"/>
                  </a:lnTo>
                  <a:close/>
                  <a:moveTo>
                    <a:pt x="428" y="94"/>
                  </a:moveTo>
                  <a:lnTo>
                    <a:pt x="475" y="94"/>
                  </a:lnTo>
                  <a:lnTo>
                    <a:pt x="475" y="125"/>
                  </a:lnTo>
                  <a:lnTo>
                    <a:pt x="428" y="125"/>
                  </a:lnTo>
                  <a:lnTo>
                    <a:pt x="428" y="190"/>
                  </a:lnTo>
                  <a:lnTo>
                    <a:pt x="487" y="190"/>
                  </a:lnTo>
                  <a:lnTo>
                    <a:pt x="487" y="221"/>
                  </a:lnTo>
                  <a:lnTo>
                    <a:pt x="394" y="221"/>
                  </a:lnTo>
                  <a:lnTo>
                    <a:pt x="394" y="2"/>
                  </a:lnTo>
                  <a:lnTo>
                    <a:pt x="487" y="2"/>
                  </a:lnTo>
                  <a:lnTo>
                    <a:pt x="487" y="33"/>
                  </a:lnTo>
                  <a:lnTo>
                    <a:pt x="428" y="33"/>
                  </a:lnTo>
                  <a:lnTo>
                    <a:pt x="428" y="94"/>
                  </a:lnTo>
                  <a:close/>
                  <a:moveTo>
                    <a:pt x="264" y="2"/>
                  </a:moveTo>
                  <a:lnTo>
                    <a:pt x="371" y="2"/>
                  </a:lnTo>
                  <a:lnTo>
                    <a:pt x="371" y="33"/>
                  </a:lnTo>
                  <a:lnTo>
                    <a:pt x="335" y="33"/>
                  </a:lnTo>
                  <a:lnTo>
                    <a:pt x="335" y="221"/>
                  </a:lnTo>
                  <a:lnTo>
                    <a:pt x="300" y="221"/>
                  </a:lnTo>
                  <a:lnTo>
                    <a:pt x="300" y="33"/>
                  </a:lnTo>
                  <a:lnTo>
                    <a:pt x="264" y="33"/>
                  </a:lnTo>
                  <a:lnTo>
                    <a:pt x="264" y="2"/>
                  </a:lnTo>
                  <a:close/>
                  <a:moveTo>
                    <a:pt x="174" y="171"/>
                  </a:moveTo>
                  <a:lnTo>
                    <a:pt x="174" y="176"/>
                  </a:lnTo>
                  <a:lnTo>
                    <a:pt x="175" y="180"/>
                  </a:lnTo>
                  <a:lnTo>
                    <a:pt x="176" y="183"/>
                  </a:lnTo>
                  <a:lnTo>
                    <a:pt x="177" y="185"/>
                  </a:lnTo>
                  <a:lnTo>
                    <a:pt x="178" y="187"/>
                  </a:lnTo>
                  <a:lnTo>
                    <a:pt x="181" y="189"/>
                  </a:lnTo>
                  <a:lnTo>
                    <a:pt x="184" y="191"/>
                  </a:lnTo>
                  <a:lnTo>
                    <a:pt x="188" y="192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9" y="191"/>
                  </a:lnTo>
                  <a:lnTo>
                    <a:pt x="202" y="189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6"/>
                  </a:lnTo>
                  <a:lnTo>
                    <a:pt x="210" y="171"/>
                  </a:lnTo>
                  <a:lnTo>
                    <a:pt x="210" y="52"/>
                  </a:lnTo>
                  <a:lnTo>
                    <a:pt x="209" y="46"/>
                  </a:lnTo>
                  <a:lnTo>
                    <a:pt x="209" y="42"/>
                  </a:lnTo>
                  <a:lnTo>
                    <a:pt x="208" y="40"/>
                  </a:lnTo>
                  <a:lnTo>
                    <a:pt x="207" y="39"/>
                  </a:lnTo>
                  <a:lnTo>
                    <a:pt x="205" y="36"/>
                  </a:lnTo>
                  <a:lnTo>
                    <a:pt x="202" y="33"/>
                  </a:lnTo>
                  <a:lnTo>
                    <a:pt x="199" y="31"/>
                  </a:lnTo>
                  <a:lnTo>
                    <a:pt x="196" y="30"/>
                  </a:lnTo>
                  <a:lnTo>
                    <a:pt x="192" y="30"/>
                  </a:lnTo>
                  <a:lnTo>
                    <a:pt x="188" y="30"/>
                  </a:lnTo>
                  <a:lnTo>
                    <a:pt x="184" y="31"/>
                  </a:lnTo>
                  <a:lnTo>
                    <a:pt x="181" y="33"/>
                  </a:lnTo>
                  <a:lnTo>
                    <a:pt x="178" y="36"/>
                  </a:lnTo>
                  <a:lnTo>
                    <a:pt x="177" y="39"/>
                  </a:lnTo>
                  <a:lnTo>
                    <a:pt x="175" y="42"/>
                  </a:lnTo>
                  <a:lnTo>
                    <a:pt x="174" y="46"/>
                  </a:lnTo>
                  <a:lnTo>
                    <a:pt x="174" y="52"/>
                  </a:lnTo>
                  <a:lnTo>
                    <a:pt x="174" y="171"/>
                  </a:lnTo>
                  <a:close/>
                  <a:moveTo>
                    <a:pt x="139" y="55"/>
                  </a:moveTo>
                  <a:lnTo>
                    <a:pt x="140" y="48"/>
                  </a:lnTo>
                  <a:lnTo>
                    <a:pt x="140" y="42"/>
                  </a:lnTo>
                  <a:lnTo>
                    <a:pt x="141" y="37"/>
                  </a:lnTo>
                  <a:lnTo>
                    <a:pt x="142" y="33"/>
                  </a:lnTo>
                  <a:lnTo>
                    <a:pt x="143" y="31"/>
                  </a:lnTo>
                  <a:lnTo>
                    <a:pt x="144" y="26"/>
                  </a:lnTo>
                  <a:lnTo>
                    <a:pt x="147" y="22"/>
                  </a:lnTo>
                  <a:lnTo>
                    <a:pt x="150" y="18"/>
                  </a:lnTo>
                  <a:lnTo>
                    <a:pt x="153" y="13"/>
                  </a:lnTo>
                  <a:lnTo>
                    <a:pt x="156" y="10"/>
                  </a:lnTo>
                  <a:lnTo>
                    <a:pt x="160" y="7"/>
                  </a:lnTo>
                  <a:lnTo>
                    <a:pt x="164" y="5"/>
                  </a:lnTo>
                  <a:lnTo>
                    <a:pt x="170" y="3"/>
                  </a:lnTo>
                  <a:lnTo>
                    <a:pt x="174" y="1"/>
                  </a:lnTo>
                  <a:lnTo>
                    <a:pt x="179" y="0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0"/>
                  </a:lnTo>
                  <a:lnTo>
                    <a:pt x="203" y="0"/>
                  </a:lnTo>
                  <a:lnTo>
                    <a:pt x="209" y="1"/>
                  </a:lnTo>
                  <a:lnTo>
                    <a:pt x="214" y="3"/>
                  </a:lnTo>
                  <a:lnTo>
                    <a:pt x="218" y="5"/>
                  </a:lnTo>
                  <a:lnTo>
                    <a:pt x="224" y="7"/>
                  </a:lnTo>
                  <a:lnTo>
                    <a:pt x="227" y="10"/>
                  </a:lnTo>
                  <a:lnTo>
                    <a:pt x="231" y="13"/>
                  </a:lnTo>
                  <a:lnTo>
                    <a:pt x="233" y="18"/>
                  </a:lnTo>
                  <a:lnTo>
                    <a:pt x="236" y="22"/>
                  </a:lnTo>
                  <a:lnTo>
                    <a:pt x="238" y="26"/>
                  </a:lnTo>
                  <a:lnTo>
                    <a:pt x="240" y="31"/>
                  </a:lnTo>
                  <a:lnTo>
                    <a:pt x="242" y="37"/>
                  </a:lnTo>
                  <a:lnTo>
                    <a:pt x="243" y="42"/>
                  </a:lnTo>
                  <a:lnTo>
                    <a:pt x="244" y="48"/>
                  </a:lnTo>
                  <a:lnTo>
                    <a:pt x="244" y="55"/>
                  </a:lnTo>
                  <a:lnTo>
                    <a:pt x="244" y="168"/>
                  </a:lnTo>
                  <a:lnTo>
                    <a:pt x="244" y="175"/>
                  </a:lnTo>
                  <a:lnTo>
                    <a:pt x="243" y="180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0" y="192"/>
                  </a:lnTo>
                  <a:lnTo>
                    <a:pt x="238" y="196"/>
                  </a:lnTo>
                  <a:lnTo>
                    <a:pt x="236" y="202"/>
                  </a:lnTo>
                  <a:lnTo>
                    <a:pt x="233" y="205"/>
                  </a:lnTo>
                  <a:lnTo>
                    <a:pt x="231" y="209"/>
                  </a:lnTo>
                  <a:lnTo>
                    <a:pt x="227" y="212"/>
                  </a:lnTo>
                  <a:lnTo>
                    <a:pt x="224" y="215"/>
                  </a:lnTo>
                  <a:lnTo>
                    <a:pt x="218" y="217"/>
                  </a:lnTo>
                  <a:lnTo>
                    <a:pt x="214" y="220"/>
                  </a:lnTo>
                  <a:lnTo>
                    <a:pt x="209" y="222"/>
                  </a:lnTo>
                  <a:lnTo>
                    <a:pt x="203" y="223"/>
                  </a:lnTo>
                  <a:lnTo>
                    <a:pt x="198" y="223"/>
                  </a:lnTo>
                  <a:lnTo>
                    <a:pt x="192" y="224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4" y="222"/>
                  </a:lnTo>
                  <a:lnTo>
                    <a:pt x="170" y="220"/>
                  </a:lnTo>
                  <a:lnTo>
                    <a:pt x="164" y="217"/>
                  </a:lnTo>
                  <a:lnTo>
                    <a:pt x="160" y="215"/>
                  </a:lnTo>
                  <a:lnTo>
                    <a:pt x="156" y="212"/>
                  </a:lnTo>
                  <a:lnTo>
                    <a:pt x="153" y="209"/>
                  </a:lnTo>
                  <a:lnTo>
                    <a:pt x="150" y="205"/>
                  </a:lnTo>
                  <a:lnTo>
                    <a:pt x="147" y="202"/>
                  </a:lnTo>
                  <a:lnTo>
                    <a:pt x="144" y="196"/>
                  </a:lnTo>
                  <a:lnTo>
                    <a:pt x="143" y="192"/>
                  </a:lnTo>
                  <a:lnTo>
                    <a:pt x="141" y="187"/>
                  </a:lnTo>
                  <a:lnTo>
                    <a:pt x="140" y="180"/>
                  </a:lnTo>
                  <a:lnTo>
                    <a:pt x="140" y="175"/>
                  </a:lnTo>
                  <a:lnTo>
                    <a:pt x="139" y="168"/>
                  </a:lnTo>
                  <a:lnTo>
                    <a:pt x="139" y="55"/>
                  </a:lnTo>
                  <a:close/>
                  <a:moveTo>
                    <a:pt x="35" y="221"/>
                  </a:moveTo>
                  <a:lnTo>
                    <a:pt x="0" y="221"/>
                  </a:lnTo>
                  <a:lnTo>
                    <a:pt x="0" y="2"/>
                  </a:lnTo>
                  <a:lnTo>
                    <a:pt x="35" y="2"/>
                  </a:lnTo>
                  <a:lnTo>
                    <a:pt x="35" y="96"/>
                  </a:lnTo>
                  <a:lnTo>
                    <a:pt x="74" y="96"/>
                  </a:lnTo>
                  <a:lnTo>
                    <a:pt x="74" y="2"/>
                  </a:lnTo>
                  <a:lnTo>
                    <a:pt x="109" y="2"/>
                  </a:lnTo>
                  <a:lnTo>
                    <a:pt x="109" y="221"/>
                  </a:lnTo>
                  <a:lnTo>
                    <a:pt x="74" y="221"/>
                  </a:lnTo>
                  <a:lnTo>
                    <a:pt x="74" y="126"/>
                  </a:lnTo>
                  <a:lnTo>
                    <a:pt x="35" y="126"/>
                  </a:lnTo>
                  <a:lnTo>
                    <a:pt x="35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59786551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71FAFC-D848-42D2-B714-300B535D277F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2756837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E76D2A-52E1-4AC8-96D4-D90C626DA690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462677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CEEFA5BE-1A7D-4B95-AA2C-01A3E2A693D3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9447008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72A6B99-A3E8-4D5A-8AA2-20780BD56EA8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9" name="Round Same Side Corner Rectangle 8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0" name="Freeform 40"/>
            <p:cNvSpPr>
              <a:spLocks noEditPoints="1"/>
            </p:cNvSpPr>
            <p:nvPr userDrawn="1"/>
          </p:nvSpPr>
          <p:spPr bwMode="auto">
            <a:xfrm>
              <a:off x="8786797" y="6473684"/>
              <a:ext cx="2115771" cy="211200"/>
            </a:xfrm>
            <a:custGeom>
              <a:avLst/>
              <a:gdLst>
                <a:gd name="T0" fmla="*/ 2210 w 2245"/>
                <a:gd name="T1" fmla="*/ 221 h 224"/>
                <a:gd name="T2" fmla="*/ 2210 w 2245"/>
                <a:gd name="T3" fmla="*/ 2 h 224"/>
                <a:gd name="T4" fmla="*/ 2086 w 2245"/>
                <a:gd name="T5" fmla="*/ 221 h 224"/>
                <a:gd name="T6" fmla="*/ 1915 w 2245"/>
                <a:gd name="T7" fmla="*/ 221 h 224"/>
                <a:gd name="T8" fmla="*/ 1993 w 2245"/>
                <a:gd name="T9" fmla="*/ 2 h 224"/>
                <a:gd name="T10" fmla="*/ 1851 w 2245"/>
                <a:gd name="T11" fmla="*/ 221 h 224"/>
                <a:gd name="T12" fmla="*/ 1783 w 2245"/>
                <a:gd name="T13" fmla="*/ 221 h 224"/>
                <a:gd name="T14" fmla="*/ 1669 w 2245"/>
                <a:gd name="T15" fmla="*/ 221 h 224"/>
                <a:gd name="T16" fmla="*/ 1607 w 2245"/>
                <a:gd name="T17" fmla="*/ 2 h 224"/>
                <a:gd name="T18" fmla="*/ 1474 w 2245"/>
                <a:gd name="T19" fmla="*/ 180 h 224"/>
                <a:gd name="T20" fmla="*/ 1486 w 2245"/>
                <a:gd name="T21" fmla="*/ 192 h 224"/>
                <a:gd name="T22" fmla="*/ 1505 w 2245"/>
                <a:gd name="T23" fmla="*/ 185 h 224"/>
                <a:gd name="T24" fmla="*/ 1506 w 2245"/>
                <a:gd name="T25" fmla="*/ 42 h 224"/>
                <a:gd name="T26" fmla="*/ 1494 w 2245"/>
                <a:gd name="T27" fmla="*/ 30 h 224"/>
                <a:gd name="T28" fmla="*/ 1475 w 2245"/>
                <a:gd name="T29" fmla="*/ 39 h 224"/>
                <a:gd name="T30" fmla="*/ 1438 w 2245"/>
                <a:gd name="T31" fmla="*/ 48 h 224"/>
                <a:gd name="T32" fmla="*/ 1445 w 2245"/>
                <a:gd name="T33" fmla="*/ 22 h 224"/>
                <a:gd name="T34" fmla="*/ 1467 w 2245"/>
                <a:gd name="T35" fmla="*/ 3 h 224"/>
                <a:gd name="T36" fmla="*/ 1502 w 2245"/>
                <a:gd name="T37" fmla="*/ 0 h 224"/>
                <a:gd name="T38" fmla="*/ 1529 w 2245"/>
                <a:gd name="T39" fmla="*/ 13 h 224"/>
                <a:gd name="T40" fmla="*/ 1541 w 2245"/>
                <a:gd name="T41" fmla="*/ 42 h 224"/>
                <a:gd name="T42" fmla="*/ 1540 w 2245"/>
                <a:gd name="T43" fmla="*/ 187 h 224"/>
                <a:gd name="T44" fmla="*/ 1529 w 2245"/>
                <a:gd name="T45" fmla="*/ 209 h 224"/>
                <a:gd name="T46" fmla="*/ 1502 w 2245"/>
                <a:gd name="T47" fmla="*/ 223 h 224"/>
                <a:gd name="T48" fmla="*/ 1467 w 2245"/>
                <a:gd name="T49" fmla="*/ 220 h 224"/>
                <a:gd name="T50" fmla="*/ 1445 w 2245"/>
                <a:gd name="T51" fmla="*/ 202 h 224"/>
                <a:gd name="T52" fmla="*/ 1438 w 2245"/>
                <a:gd name="T53" fmla="*/ 168 h 224"/>
                <a:gd name="T54" fmla="*/ 1382 w 2245"/>
                <a:gd name="T55" fmla="*/ 221 h 224"/>
                <a:gd name="T56" fmla="*/ 1280 w 2245"/>
                <a:gd name="T57" fmla="*/ 94 h 224"/>
                <a:gd name="T58" fmla="*/ 1198 w 2245"/>
                <a:gd name="T59" fmla="*/ 221 h 224"/>
                <a:gd name="T60" fmla="*/ 1106 w 2245"/>
                <a:gd name="T61" fmla="*/ 134 h 224"/>
                <a:gd name="T62" fmla="*/ 1095 w 2245"/>
                <a:gd name="T63" fmla="*/ 97 h 224"/>
                <a:gd name="T64" fmla="*/ 1106 w 2245"/>
                <a:gd name="T65" fmla="*/ 134 h 224"/>
                <a:gd name="T66" fmla="*/ 926 w 2245"/>
                <a:gd name="T67" fmla="*/ 2 h 224"/>
                <a:gd name="T68" fmla="*/ 846 w 2245"/>
                <a:gd name="T69" fmla="*/ 2 h 224"/>
                <a:gd name="T70" fmla="*/ 744 w 2245"/>
                <a:gd name="T71" fmla="*/ 2 h 224"/>
                <a:gd name="T72" fmla="*/ 665 w 2245"/>
                <a:gd name="T73" fmla="*/ 2 h 224"/>
                <a:gd name="T74" fmla="*/ 517 w 2245"/>
                <a:gd name="T75" fmla="*/ 2 h 224"/>
                <a:gd name="T76" fmla="*/ 517 w 2245"/>
                <a:gd name="T77" fmla="*/ 2 h 224"/>
                <a:gd name="T78" fmla="*/ 487 w 2245"/>
                <a:gd name="T79" fmla="*/ 190 h 224"/>
                <a:gd name="T80" fmla="*/ 428 w 2245"/>
                <a:gd name="T81" fmla="*/ 33 h 224"/>
                <a:gd name="T82" fmla="*/ 335 w 2245"/>
                <a:gd name="T83" fmla="*/ 221 h 224"/>
                <a:gd name="T84" fmla="*/ 174 w 2245"/>
                <a:gd name="T85" fmla="*/ 176 h 224"/>
                <a:gd name="T86" fmla="*/ 184 w 2245"/>
                <a:gd name="T87" fmla="*/ 191 h 224"/>
                <a:gd name="T88" fmla="*/ 205 w 2245"/>
                <a:gd name="T89" fmla="*/ 187 h 224"/>
                <a:gd name="T90" fmla="*/ 209 w 2245"/>
                <a:gd name="T91" fmla="*/ 46 h 224"/>
                <a:gd name="T92" fmla="*/ 199 w 2245"/>
                <a:gd name="T93" fmla="*/ 31 h 224"/>
                <a:gd name="T94" fmla="*/ 178 w 2245"/>
                <a:gd name="T95" fmla="*/ 36 h 224"/>
                <a:gd name="T96" fmla="*/ 139 w 2245"/>
                <a:gd name="T97" fmla="*/ 55 h 224"/>
                <a:gd name="T98" fmla="*/ 144 w 2245"/>
                <a:gd name="T99" fmla="*/ 26 h 224"/>
                <a:gd name="T100" fmla="*/ 164 w 2245"/>
                <a:gd name="T101" fmla="*/ 5 h 224"/>
                <a:gd name="T102" fmla="*/ 198 w 2245"/>
                <a:gd name="T103" fmla="*/ 0 h 224"/>
                <a:gd name="T104" fmla="*/ 227 w 2245"/>
                <a:gd name="T105" fmla="*/ 10 h 224"/>
                <a:gd name="T106" fmla="*/ 242 w 2245"/>
                <a:gd name="T107" fmla="*/ 37 h 224"/>
                <a:gd name="T108" fmla="*/ 243 w 2245"/>
                <a:gd name="T109" fmla="*/ 180 h 224"/>
                <a:gd name="T110" fmla="*/ 233 w 2245"/>
                <a:gd name="T111" fmla="*/ 205 h 224"/>
                <a:gd name="T112" fmla="*/ 209 w 2245"/>
                <a:gd name="T113" fmla="*/ 222 h 224"/>
                <a:gd name="T114" fmla="*/ 174 w 2245"/>
                <a:gd name="T115" fmla="*/ 222 h 224"/>
                <a:gd name="T116" fmla="*/ 150 w 2245"/>
                <a:gd name="T117" fmla="*/ 205 h 224"/>
                <a:gd name="T118" fmla="*/ 140 w 2245"/>
                <a:gd name="T119" fmla="*/ 175 h 224"/>
                <a:gd name="T120" fmla="*/ 35 w 2245"/>
                <a:gd name="T121" fmla="*/ 2 h 224"/>
                <a:gd name="T122" fmla="*/ 74 w 2245"/>
                <a:gd name="T123" fmla="*/ 2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5" h="224">
                  <a:moveTo>
                    <a:pt x="2166" y="152"/>
                  </a:moveTo>
                  <a:lnTo>
                    <a:pt x="2199" y="152"/>
                  </a:lnTo>
                  <a:lnTo>
                    <a:pt x="2182" y="41"/>
                  </a:lnTo>
                  <a:lnTo>
                    <a:pt x="2166" y="152"/>
                  </a:lnTo>
                  <a:close/>
                  <a:moveTo>
                    <a:pt x="2245" y="221"/>
                  </a:moveTo>
                  <a:lnTo>
                    <a:pt x="2210" y="221"/>
                  </a:lnTo>
                  <a:lnTo>
                    <a:pt x="2204" y="181"/>
                  </a:lnTo>
                  <a:lnTo>
                    <a:pt x="2162" y="181"/>
                  </a:lnTo>
                  <a:lnTo>
                    <a:pt x="2156" y="221"/>
                  </a:lnTo>
                  <a:lnTo>
                    <a:pt x="2124" y="221"/>
                  </a:lnTo>
                  <a:lnTo>
                    <a:pt x="2159" y="2"/>
                  </a:lnTo>
                  <a:lnTo>
                    <a:pt x="2210" y="2"/>
                  </a:lnTo>
                  <a:lnTo>
                    <a:pt x="2245" y="221"/>
                  </a:lnTo>
                  <a:close/>
                  <a:moveTo>
                    <a:pt x="2016" y="2"/>
                  </a:moveTo>
                  <a:lnTo>
                    <a:pt x="2122" y="2"/>
                  </a:lnTo>
                  <a:lnTo>
                    <a:pt x="2122" y="33"/>
                  </a:lnTo>
                  <a:lnTo>
                    <a:pt x="2086" y="33"/>
                  </a:lnTo>
                  <a:lnTo>
                    <a:pt x="2086" y="221"/>
                  </a:lnTo>
                  <a:lnTo>
                    <a:pt x="2052" y="221"/>
                  </a:lnTo>
                  <a:lnTo>
                    <a:pt x="2052" y="33"/>
                  </a:lnTo>
                  <a:lnTo>
                    <a:pt x="2016" y="33"/>
                  </a:lnTo>
                  <a:lnTo>
                    <a:pt x="2016" y="2"/>
                  </a:lnTo>
                  <a:close/>
                  <a:moveTo>
                    <a:pt x="1915" y="62"/>
                  </a:moveTo>
                  <a:lnTo>
                    <a:pt x="1915" y="221"/>
                  </a:lnTo>
                  <a:lnTo>
                    <a:pt x="1884" y="221"/>
                  </a:lnTo>
                  <a:lnTo>
                    <a:pt x="1884" y="2"/>
                  </a:lnTo>
                  <a:lnTo>
                    <a:pt x="1927" y="2"/>
                  </a:lnTo>
                  <a:lnTo>
                    <a:pt x="1962" y="133"/>
                  </a:lnTo>
                  <a:lnTo>
                    <a:pt x="1962" y="2"/>
                  </a:lnTo>
                  <a:lnTo>
                    <a:pt x="1993" y="2"/>
                  </a:lnTo>
                  <a:lnTo>
                    <a:pt x="1993" y="221"/>
                  </a:lnTo>
                  <a:lnTo>
                    <a:pt x="1958" y="221"/>
                  </a:lnTo>
                  <a:lnTo>
                    <a:pt x="1915" y="62"/>
                  </a:lnTo>
                  <a:close/>
                  <a:moveTo>
                    <a:pt x="1817" y="2"/>
                  </a:moveTo>
                  <a:lnTo>
                    <a:pt x="1851" y="2"/>
                  </a:lnTo>
                  <a:lnTo>
                    <a:pt x="1851" y="221"/>
                  </a:lnTo>
                  <a:lnTo>
                    <a:pt x="1817" y="221"/>
                  </a:lnTo>
                  <a:lnTo>
                    <a:pt x="1817" y="2"/>
                  </a:lnTo>
                  <a:close/>
                  <a:moveTo>
                    <a:pt x="1713" y="157"/>
                  </a:moveTo>
                  <a:lnTo>
                    <a:pt x="1736" y="2"/>
                  </a:lnTo>
                  <a:lnTo>
                    <a:pt x="1783" y="2"/>
                  </a:lnTo>
                  <a:lnTo>
                    <a:pt x="1783" y="221"/>
                  </a:lnTo>
                  <a:lnTo>
                    <a:pt x="1752" y="221"/>
                  </a:lnTo>
                  <a:lnTo>
                    <a:pt x="1752" y="64"/>
                  </a:lnTo>
                  <a:lnTo>
                    <a:pt x="1727" y="221"/>
                  </a:lnTo>
                  <a:lnTo>
                    <a:pt x="1695" y="221"/>
                  </a:lnTo>
                  <a:lnTo>
                    <a:pt x="1669" y="66"/>
                  </a:lnTo>
                  <a:lnTo>
                    <a:pt x="1669" y="221"/>
                  </a:lnTo>
                  <a:lnTo>
                    <a:pt x="1640" y="221"/>
                  </a:lnTo>
                  <a:lnTo>
                    <a:pt x="1640" y="2"/>
                  </a:lnTo>
                  <a:lnTo>
                    <a:pt x="1687" y="2"/>
                  </a:lnTo>
                  <a:lnTo>
                    <a:pt x="1713" y="157"/>
                  </a:lnTo>
                  <a:close/>
                  <a:moveTo>
                    <a:pt x="1572" y="2"/>
                  </a:moveTo>
                  <a:lnTo>
                    <a:pt x="1607" y="2"/>
                  </a:lnTo>
                  <a:lnTo>
                    <a:pt x="1607" y="221"/>
                  </a:lnTo>
                  <a:lnTo>
                    <a:pt x="1572" y="221"/>
                  </a:lnTo>
                  <a:lnTo>
                    <a:pt x="1572" y="2"/>
                  </a:lnTo>
                  <a:close/>
                  <a:moveTo>
                    <a:pt x="1471" y="171"/>
                  </a:moveTo>
                  <a:lnTo>
                    <a:pt x="1473" y="176"/>
                  </a:lnTo>
                  <a:lnTo>
                    <a:pt x="1474" y="180"/>
                  </a:lnTo>
                  <a:lnTo>
                    <a:pt x="1474" y="183"/>
                  </a:lnTo>
                  <a:lnTo>
                    <a:pt x="1475" y="185"/>
                  </a:lnTo>
                  <a:lnTo>
                    <a:pt x="1477" y="187"/>
                  </a:lnTo>
                  <a:lnTo>
                    <a:pt x="1479" y="189"/>
                  </a:lnTo>
                  <a:lnTo>
                    <a:pt x="1482" y="191"/>
                  </a:lnTo>
                  <a:lnTo>
                    <a:pt x="1486" y="192"/>
                  </a:lnTo>
                  <a:lnTo>
                    <a:pt x="1489" y="192"/>
                  </a:lnTo>
                  <a:lnTo>
                    <a:pt x="1494" y="192"/>
                  </a:lnTo>
                  <a:lnTo>
                    <a:pt x="1497" y="191"/>
                  </a:lnTo>
                  <a:lnTo>
                    <a:pt x="1500" y="189"/>
                  </a:lnTo>
                  <a:lnTo>
                    <a:pt x="1503" y="187"/>
                  </a:lnTo>
                  <a:lnTo>
                    <a:pt x="1505" y="185"/>
                  </a:lnTo>
                  <a:lnTo>
                    <a:pt x="1506" y="180"/>
                  </a:lnTo>
                  <a:lnTo>
                    <a:pt x="1507" y="176"/>
                  </a:lnTo>
                  <a:lnTo>
                    <a:pt x="1507" y="171"/>
                  </a:lnTo>
                  <a:lnTo>
                    <a:pt x="1507" y="52"/>
                  </a:lnTo>
                  <a:lnTo>
                    <a:pt x="1507" y="46"/>
                  </a:lnTo>
                  <a:lnTo>
                    <a:pt x="1506" y="42"/>
                  </a:lnTo>
                  <a:lnTo>
                    <a:pt x="1505" y="40"/>
                  </a:lnTo>
                  <a:lnTo>
                    <a:pt x="1505" y="39"/>
                  </a:lnTo>
                  <a:lnTo>
                    <a:pt x="1503" y="36"/>
                  </a:lnTo>
                  <a:lnTo>
                    <a:pt x="1500" y="33"/>
                  </a:lnTo>
                  <a:lnTo>
                    <a:pt x="1497" y="31"/>
                  </a:lnTo>
                  <a:lnTo>
                    <a:pt x="1494" y="30"/>
                  </a:lnTo>
                  <a:lnTo>
                    <a:pt x="1489" y="30"/>
                  </a:lnTo>
                  <a:lnTo>
                    <a:pt x="1486" y="30"/>
                  </a:lnTo>
                  <a:lnTo>
                    <a:pt x="1482" y="31"/>
                  </a:lnTo>
                  <a:lnTo>
                    <a:pt x="1479" y="33"/>
                  </a:lnTo>
                  <a:lnTo>
                    <a:pt x="1477" y="36"/>
                  </a:lnTo>
                  <a:lnTo>
                    <a:pt x="1475" y="39"/>
                  </a:lnTo>
                  <a:lnTo>
                    <a:pt x="1474" y="42"/>
                  </a:lnTo>
                  <a:lnTo>
                    <a:pt x="1473" y="46"/>
                  </a:lnTo>
                  <a:lnTo>
                    <a:pt x="1471" y="52"/>
                  </a:lnTo>
                  <a:lnTo>
                    <a:pt x="1471" y="171"/>
                  </a:lnTo>
                  <a:close/>
                  <a:moveTo>
                    <a:pt x="1438" y="55"/>
                  </a:moveTo>
                  <a:lnTo>
                    <a:pt x="1438" y="48"/>
                  </a:lnTo>
                  <a:lnTo>
                    <a:pt x="1439" y="42"/>
                  </a:lnTo>
                  <a:lnTo>
                    <a:pt x="1440" y="37"/>
                  </a:lnTo>
                  <a:lnTo>
                    <a:pt x="1440" y="33"/>
                  </a:lnTo>
                  <a:lnTo>
                    <a:pt x="1441" y="31"/>
                  </a:lnTo>
                  <a:lnTo>
                    <a:pt x="1443" y="26"/>
                  </a:lnTo>
                  <a:lnTo>
                    <a:pt x="1445" y="22"/>
                  </a:lnTo>
                  <a:lnTo>
                    <a:pt x="1448" y="18"/>
                  </a:lnTo>
                  <a:lnTo>
                    <a:pt x="1451" y="13"/>
                  </a:lnTo>
                  <a:lnTo>
                    <a:pt x="1455" y="10"/>
                  </a:lnTo>
                  <a:lnTo>
                    <a:pt x="1459" y="7"/>
                  </a:lnTo>
                  <a:lnTo>
                    <a:pt x="1463" y="5"/>
                  </a:lnTo>
                  <a:lnTo>
                    <a:pt x="1467" y="3"/>
                  </a:lnTo>
                  <a:lnTo>
                    <a:pt x="1473" y="1"/>
                  </a:lnTo>
                  <a:lnTo>
                    <a:pt x="1478" y="0"/>
                  </a:lnTo>
                  <a:lnTo>
                    <a:pt x="1484" y="0"/>
                  </a:lnTo>
                  <a:lnTo>
                    <a:pt x="1489" y="0"/>
                  </a:lnTo>
                  <a:lnTo>
                    <a:pt x="1496" y="0"/>
                  </a:lnTo>
                  <a:lnTo>
                    <a:pt x="1502" y="0"/>
                  </a:lnTo>
                  <a:lnTo>
                    <a:pt x="1507" y="1"/>
                  </a:lnTo>
                  <a:lnTo>
                    <a:pt x="1513" y="3"/>
                  </a:lnTo>
                  <a:lnTo>
                    <a:pt x="1517" y="5"/>
                  </a:lnTo>
                  <a:lnTo>
                    <a:pt x="1521" y="7"/>
                  </a:lnTo>
                  <a:lnTo>
                    <a:pt x="1525" y="10"/>
                  </a:lnTo>
                  <a:lnTo>
                    <a:pt x="1529" y="13"/>
                  </a:lnTo>
                  <a:lnTo>
                    <a:pt x="1532" y="18"/>
                  </a:lnTo>
                  <a:lnTo>
                    <a:pt x="1535" y="22"/>
                  </a:lnTo>
                  <a:lnTo>
                    <a:pt x="1537" y="26"/>
                  </a:lnTo>
                  <a:lnTo>
                    <a:pt x="1539" y="31"/>
                  </a:lnTo>
                  <a:lnTo>
                    <a:pt x="1540" y="37"/>
                  </a:lnTo>
                  <a:lnTo>
                    <a:pt x="1541" y="42"/>
                  </a:lnTo>
                  <a:lnTo>
                    <a:pt x="1542" y="48"/>
                  </a:lnTo>
                  <a:lnTo>
                    <a:pt x="1542" y="55"/>
                  </a:lnTo>
                  <a:lnTo>
                    <a:pt x="1542" y="168"/>
                  </a:lnTo>
                  <a:lnTo>
                    <a:pt x="1542" y="175"/>
                  </a:lnTo>
                  <a:lnTo>
                    <a:pt x="1541" y="180"/>
                  </a:lnTo>
                  <a:lnTo>
                    <a:pt x="1540" y="187"/>
                  </a:lnTo>
                  <a:lnTo>
                    <a:pt x="1539" y="189"/>
                  </a:lnTo>
                  <a:lnTo>
                    <a:pt x="1539" y="192"/>
                  </a:lnTo>
                  <a:lnTo>
                    <a:pt x="1537" y="196"/>
                  </a:lnTo>
                  <a:lnTo>
                    <a:pt x="1535" y="202"/>
                  </a:lnTo>
                  <a:lnTo>
                    <a:pt x="1532" y="205"/>
                  </a:lnTo>
                  <a:lnTo>
                    <a:pt x="1529" y="209"/>
                  </a:lnTo>
                  <a:lnTo>
                    <a:pt x="1525" y="212"/>
                  </a:lnTo>
                  <a:lnTo>
                    <a:pt x="1521" y="215"/>
                  </a:lnTo>
                  <a:lnTo>
                    <a:pt x="1517" y="217"/>
                  </a:lnTo>
                  <a:lnTo>
                    <a:pt x="1513" y="220"/>
                  </a:lnTo>
                  <a:lnTo>
                    <a:pt x="1507" y="222"/>
                  </a:lnTo>
                  <a:lnTo>
                    <a:pt x="1502" y="223"/>
                  </a:lnTo>
                  <a:lnTo>
                    <a:pt x="1496" y="223"/>
                  </a:lnTo>
                  <a:lnTo>
                    <a:pt x="1489" y="224"/>
                  </a:lnTo>
                  <a:lnTo>
                    <a:pt x="1484" y="223"/>
                  </a:lnTo>
                  <a:lnTo>
                    <a:pt x="1478" y="223"/>
                  </a:lnTo>
                  <a:lnTo>
                    <a:pt x="1473" y="222"/>
                  </a:lnTo>
                  <a:lnTo>
                    <a:pt x="1467" y="220"/>
                  </a:lnTo>
                  <a:lnTo>
                    <a:pt x="1463" y="217"/>
                  </a:lnTo>
                  <a:lnTo>
                    <a:pt x="1459" y="215"/>
                  </a:lnTo>
                  <a:lnTo>
                    <a:pt x="1455" y="212"/>
                  </a:lnTo>
                  <a:lnTo>
                    <a:pt x="1451" y="209"/>
                  </a:lnTo>
                  <a:lnTo>
                    <a:pt x="1448" y="205"/>
                  </a:lnTo>
                  <a:lnTo>
                    <a:pt x="1445" y="202"/>
                  </a:lnTo>
                  <a:lnTo>
                    <a:pt x="1443" y="196"/>
                  </a:lnTo>
                  <a:lnTo>
                    <a:pt x="1441" y="192"/>
                  </a:lnTo>
                  <a:lnTo>
                    <a:pt x="1440" y="187"/>
                  </a:lnTo>
                  <a:lnTo>
                    <a:pt x="1439" y="180"/>
                  </a:lnTo>
                  <a:lnTo>
                    <a:pt x="1438" y="175"/>
                  </a:lnTo>
                  <a:lnTo>
                    <a:pt x="1438" y="168"/>
                  </a:lnTo>
                  <a:lnTo>
                    <a:pt x="1438" y="55"/>
                  </a:lnTo>
                  <a:close/>
                  <a:moveTo>
                    <a:pt x="1311" y="2"/>
                  </a:moveTo>
                  <a:lnTo>
                    <a:pt x="1418" y="2"/>
                  </a:lnTo>
                  <a:lnTo>
                    <a:pt x="1418" y="33"/>
                  </a:lnTo>
                  <a:lnTo>
                    <a:pt x="1382" y="33"/>
                  </a:lnTo>
                  <a:lnTo>
                    <a:pt x="1382" y="221"/>
                  </a:lnTo>
                  <a:lnTo>
                    <a:pt x="1347" y="221"/>
                  </a:lnTo>
                  <a:lnTo>
                    <a:pt x="1347" y="33"/>
                  </a:lnTo>
                  <a:lnTo>
                    <a:pt x="1311" y="33"/>
                  </a:lnTo>
                  <a:lnTo>
                    <a:pt x="1311" y="2"/>
                  </a:lnTo>
                  <a:close/>
                  <a:moveTo>
                    <a:pt x="1232" y="94"/>
                  </a:moveTo>
                  <a:lnTo>
                    <a:pt x="1280" y="94"/>
                  </a:lnTo>
                  <a:lnTo>
                    <a:pt x="1280" y="125"/>
                  </a:lnTo>
                  <a:lnTo>
                    <a:pt x="1232" y="125"/>
                  </a:lnTo>
                  <a:lnTo>
                    <a:pt x="1232" y="190"/>
                  </a:lnTo>
                  <a:lnTo>
                    <a:pt x="1292" y="190"/>
                  </a:lnTo>
                  <a:lnTo>
                    <a:pt x="1292" y="221"/>
                  </a:lnTo>
                  <a:lnTo>
                    <a:pt x="1198" y="221"/>
                  </a:lnTo>
                  <a:lnTo>
                    <a:pt x="1198" y="2"/>
                  </a:lnTo>
                  <a:lnTo>
                    <a:pt x="1292" y="2"/>
                  </a:lnTo>
                  <a:lnTo>
                    <a:pt x="1292" y="33"/>
                  </a:lnTo>
                  <a:lnTo>
                    <a:pt x="1232" y="33"/>
                  </a:lnTo>
                  <a:lnTo>
                    <a:pt x="1232" y="94"/>
                  </a:lnTo>
                  <a:close/>
                  <a:moveTo>
                    <a:pt x="1106" y="134"/>
                  </a:moveTo>
                  <a:lnTo>
                    <a:pt x="1095" y="154"/>
                  </a:lnTo>
                  <a:lnTo>
                    <a:pt x="1095" y="221"/>
                  </a:lnTo>
                  <a:lnTo>
                    <a:pt x="1060" y="221"/>
                  </a:lnTo>
                  <a:lnTo>
                    <a:pt x="1060" y="2"/>
                  </a:lnTo>
                  <a:lnTo>
                    <a:pt x="1095" y="2"/>
                  </a:lnTo>
                  <a:lnTo>
                    <a:pt x="1095" y="97"/>
                  </a:lnTo>
                  <a:lnTo>
                    <a:pt x="1140" y="2"/>
                  </a:lnTo>
                  <a:lnTo>
                    <a:pt x="1174" y="2"/>
                  </a:lnTo>
                  <a:lnTo>
                    <a:pt x="1127" y="99"/>
                  </a:lnTo>
                  <a:lnTo>
                    <a:pt x="1174" y="221"/>
                  </a:lnTo>
                  <a:lnTo>
                    <a:pt x="1139" y="221"/>
                  </a:lnTo>
                  <a:lnTo>
                    <a:pt x="1106" y="134"/>
                  </a:lnTo>
                  <a:close/>
                  <a:moveTo>
                    <a:pt x="993" y="2"/>
                  </a:moveTo>
                  <a:lnTo>
                    <a:pt x="1027" y="2"/>
                  </a:lnTo>
                  <a:lnTo>
                    <a:pt x="1027" y="221"/>
                  </a:lnTo>
                  <a:lnTo>
                    <a:pt x="993" y="221"/>
                  </a:lnTo>
                  <a:lnTo>
                    <a:pt x="993" y="2"/>
                  </a:lnTo>
                  <a:close/>
                  <a:moveTo>
                    <a:pt x="926" y="2"/>
                  </a:moveTo>
                  <a:lnTo>
                    <a:pt x="961" y="2"/>
                  </a:lnTo>
                  <a:lnTo>
                    <a:pt x="961" y="221"/>
                  </a:lnTo>
                  <a:lnTo>
                    <a:pt x="926" y="221"/>
                  </a:lnTo>
                  <a:lnTo>
                    <a:pt x="926" y="2"/>
                  </a:lnTo>
                  <a:close/>
                  <a:moveTo>
                    <a:pt x="812" y="2"/>
                  </a:moveTo>
                  <a:lnTo>
                    <a:pt x="846" y="2"/>
                  </a:lnTo>
                  <a:lnTo>
                    <a:pt x="846" y="190"/>
                  </a:lnTo>
                  <a:lnTo>
                    <a:pt x="903" y="190"/>
                  </a:lnTo>
                  <a:lnTo>
                    <a:pt x="903" y="221"/>
                  </a:lnTo>
                  <a:lnTo>
                    <a:pt x="812" y="221"/>
                  </a:lnTo>
                  <a:lnTo>
                    <a:pt x="812" y="2"/>
                  </a:lnTo>
                  <a:close/>
                  <a:moveTo>
                    <a:pt x="744" y="2"/>
                  </a:moveTo>
                  <a:lnTo>
                    <a:pt x="779" y="2"/>
                  </a:lnTo>
                  <a:lnTo>
                    <a:pt x="779" y="221"/>
                  </a:lnTo>
                  <a:lnTo>
                    <a:pt x="744" y="221"/>
                  </a:lnTo>
                  <a:lnTo>
                    <a:pt x="744" y="2"/>
                  </a:lnTo>
                  <a:close/>
                  <a:moveTo>
                    <a:pt x="631" y="2"/>
                  </a:moveTo>
                  <a:lnTo>
                    <a:pt x="665" y="2"/>
                  </a:lnTo>
                  <a:lnTo>
                    <a:pt x="665" y="190"/>
                  </a:lnTo>
                  <a:lnTo>
                    <a:pt x="722" y="190"/>
                  </a:lnTo>
                  <a:lnTo>
                    <a:pt x="722" y="221"/>
                  </a:lnTo>
                  <a:lnTo>
                    <a:pt x="631" y="221"/>
                  </a:lnTo>
                  <a:lnTo>
                    <a:pt x="631" y="2"/>
                  </a:lnTo>
                  <a:close/>
                  <a:moveTo>
                    <a:pt x="517" y="2"/>
                  </a:moveTo>
                  <a:lnTo>
                    <a:pt x="550" y="2"/>
                  </a:lnTo>
                  <a:lnTo>
                    <a:pt x="550" y="190"/>
                  </a:lnTo>
                  <a:lnTo>
                    <a:pt x="607" y="190"/>
                  </a:lnTo>
                  <a:lnTo>
                    <a:pt x="607" y="221"/>
                  </a:lnTo>
                  <a:lnTo>
                    <a:pt x="517" y="221"/>
                  </a:lnTo>
                  <a:lnTo>
                    <a:pt x="517" y="2"/>
                  </a:lnTo>
                  <a:close/>
                  <a:moveTo>
                    <a:pt x="428" y="94"/>
                  </a:moveTo>
                  <a:lnTo>
                    <a:pt x="475" y="94"/>
                  </a:lnTo>
                  <a:lnTo>
                    <a:pt x="475" y="125"/>
                  </a:lnTo>
                  <a:lnTo>
                    <a:pt x="428" y="125"/>
                  </a:lnTo>
                  <a:lnTo>
                    <a:pt x="428" y="190"/>
                  </a:lnTo>
                  <a:lnTo>
                    <a:pt x="487" y="190"/>
                  </a:lnTo>
                  <a:lnTo>
                    <a:pt x="487" y="221"/>
                  </a:lnTo>
                  <a:lnTo>
                    <a:pt x="394" y="221"/>
                  </a:lnTo>
                  <a:lnTo>
                    <a:pt x="394" y="2"/>
                  </a:lnTo>
                  <a:lnTo>
                    <a:pt x="487" y="2"/>
                  </a:lnTo>
                  <a:lnTo>
                    <a:pt x="487" y="33"/>
                  </a:lnTo>
                  <a:lnTo>
                    <a:pt x="428" y="33"/>
                  </a:lnTo>
                  <a:lnTo>
                    <a:pt x="428" y="94"/>
                  </a:lnTo>
                  <a:close/>
                  <a:moveTo>
                    <a:pt x="264" y="2"/>
                  </a:moveTo>
                  <a:lnTo>
                    <a:pt x="371" y="2"/>
                  </a:lnTo>
                  <a:lnTo>
                    <a:pt x="371" y="33"/>
                  </a:lnTo>
                  <a:lnTo>
                    <a:pt x="335" y="33"/>
                  </a:lnTo>
                  <a:lnTo>
                    <a:pt x="335" y="221"/>
                  </a:lnTo>
                  <a:lnTo>
                    <a:pt x="300" y="221"/>
                  </a:lnTo>
                  <a:lnTo>
                    <a:pt x="300" y="33"/>
                  </a:lnTo>
                  <a:lnTo>
                    <a:pt x="264" y="33"/>
                  </a:lnTo>
                  <a:lnTo>
                    <a:pt x="264" y="2"/>
                  </a:lnTo>
                  <a:close/>
                  <a:moveTo>
                    <a:pt x="174" y="171"/>
                  </a:moveTo>
                  <a:lnTo>
                    <a:pt x="174" y="176"/>
                  </a:lnTo>
                  <a:lnTo>
                    <a:pt x="175" y="180"/>
                  </a:lnTo>
                  <a:lnTo>
                    <a:pt x="176" y="183"/>
                  </a:lnTo>
                  <a:lnTo>
                    <a:pt x="177" y="185"/>
                  </a:lnTo>
                  <a:lnTo>
                    <a:pt x="178" y="187"/>
                  </a:lnTo>
                  <a:lnTo>
                    <a:pt x="181" y="189"/>
                  </a:lnTo>
                  <a:lnTo>
                    <a:pt x="184" y="191"/>
                  </a:lnTo>
                  <a:lnTo>
                    <a:pt x="188" y="192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9" y="191"/>
                  </a:lnTo>
                  <a:lnTo>
                    <a:pt x="202" y="189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6"/>
                  </a:lnTo>
                  <a:lnTo>
                    <a:pt x="210" y="171"/>
                  </a:lnTo>
                  <a:lnTo>
                    <a:pt x="210" y="52"/>
                  </a:lnTo>
                  <a:lnTo>
                    <a:pt x="209" y="46"/>
                  </a:lnTo>
                  <a:lnTo>
                    <a:pt x="209" y="42"/>
                  </a:lnTo>
                  <a:lnTo>
                    <a:pt x="208" y="40"/>
                  </a:lnTo>
                  <a:lnTo>
                    <a:pt x="207" y="39"/>
                  </a:lnTo>
                  <a:lnTo>
                    <a:pt x="205" y="36"/>
                  </a:lnTo>
                  <a:lnTo>
                    <a:pt x="202" y="33"/>
                  </a:lnTo>
                  <a:lnTo>
                    <a:pt x="199" y="31"/>
                  </a:lnTo>
                  <a:lnTo>
                    <a:pt x="196" y="30"/>
                  </a:lnTo>
                  <a:lnTo>
                    <a:pt x="192" y="30"/>
                  </a:lnTo>
                  <a:lnTo>
                    <a:pt x="188" y="30"/>
                  </a:lnTo>
                  <a:lnTo>
                    <a:pt x="184" y="31"/>
                  </a:lnTo>
                  <a:lnTo>
                    <a:pt x="181" y="33"/>
                  </a:lnTo>
                  <a:lnTo>
                    <a:pt x="178" y="36"/>
                  </a:lnTo>
                  <a:lnTo>
                    <a:pt x="177" y="39"/>
                  </a:lnTo>
                  <a:lnTo>
                    <a:pt x="175" y="42"/>
                  </a:lnTo>
                  <a:lnTo>
                    <a:pt x="174" y="46"/>
                  </a:lnTo>
                  <a:lnTo>
                    <a:pt x="174" y="52"/>
                  </a:lnTo>
                  <a:lnTo>
                    <a:pt x="174" y="171"/>
                  </a:lnTo>
                  <a:close/>
                  <a:moveTo>
                    <a:pt x="139" y="55"/>
                  </a:moveTo>
                  <a:lnTo>
                    <a:pt x="140" y="48"/>
                  </a:lnTo>
                  <a:lnTo>
                    <a:pt x="140" y="42"/>
                  </a:lnTo>
                  <a:lnTo>
                    <a:pt x="141" y="37"/>
                  </a:lnTo>
                  <a:lnTo>
                    <a:pt x="142" y="33"/>
                  </a:lnTo>
                  <a:lnTo>
                    <a:pt x="143" y="31"/>
                  </a:lnTo>
                  <a:lnTo>
                    <a:pt x="144" y="26"/>
                  </a:lnTo>
                  <a:lnTo>
                    <a:pt x="147" y="22"/>
                  </a:lnTo>
                  <a:lnTo>
                    <a:pt x="150" y="18"/>
                  </a:lnTo>
                  <a:lnTo>
                    <a:pt x="153" y="13"/>
                  </a:lnTo>
                  <a:lnTo>
                    <a:pt x="156" y="10"/>
                  </a:lnTo>
                  <a:lnTo>
                    <a:pt x="160" y="7"/>
                  </a:lnTo>
                  <a:lnTo>
                    <a:pt x="164" y="5"/>
                  </a:lnTo>
                  <a:lnTo>
                    <a:pt x="170" y="3"/>
                  </a:lnTo>
                  <a:lnTo>
                    <a:pt x="174" y="1"/>
                  </a:lnTo>
                  <a:lnTo>
                    <a:pt x="179" y="0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0"/>
                  </a:lnTo>
                  <a:lnTo>
                    <a:pt x="203" y="0"/>
                  </a:lnTo>
                  <a:lnTo>
                    <a:pt x="209" y="1"/>
                  </a:lnTo>
                  <a:lnTo>
                    <a:pt x="214" y="3"/>
                  </a:lnTo>
                  <a:lnTo>
                    <a:pt x="218" y="5"/>
                  </a:lnTo>
                  <a:lnTo>
                    <a:pt x="224" y="7"/>
                  </a:lnTo>
                  <a:lnTo>
                    <a:pt x="227" y="10"/>
                  </a:lnTo>
                  <a:lnTo>
                    <a:pt x="231" y="13"/>
                  </a:lnTo>
                  <a:lnTo>
                    <a:pt x="233" y="18"/>
                  </a:lnTo>
                  <a:lnTo>
                    <a:pt x="236" y="22"/>
                  </a:lnTo>
                  <a:lnTo>
                    <a:pt x="238" y="26"/>
                  </a:lnTo>
                  <a:lnTo>
                    <a:pt x="240" y="31"/>
                  </a:lnTo>
                  <a:lnTo>
                    <a:pt x="242" y="37"/>
                  </a:lnTo>
                  <a:lnTo>
                    <a:pt x="243" y="42"/>
                  </a:lnTo>
                  <a:lnTo>
                    <a:pt x="244" y="48"/>
                  </a:lnTo>
                  <a:lnTo>
                    <a:pt x="244" y="55"/>
                  </a:lnTo>
                  <a:lnTo>
                    <a:pt x="244" y="168"/>
                  </a:lnTo>
                  <a:lnTo>
                    <a:pt x="244" y="175"/>
                  </a:lnTo>
                  <a:lnTo>
                    <a:pt x="243" y="180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0" y="192"/>
                  </a:lnTo>
                  <a:lnTo>
                    <a:pt x="238" y="196"/>
                  </a:lnTo>
                  <a:lnTo>
                    <a:pt x="236" y="202"/>
                  </a:lnTo>
                  <a:lnTo>
                    <a:pt x="233" y="205"/>
                  </a:lnTo>
                  <a:lnTo>
                    <a:pt x="231" y="209"/>
                  </a:lnTo>
                  <a:lnTo>
                    <a:pt x="227" y="212"/>
                  </a:lnTo>
                  <a:lnTo>
                    <a:pt x="224" y="215"/>
                  </a:lnTo>
                  <a:lnTo>
                    <a:pt x="218" y="217"/>
                  </a:lnTo>
                  <a:lnTo>
                    <a:pt x="214" y="220"/>
                  </a:lnTo>
                  <a:lnTo>
                    <a:pt x="209" y="222"/>
                  </a:lnTo>
                  <a:lnTo>
                    <a:pt x="203" y="223"/>
                  </a:lnTo>
                  <a:lnTo>
                    <a:pt x="198" y="223"/>
                  </a:lnTo>
                  <a:lnTo>
                    <a:pt x="192" y="224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4" y="222"/>
                  </a:lnTo>
                  <a:lnTo>
                    <a:pt x="170" y="220"/>
                  </a:lnTo>
                  <a:lnTo>
                    <a:pt x="164" y="217"/>
                  </a:lnTo>
                  <a:lnTo>
                    <a:pt x="160" y="215"/>
                  </a:lnTo>
                  <a:lnTo>
                    <a:pt x="156" y="212"/>
                  </a:lnTo>
                  <a:lnTo>
                    <a:pt x="153" y="209"/>
                  </a:lnTo>
                  <a:lnTo>
                    <a:pt x="150" y="205"/>
                  </a:lnTo>
                  <a:lnTo>
                    <a:pt x="147" y="202"/>
                  </a:lnTo>
                  <a:lnTo>
                    <a:pt x="144" y="196"/>
                  </a:lnTo>
                  <a:lnTo>
                    <a:pt x="143" y="192"/>
                  </a:lnTo>
                  <a:lnTo>
                    <a:pt x="141" y="187"/>
                  </a:lnTo>
                  <a:lnTo>
                    <a:pt x="140" y="180"/>
                  </a:lnTo>
                  <a:lnTo>
                    <a:pt x="140" y="175"/>
                  </a:lnTo>
                  <a:lnTo>
                    <a:pt x="139" y="168"/>
                  </a:lnTo>
                  <a:lnTo>
                    <a:pt x="139" y="55"/>
                  </a:lnTo>
                  <a:close/>
                  <a:moveTo>
                    <a:pt x="35" y="221"/>
                  </a:moveTo>
                  <a:lnTo>
                    <a:pt x="0" y="221"/>
                  </a:lnTo>
                  <a:lnTo>
                    <a:pt x="0" y="2"/>
                  </a:lnTo>
                  <a:lnTo>
                    <a:pt x="35" y="2"/>
                  </a:lnTo>
                  <a:lnTo>
                    <a:pt x="35" y="96"/>
                  </a:lnTo>
                  <a:lnTo>
                    <a:pt x="74" y="96"/>
                  </a:lnTo>
                  <a:lnTo>
                    <a:pt x="74" y="2"/>
                  </a:lnTo>
                  <a:lnTo>
                    <a:pt x="109" y="2"/>
                  </a:lnTo>
                  <a:lnTo>
                    <a:pt x="109" y="221"/>
                  </a:lnTo>
                  <a:lnTo>
                    <a:pt x="74" y="221"/>
                  </a:lnTo>
                  <a:lnTo>
                    <a:pt x="74" y="126"/>
                  </a:lnTo>
                  <a:lnTo>
                    <a:pt x="35" y="126"/>
                  </a:lnTo>
                  <a:lnTo>
                    <a:pt x="35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3791526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2D20C90-3752-47D3-985A-36D9FCDF5212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7727137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CE73D3-7F3E-40DD-A5D1-1446802B4D1C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40"/>
            <p:cNvSpPr>
              <a:spLocks noEditPoints="1"/>
            </p:cNvSpPr>
            <p:nvPr userDrawn="1"/>
          </p:nvSpPr>
          <p:spPr bwMode="auto">
            <a:xfrm>
              <a:off x="8786797" y="6473684"/>
              <a:ext cx="2115771" cy="211200"/>
            </a:xfrm>
            <a:custGeom>
              <a:avLst/>
              <a:gdLst>
                <a:gd name="T0" fmla="*/ 2210 w 2245"/>
                <a:gd name="T1" fmla="*/ 221 h 224"/>
                <a:gd name="T2" fmla="*/ 2210 w 2245"/>
                <a:gd name="T3" fmla="*/ 2 h 224"/>
                <a:gd name="T4" fmla="*/ 2086 w 2245"/>
                <a:gd name="T5" fmla="*/ 221 h 224"/>
                <a:gd name="T6" fmla="*/ 1915 w 2245"/>
                <a:gd name="T7" fmla="*/ 221 h 224"/>
                <a:gd name="T8" fmla="*/ 1993 w 2245"/>
                <a:gd name="T9" fmla="*/ 2 h 224"/>
                <a:gd name="T10" fmla="*/ 1851 w 2245"/>
                <a:gd name="T11" fmla="*/ 221 h 224"/>
                <a:gd name="T12" fmla="*/ 1783 w 2245"/>
                <a:gd name="T13" fmla="*/ 221 h 224"/>
                <a:gd name="T14" fmla="*/ 1669 w 2245"/>
                <a:gd name="T15" fmla="*/ 221 h 224"/>
                <a:gd name="T16" fmla="*/ 1607 w 2245"/>
                <a:gd name="T17" fmla="*/ 2 h 224"/>
                <a:gd name="T18" fmla="*/ 1474 w 2245"/>
                <a:gd name="T19" fmla="*/ 180 h 224"/>
                <a:gd name="T20" fmla="*/ 1486 w 2245"/>
                <a:gd name="T21" fmla="*/ 192 h 224"/>
                <a:gd name="T22" fmla="*/ 1505 w 2245"/>
                <a:gd name="T23" fmla="*/ 185 h 224"/>
                <a:gd name="T24" fmla="*/ 1506 w 2245"/>
                <a:gd name="T25" fmla="*/ 42 h 224"/>
                <a:gd name="T26" fmla="*/ 1494 w 2245"/>
                <a:gd name="T27" fmla="*/ 30 h 224"/>
                <a:gd name="T28" fmla="*/ 1475 w 2245"/>
                <a:gd name="T29" fmla="*/ 39 h 224"/>
                <a:gd name="T30" fmla="*/ 1438 w 2245"/>
                <a:gd name="T31" fmla="*/ 48 h 224"/>
                <a:gd name="T32" fmla="*/ 1445 w 2245"/>
                <a:gd name="T33" fmla="*/ 22 h 224"/>
                <a:gd name="T34" fmla="*/ 1467 w 2245"/>
                <a:gd name="T35" fmla="*/ 3 h 224"/>
                <a:gd name="T36" fmla="*/ 1502 w 2245"/>
                <a:gd name="T37" fmla="*/ 0 h 224"/>
                <a:gd name="T38" fmla="*/ 1529 w 2245"/>
                <a:gd name="T39" fmla="*/ 13 h 224"/>
                <a:gd name="T40" fmla="*/ 1541 w 2245"/>
                <a:gd name="T41" fmla="*/ 42 h 224"/>
                <a:gd name="T42" fmla="*/ 1540 w 2245"/>
                <a:gd name="T43" fmla="*/ 187 h 224"/>
                <a:gd name="T44" fmla="*/ 1529 w 2245"/>
                <a:gd name="T45" fmla="*/ 209 h 224"/>
                <a:gd name="T46" fmla="*/ 1502 w 2245"/>
                <a:gd name="T47" fmla="*/ 223 h 224"/>
                <a:gd name="T48" fmla="*/ 1467 w 2245"/>
                <a:gd name="T49" fmla="*/ 220 h 224"/>
                <a:gd name="T50" fmla="*/ 1445 w 2245"/>
                <a:gd name="T51" fmla="*/ 202 h 224"/>
                <a:gd name="T52" fmla="*/ 1438 w 2245"/>
                <a:gd name="T53" fmla="*/ 168 h 224"/>
                <a:gd name="T54" fmla="*/ 1382 w 2245"/>
                <a:gd name="T55" fmla="*/ 221 h 224"/>
                <a:gd name="T56" fmla="*/ 1280 w 2245"/>
                <a:gd name="T57" fmla="*/ 94 h 224"/>
                <a:gd name="T58" fmla="*/ 1198 w 2245"/>
                <a:gd name="T59" fmla="*/ 221 h 224"/>
                <a:gd name="T60" fmla="*/ 1106 w 2245"/>
                <a:gd name="T61" fmla="*/ 134 h 224"/>
                <a:gd name="T62" fmla="*/ 1095 w 2245"/>
                <a:gd name="T63" fmla="*/ 97 h 224"/>
                <a:gd name="T64" fmla="*/ 1106 w 2245"/>
                <a:gd name="T65" fmla="*/ 134 h 224"/>
                <a:gd name="T66" fmla="*/ 926 w 2245"/>
                <a:gd name="T67" fmla="*/ 2 h 224"/>
                <a:gd name="T68" fmla="*/ 846 w 2245"/>
                <a:gd name="T69" fmla="*/ 2 h 224"/>
                <a:gd name="T70" fmla="*/ 744 w 2245"/>
                <a:gd name="T71" fmla="*/ 2 h 224"/>
                <a:gd name="T72" fmla="*/ 665 w 2245"/>
                <a:gd name="T73" fmla="*/ 2 h 224"/>
                <a:gd name="T74" fmla="*/ 517 w 2245"/>
                <a:gd name="T75" fmla="*/ 2 h 224"/>
                <a:gd name="T76" fmla="*/ 517 w 2245"/>
                <a:gd name="T77" fmla="*/ 2 h 224"/>
                <a:gd name="T78" fmla="*/ 487 w 2245"/>
                <a:gd name="T79" fmla="*/ 190 h 224"/>
                <a:gd name="T80" fmla="*/ 428 w 2245"/>
                <a:gd name="T81" fmla="*/ 33 h 224"/>
                <a:gd name="T82" fmla="*/ 335 w 2245"/>
                <a:gd name="T83" fmla="*/ 221 h 224"/>
                <a:gd name="T84" fmla="*/ 174 w 2245"/>
                <a:gd name="T85" fmla="*/ 176 h 224"/>
                <a:gd name="T86" fmla="*/ 184 w 2245"/>
                <a:gd name="T87" fmla="*/ 191 h 224"/>
                <a:gd name="T88" fmla="*/ 205 w 2245"/>
                <a:gd name="T89" fmla="*/ 187 h 224"/>
                <a:gd name="T90" fmla="*/ 209 w 2245"/>
                <a:gd name="T91" fmla="*/ 46 h 224"/>
                <a:gd name="T92" fmla="*/ 199 w 2245"/>
                <a:gd name="T93" fmla="*/ 31 h 224"/>
                <a:gd name="T94" fmla="*/ 178 w 2245"/>
                <a:gd name="T95" fmla="*/ 36 h 224"/>
                <a:gd name="T96" fmla="*/ 139 w 2245"/>
                <a:gd name="T97" fmla="*/ 55 h 224"/>
                <a:gd name="T98" fmla="*/ 144 w 2245"/>
                <a:gd name="T99" fmla="*/ 26 h 224"/>
                <a:gd name="T100" fmla="*/ 164 w 2245"/>
                <a:gd name="T101" fmla="*/ 5 h 224"/>
                <a:gd name="T102" fmla="*/ 198 w 2245"/>
                <a:gd name="T103" fmla="*/ 0 h 224"/>
                <a:gd name="T104" fmla="*/ 227 w 2245"/>
                <a:gd name="T105" fmla="*/ 10 h 224"/>
                <a:gd name="T106" fmla="*/ 242 w 2245"/>
                <a:gd name="T107" fmla="*/ 37 h 224"/>
                <a:gd name="T108" fmla="*/ 243 w 2245"/>
                <a:gd name="T109" fmla="*/ 180 h 224"/>
                <a:gd name="T110" fmla="*/ 233 w 2245"/>
                <a:gd name="T111" fmla="*/ 205 h 224"/>
                <a:gd name="T112" fmla="*/ 209 w 2245"/>
                <a:gd name="T113" fmla="*/ 222 h 224"/>
                <a:gd name="T114" fmla="*/ 174 w 2245"/>
                <a:gd name="T115" fmla="*/ 222 h 224"/>
                <a:gd name="T116" fmla="*/ 150 w 2245"/>
                <a:gd name="T117" fmla="*/ 205 h 224"/>
                <a:gd name="T118" fmla="*/ 140 w 2245"/>
                <a:gd name="T119" fmla="*/ 175 h 224"/>
                <a:gd name="T120" fmla="*/ 35 w 2245"/>
                <a:gd name="T121" fmla="*/ 2 h 224"/>
                <a:gd name="T122" fmla="*/ 74 w 2245"/>
                <a:gd name="T123" fmla="*/ 2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5" h="224">
                  <a:moveTo>
                    <a:pt x="2166" y="152"/>
                  </a:moveTo>
                  <a:lnTo>
                    <a:pt x="2199" y="152"/>
                  </a:lnTo>
                  <a:lnTo>
                    <a:pt x="2182" y="41"/>
                  </a:lnTo>
                  <a:lnTo>
                    <a:pt x="2166" y="152"/>
                  </a:lnTo>
                  <a:close/>
                  <a:moveTo>
                    <a:pt x="2245" y="221"/>
                  </a:moveTo>
                  <a:lnTo>
                    <a:pt x="2210" y="221"/>
                  </a:lnTo>
                  <a:lnTo>
                    <a:pt x="2204" y="181"/>
                  </a:lnTo>
                  <a:lnTo>
                    <a:pt x="2162" y="181"/>
                  </a:lnTo>
                  <a:lnTo>
                    <a:pt x="2156" y="221"/>
                  </a:lnTo>
                  <a:lnTo>
                    <a:pt x="2124" y="221"/>
                  </a:lnTo>
                  <a:lnTo>
                    <a:pt x="2159" y="2"/>
                  </a:lnTo>
                  <a:lnTo>
                    <a:pt x="2210" y="2"/>
                  </a:lnTo>
                  <a:lnTo>
                    <a:pt x="2245" y="221"/>
                  </a:lnTo>
                  <a:close/>
                  <a:moveTo>
                    <a:pt x="2016" y="2"/>
                  </a:moveTo>
                  <a:lnTo>
                    <a:pt x="2122" y="2"/>
                  </a:lnTo>
                  <a:lnTo>
                    <a:pt x="2122" y="33"/>
                  </a:lnTo>
                  <a:lnTo>
                    <a:pt x="2086" y="33"/>
                  </a:lnTo>
                  <a:lnTo>
                    <a:pt x="2086" y="221"/>
                  </a:lnTo>
                  <a:lnTo>
                    <a:pt x="2052" y="221"/>
                  </a:lnTo>
                  <a:lnTo>
                    <a:pt x="2052" y="33"/>
                  </a:lnTo>
                  <a:lnTo>
                    <a:pt x="2016" y="33"/>
                  </a:lnTo>
                  <a:lnTo>
                    <a:pt x="2016" y="2"/>
                  </a:lnTo>
                  <a:close/>
                  <a:moveTo>
                    <a:pt x="1915" y="62"/>
                  </a:moveTo>
                  <a:lnTo>
                    <a:pt x="1915" y="221"/>
                  </a:lnTo>
                  <a:lnTo>
                    <a:pt x="1884" y="221"/>
                  </a:lnTo>
                  <a:lnTo>
                    <a:pt x="1884" y="2"/>
                  </a:lnTo>
                  <a:lnTo>
                    <a:pt x="1927" y="2"/>
                  </a:lnTo>
                  <a:lnTo>
                    <a:pt x="1962" y="133"/>
                  </a:lnTo>
                  <a:lnTo>
                    <a:pt x="1962" y="2"/>
                  </a:lnTo>
                  <a:lnTo>
                    <a:pt x="1993" y="2"/>
                  </a:lnTo>
                  <a:lnTo>
                    <a:pt x="1993" y="221"/>
                  </a:lnTo>
                  <a:lnTo>
                    <a:pt x="1958" y="221"/>
                  </a:lnTo>
                  <a:lnTo>
                    <a:pt x="1915" y="62"/>
                  </a:lnTo>
                  <a:close/>
                  <a:moveTo>
                    <a:pt x="1817" y="2"/>
                  </a:moveTo>
                  <a:lnTo>
                    <a:pt x="1851" y="2"/>
                  </a:lnTo>
                  <a:lnTo>
                    <a:pt x="1851" y="221"/>
                  </a:lnTo>
                  <a:lnTo>
                    <a:pt x="1817" y="221"/>
                  </a:lnTo>
                  <a:lnTo>
                    <a:pt x="1817" y="2"/>
                  </a:lnTo>
                  <a:close/>
                  <a:moveTo>
                    <a:pt x="1713" y="157"/>
                  </a:moveTo>
                  <a:lnTo>
                    <a:pt x="1736" y="2"/>
                  </a:lnTo>
                  <a:lnTo>
                    <a:pt x="1783" y="2"/>
                  </a:lnTo>
                  <a:lnTo>
                    <a:pt x="1783" y="221"/>
                  </a:lnTo>
                  <a:lnTo>
                    <a:pt x="1752" y="221"/>
                  </a:lnTo>
                  <a:lnTo>
                    <a:pt x="1752" y="64"/>
                  </a:lnTo>
                  <a:lnTo>
                    <a:pt x="1727" y="221"/>
                  </a:lnTo>
                  <a:lnTo>
                    <a:pt x="1695" y="221"/>
                  </a:lnTo>
                  <a:lnTo>
                    <a:pt x="1669" y="66"/>
                  </a:lnTo>
                  <a:lnTo>
                    <a:pt x="1669" y="221"/>
                  </a:lnTo>
                  <a:lnTo>
                    <a:pt x="1640" y="221"/>
                  </a:lnTo>
                  <a:lnTo>
                    <a:pt x="1640" y="2"/>
                  </a:lnTo>
                  <a:lnTo>
                    <a:pt x="1687" y="2"/>
                  </a:lnTo>
                  <a:lnTo>
                    <a:pt x="1713" y="157"/>
                  </a:lnTo>
                  <a:close/>
                  <a:moveTo>
                    <a:pt x="1572" y="2"/>
                  </a:moveTo>
                  <a:lnTo>
                    <a:pt x="1607" y="2"/>
                  </a:lnTo>
                  <a:lnTo>
                    <a:pt x="1607" y="221"/>
                  </a:lnTo>
                  <a:lnTo>
                    <a:pt x="1572" y="221"/>
                  </a:lnTo>
                  <a:lnTo>
                    <a:pt x="1572" y="2"/>
                  </a:lnTo>
                  <a:close/>
                  <a:moveTo>
                    <a:pt x="1471" y="171"/>
                  </a:moveTo>
                  <a:lnTo>
                    <a:pt x="1473" y="176"/>
                  </a:lnTo>
                  <a:lnTo>
                    <a:pt x="1474" y="180"/>
                  </a:lnTo>
                  <a:lnTo>
                    <a:pt x="1474" y="183"/>
                  </a:lnTo>
                  <a:lnTo>
                    <a:pt x="1475" y="185"/>
                  </a:lnTo>
                  <a:lnTo>
                    <a:pt x="1477" y="187"/>
                  </a:lnTo>
                  <a:lnTo>
                    <a:pt x="1479" y="189"/>
                  </a:lnTo>
                  <a:lnTo>
                    <a:pt x="1482" y="191"/>
                  </a:lnTo>
                  <a:lnTo>
                    <a:pt x="1486" y="192"/>
                  </a:lnTo>
                  <a:lnTo>
                    <a:pt x="1489" y="192"/>
                  </a:lnTo>
                  <a:lnTo>
                    <a:pt x="1494" y="192"/>
                  </a:lnTo>
                  <a:lnTo>
                    <a:pt x="1497" y="191"/>
                  </a:lnTo>
                  <a:lnTo>
                    <a:pt x="1500" y="189"/>
                  </a:lnTo>
                  <a:lnTo>
                    <a:pt x="1503" y="187"/>
                  </a:lnTo>
                  <a:lnTo>
                    <a:pt x="1505" y="185"/>
                  </a:lnTo>
                  <a:lnTo>
                    <a:pt x="1506" y="180"/>
                  </a:lnTo>
                  <a:lnTo>
                    <a:pt x="1507" y="176"/>
                  </a:lnTo>
                  <a:lnTo>
                    <a:pt x="1507" y="171"/>
                  </a:lnTo>
                  <a:lnTo>
                    <a:pt x="1507" y="52"/>
                  </a:lnTo>
                  <a:lnTo>
                    <a:pt x="1507" y="46"/>
                  </a:lnTo>
                  <a:lnTo>
                    <a:pt x="1506" y="42"/>
                  </a:lnTo>
                  <a:lnTo>
                    <a:pt x="1505" y="40"/>
                  </a:lnTo>
                  <a:lnTo>
                    <a:pt x="1505" y="39"/>
                  </a:lnTo>
                  <a:lnTo>
                    <a:pt x="1503" y="36"/>
                  </a:lnTo>
                  <a:lnTo>
                    <a:pt x="1500" y="33"/>
                  </a:lnTo>
                  <a:lnTo>
                    <a:pt x="1497" y="31"/>
                  </a:lnTo>
                  <a:lnTo>
                    <a:pt x="1494" y="30"/>
                  </a:lnTo>
                  <a:lnTo>
                    <a:pt x="1489" y="30"/>
                  </a:lnTo>
                  <a:lnTo>
                    <a:pt x="1486" y="30"/>
                  </a:lnTo>
                  <a:lnTo>
                    <a:pt x="1482" y="31"/>
                  </a:lnTo>
                  <a:lnTo>
                    <a:pt x="1479" y="33"/>
                  </a:lnTo>
                  <a:lnTo>
                    <a:pt x="1477" y="36"/>
                  </a:lnTo>
                  <a:lnTo>
                    <a:pt x="1475" y="39"/>
                  </a:lnTo>
                  <a:lnTo>
                    <a:pt x="1474" y="42"/>
                  </a:lnTo>
                  <a:lnTo>
                    <a:pt x="1473" y="46"/>
                  </a:lnTo>
                  <a:lnTo>
                    <a:pt x="1471" y="52"/>
                  </a:lnTo>
                  <a:lnTo>
                    <a:pt x="1471" y="171"/>
                  </a:lnTo>
                  <a:close/>
                  <a:moveTo>
                    <a:pt x="1438" y="55"/>
                  </a:moveTo>
                  <a:lnTo>
                    <a:pt x="1438" y="48"/>
                  </a:lnTo>
                  <a:lnTo>
                    <a:pt x="1439" y="42"/>
                  </a:lnTo>
                  <a:lnTo>
                    <a:pt x="1440" y="37"/>
                  </a:lnTo>
                  <a:lnTo>
                    <a:pt x="1440" y="33"/>
                  </a:lnTo>
                  <a:lnTo>
                    <a:pt x="1441" y="31"/>
                  </a:lnTo>
                  <a:lnTo>
                    <a:pt x="1443" y="26"/>
                  </a:lnTo>
                  <a:lnTo>
                    <a:pt x="1445" y="22"/>
                  </a:lnTo>
                  <a:lnTo>
                    <a:pt x="1448" y="18"/>
                  </a:lnTo>
                  <a:lnTo>
                    <a:pt x="1451" y="13"/>
                  </a:lnTo>
                  <a:lnTo>
                    <a:pt x="1455" y="10"/>
                  </a:lnTo>
                  <a:lnTo>
                    <a:pt x="1459" y="7"/>
                  </a:lnTo>
                  <a:lnTo>
                    <a:pt x="1463" y="5"/>
                  </a:lnTo>
                  <a:lnTo>
                    <a:pt x="1467" y="3"/>
                  </a:lnTo>
                  <a:lnTo>
                    <a:pt x="1473" y="1"/>
                  </a:lnTo>
                  <a:lnTo>
                    <a:pt x="1478" y="0"/>
                  </a:lnTo>
                  <a:lnTo>
                    <a:pt x="1484" y="0"/>
                  </a:lnTo>
                  <a:lnTo>
                    <a:pt x="1489" y="0"/>
                  </a:lnTo>
                  <a:lnTo>
                    <a:pt x="1496" y="0"/>
                  </a:lnTo>
                  <a:lnTo>
                    <a:pt x="1502" y="0"/>
                  </a:lnTo>
                  <a:lnTo>
                    <a:pt x="1507" y="1"/>
                  </a:lnTo>
                  <a:lnTo>
                    <a:pt x="1513" y="3"/>
                  </a:lnTo>
                  <a:lnTo>
                    <a:pt x="1517" y="5"/>
                  </a:lnTo>
                  <a:lnTo>
                    <a:pt x="1521" y="7"/>
                  </a:lnTo>
                  <a:lnTo>
                    <a:pt x="1525" y="10"/>
                  </a:lnTo>
                  <a:lnTo>
                    <a:pt x="1529" y="13"/>
                  </a:lnTo>
                  <a:lnTo>
                    <a:pt x="1532" y="18"/>
                  </a:lnTo>
                  <a:lnTo>
                    <a:pt x="1535" y="22"/>
                  </a:lnTo>
                  <a:lnTo>
                    <a:pt x="1537" y="26"/>
                  </a:lnTo>
                  <a:lnTo>
                    <a:pt x="1539" y="31"/>
                  </a:lnTo>
                  <a:lnTo>
                    <a:pt x="1540" y="37"/>
                  </a:lnTo>
                  <a:lnTo>
                    <a:pt x="1541" y="42"/>
                  </a:lnTo>
                  <a:lnTo>
                    <a:pt x="1542" y="48"/>
                  </a:lnTo>
                  <a:lnTo>
                    <a:pt x="1542" y="55"/>
                  </a:lnTo>
                  <a:lnTo>
                    <a:pt x="1542" y="168"/>
                  </a:lnTo>
                  <a:lnTo>
                    <a:pt x="1542" y="175"/>
                  </a:lnTo>
                  <a:lnTo>
                    <a:pt x="1541" y="180"/>
                  </a:lnTo>
                  <a:lnTo>
                    <a:pt x="1540" y="187"/>
                  </a:lnTo>
                  <a:lnTo>
                    <a:pt x="1539" y="189"/>
                  </a:lnTo>
                  <a:lnTo>
                    <a:pt x="1539" y="192"/>
                  </a:lnTo>
                  <a:lnTo>
                    <a:pt x="1537" y="196"/>
                  </a:lnTo>
                  <a:lnTo>
                    <a:pt x="1535" y="202"/>
                  </a:lnTo>
                  <a:lnTo>
                    <a:pt x="1532" y="205"/>
                  </a:lnTo>
                  <a:lnTo>
                    <a:pt x="1529" y="209"/>
                  </a:lnTo>
                  <a:lnTo>
                    <a:pt x="1525" y="212"/>
                  </a:lnTo>
                  <a:lnTo>
                    <a:pt x="1521" y="215"/>
                  </a:lnTo>
                  <a:lnTo>
                    <a:pt x="1517" y="217"/>
                  </a:lnTo>
                  <a:lnTo>
                    <a:pt x="1513" y="220"/>
                  </a:lnTo>
                  <a:lnTo>
                    <a:pt x="1507" y="222"/>
                  </a:lnTo>
                  <a:lnTo>
                    <a:pt x="1502" y="223"/>
                  </a:lnTo>
                  <a:lnTo>
                    <a:pt x="1496" y="223"/>
                  </a:lnTo>
                  <a:lnTo>
                    <a:pt x="1489" y="224"/>
                  </a:lnTo>
                  <a:lnTo>
                    <a:pt x="1484" y="223"/>
                  </a:lnTo>
                  <a:lnTo>
                    <a:pt x="1478" y="223"/>
                  </a:lnTo>
                  <a:lnTo>
                    <a:pt x="1473" y="222"/>
                  </a:lnTo>
                  <a:lnTo>
                    <a:pt x="1467" y="220"/>
                  </a:lnTo>
                  <a:lnTo>
                    <a:pt x="1463" y="217"/>
                  </a:lnTo>
                  <a:lnTo>
                    <a:pt x="1459" y="215"/>
                  </a:lnTo>
                  <a:lnTo>
                    <a:pt x="1455" y="212"/>
                  </a:lnTo>
                  <a:lnTo>
                    <a:pt x="1451" y="209"/>
                  </a:lnTo>
                  <a:lnTo>
                    <a:pt x="1448" y="205"/>
                  </a:lnTo>
                  <a:lnTo>
                    <a:pt x="1445" y="202"/>
                  </a:lnTo>
                  <a:lnTo>
                    <a:pt x="1443" y="196"/>
                  </a:lnTo>
                  <a:lnTo>
                    <a:pt x="1441" y="192"/>
                  </a:lnTo>
                  <a:lnTo>
                    <a:pt x="1440" y="187"/>
                  </a:lnTo>
                  <a:lnTo>
                    <a:pt x="1439" y="180"/>
                  </a:lnTo>
                  <a:lnTo>
                    <a:pt x="1438" y="175"/>
                  </a:lnTo>
                  <a:lnTo>
                    <a:pt x="1438" y="168"/>
                  </a:lnTo>
                  <a:lnTo>
                    <a:pt x="1438" y="55"/>
                  </a:lnTo>
                  <a:close/>
                  <a:moveTo>
                    <a:pt x="1311" y="2"/>
                  </a:moveTo>
                  <a:lnTo>
                    <a:pt x="1418" y="2"/>
                  </a:lnTo>
                  <a:lnTo>
                    <a:pt x="1418" y="33"/>
                  </a:lnTo>
                  <a:lnTo>
                    <a:pt x="1382" y="33"/>
                  </a:lnTo>
                  <a:lnTo>
                    <a:pt x="1382" y="221"/>
                  </a:lnTo>
                  <a:lnTo>
                    <a:pt x="1347" y="221"/>
                  </a:lnTo>
                  <a:lnTo>
                    <a:pt x="1347" y="33"/>
                  </a:lnTo>
                  <a:lnTo>
                    <a:pt x="1311" y="33"/>
                  </a:lnTo>
                  <a:lnTo>
                    <a:pt x="1311" y="2"/>
                  </a:lnTo>
                  <a:close/>
                  <a:moveTo>
                    <a:pt x="1232" y="94"/>
                  </a:moveTo>
                  <a:lnTo>
                    <a:pt x="1280" y="94"/>
                  </a:lnTo>
                  <a:lnTo>
                    <a:pt x="1280" y="125"/>
                  </a:lnTo>
                  <a:lnTo>
                    <a:pt x="1232" y="125"/>
                  </a:lnTo>
                  <a:lnTo>
                    <a:pt x="1232" y="190"/>
                  </a:lnTo>
                  <a:lnTo>
                    <a:pt x="1292" y="190"/>
                  </a:lnTo>
                  <a:lnTo>
                    <a:pt x="1292" y="221"/>
                  </a:lnTo>
                  <a:lnTo>
                    <a:pt x="1198" y="221"/>
                  </a:lnTo>
                  <a:lnTo>
                    <a:pt x="1198" y="2"/>
                  </a:lnTo>
                  <a:lnTo>
                    <a:pt x="1292" y="2"/>
                  </a:lnTo>
                  <a:lnTo>
                    <a:pt x="1292" y="33"/>
                  </a:lnTo>
                  <a:lnTo>
                    <a:pt x="1232" y="33"/>
                  </a:lnTo>
                  <a:lnTo>
                    <a:pt x="1232" y="94"/>
                  </a:lnTo>
                  <a:close/>
                  <a:moveTo>
                    <a:pt x="1106" y="134"/>
                  </a:moveTo>
                  <a:lnTo>
                    <a:pt x="1095" y="154"/>
                  </a:lnTo>
                  <a:lnTo>
                    <a:pt x="1095" y="221"/>
                  </a:lnTo>
                  <a:lnTo>
                    <a:pt x="1060" y="221"/>
                  </a:lnTo>
                  <a:lnTo>
                    <a:pt x="1060" y="2"/>
                  </a:lnTo>
                  <a:lnTo>
                    <a:pt x="1095" y="2"/>
                  </a:lnTo>
                  <a:lnTo>
                    <a:pt x="1095" y="97"/>
                  </a:lnTo>
                  <a:lnTo>
                    <a:pt x="1140" y="2"/>
                  </a:lnTo>
                  <a:lnTo>
                    <a:pt x="1174" y="2"/>
                  </a:lnTo>
                  <a:lnTo>
                    <a:pt x="1127" y="99"/>
                  </a:lnTo>
                  <a:lnTo>
                    <a:pt x="1174" y="221"/>
                  </a:lnTo>
                  <a:lnTo>
                    <a:pt x="1139" y="221"/>
                  </a:lnTo>
                  <a:lnTo>
                    <a:pt x="1106" y="134"/>
                  </a:lnTo>
                  <a:close/>
                  <a:moveTo>
                    <a:pt x="993" y="2"/>
                  </a:moveTo>
                  <a:lnTo>
                    <a:pt x="1027" y="2"/>
                  </a:lnTo>
                  <a:lnTo>
                    <a:pt x="1027" y="221"/>
                  </a:lnTo>
                  <a:lnTo>
                    <a:pt x="993" y="221"/>
                  </a:lnTo>
                  <a:lnTo>
                    <a:pt x="993" y="2"/>
                  </a:lnTo>
                  <a:close/>
                  <a:moveTo>
                    <a:pt x="926" y="2"/>
                  </a:moveTo>
                  <a:lnTo>
                    <a:pt x="961" y="2"/>
                  </a:lnTo>
                  <a:lnTo>
                    <a:pt x="961" y="221"/>
                  </a:lnTo>
                  <a:lnTo>
                    <a:pt x="926" y="221"/>
                  </a:lnTo>
                  <a:lnTo>
                    <a:pt x="926" y="2"/>
                  </a:lnTo>
                  <a:close/>
                  <a:moveTo>
                    <a:pt x="812" y="2"/>
                  </a:moveTo>
                  <a:lnTo>
                    <a:pt x="846" y="2"/>
                  </a:lnTo>
                  <a:lnTo>
                    <a:pt x="846" y="190"/>
                  </a:lnTo>
                  <a:lnTo>
                    <a:pt x="903" y="190"/>
                  </a:lnTo>
                  <a:lnTo>
                    <a:pt x="903" y="221"/>
                  </a:lnTo>
                  <a:lnTo>
                    <a:pt x="812" y="221"/>
                  </a:lnTo>
                  <a:lnTo>
                    <a:pt x="812" y="2"/>
                  </a:lnTo>
                  <a:close/>
                  <a:moveTo>
                    <a:pt x="744" y="2"/>
                  </a:moveTo>
                  <a:lnTo>
                    <a:pt x="779" y="2"/>
                  </a:lnTo>
                  <a:lnTo>
                    <a:pt x="779" y="221"/>
                  </a:lnTo>
                  <a:lnTo>
                    <a:pt x="744" y="221"/>
                  </a:lnTo>
                  <a:lnTo>
                    <a:pt x="744" y="2"/>
                  </a:lnTo>
                  <a:close/>
                  <a:moveTo>
                    <a:pt x="631" y="2"/>
                  </a:moveTo>
                  <a:lnTo>
                    <a:pt x="665" y="2"/>
                  </a:lnTo>
                  <a:lnTo>
                    <a:pt x="665" y="190"/>
                  </a:lnTo>
                  <a:lnTo>
                    <a:pt x="722" y="190"/>
                  </a:lnTo>
                  <a:lnTo>
                    <a:pt x="722" y="221"/>
                  </a:lnTo>
                  <a:lnTo>
                    <a:pt x="631" y="221"/>
                  </a:lnTo>
                  <a:lnTo>
                    <a:pt x="631" y="2"/>
                  </a:lnTo>
                  <a:close/>
                  <a:moveTo>
                    <a:pt x="517" y="2"/>
                  </a:moveTo>
                  <a:lnTo>
                    <a:pt x="550" y="2"/>
                  </a:lnTo>
                  <a:lnTo>
                    <a:pt x="550" y="190"/>
                  </a:lnTo>
                  <a:lnTo>
                    <a:pt x="607" y="190"/>
                  </a:lnTo>
                  <a:lnTo>
                    <a:pt x="607" y="221"/>
                  </a:lnTo>
                  <a:lnTo>
                    <a:pt x="517" y="221"/>
                  </a:lnTo>
                  <a:lnTo>
                    <a:pt x="517" y="2"/>
                  </a:lnTo>
                  <a:close/>
                  <a:moveTo>
                    <a:pt x="428" y="94"/>
                  </a:moveTo>
                  <a:lnTo>
                    <a:pt x="475" y="94"/>
                  </a:lnTo>
                  <a:lnTo>
                    <a:pt x="475" y="125"/>
                  </a:lnTo>
                  <a:lnTo>
                    <a:pt x="428" y="125"/>
                  </a:lnTo>
                  <a:lnTo>
                    <a:pt x="428" y="190"/>
                  </a:lnTo>
                  <a:lnTo>
                    <a:pt x="487" y="190"/>
                  </a:lnTo>
                  <a:lnTo>
                    <a:pt x="487" y="221"/>
                  </a:lnTo>
                  <a:lnTo>
                    <a:pt x="394" y="221"/>
                  </a:lnTo>
                  <a:lnTo>
                    <a:pt x="394" y="2"/>
                  </a:lnTo>
                  <a:lnTo>
                    <a:pt x="487" y="2"/>
                  </a:lnTo>
                  <a:lnTo>
                    <a:pt x="487" y="33"/>
                  </a:lnTo>
                  <a:lnTo>
                    <a:pt x="428" y="33"/>
                  </a:lnTo>
                  <a:lnTo>
                    <a:pt x="428" y="94"/>
                  </a:lnTo>
                  <a:close/>
                  <a:moveTo>
                    <a:pt x="264" y="2"/>
                  </a:moveTo>
                  <a:lnTo>
                    <a:pt x="371" y="2"/>
                  </a:lnTo>
                  <a:lnTo>
                    <a:pt x="371" y="33"/>
                  </a:lnTo>
                  <a:lnTo>
                    <a:pt x="335" y="33"/>
                  </a:lnTo>
                  <a:lnTo>
                    <a:pt x="335" y="221"/>
                  </a:lnTo>
                  <a:lnTo>
                    <a:pt x="300" y="221"/>
                  </a:lnTo>
                  <a:lnTo>
                    <a:pt x="300" y="33"/>
                  </a:lnTo>
                  <a:lnTo>
                    <a:pt x="264" y="33"/>
                  </a:lnTo>
                  <a:lnTo>
                    <a:pt x="264" y="2"/>
                  </a:lnTo>
                  <a:close/>
                  <a:moveTo>
                    <a:pt x="174" y="171"/>
                  </a:moveTo>
                  <a:lnTo>
                    <a:pt x="174" y="176"/>
                  </a:lnTo>
                  <a:lnTo>
                    <a:pt x="175" y="180"/>
                  </a:lnTo>
                  <a:lnTo>
                    <a:pt x="176" y="183"/>
                  </a:lnTo>
                  <a:lnTo>
                    <a:pt x="177" y="185"/>
                  </a:lnTo>
                  <a:lnTo>
                    <a:pt x="178" y="187"/>
                  </a:lnTo>
                  <a:lnTo>
                    <a:pt x="181" y="189"/>
                  </a:lnTo>
                  <a:lnTo>
                    <a:pt x="184" y="191"/>
                  </a:lnTo>
                  <a:lnTo>
                    <a:pt x="188" y="192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9" y="191"/>
                  </a:lnTo>
                  <a:lnTo>
                    <a:pt x="202" y="189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6"/>
                  </a:lnTo>
                  <a:lnTo>
                    <a:pt x="210" y="171"/>
                  </a:lnTo>
                  <a:lnTo>
                    <a:pt x="210" y="52"/>
                  </a:lnTo>
                  <a:lnTo>
                    <a:pt x="209" y="46"/>
                  </a:lnTo>
                  <a:lnTo>
                    <a:pt x="209" y="42"/>
                  </a:lnTo>
                  <a:lnTo>
                    <a:pt x="208" y="40"/>
                  </a:lnTo>
                  <a:lnTo>
                    <a:pt x="207" y="39"/>
                  </a:lnTo>
                  <a:lnTo>
                    <a:pt x="205" y="36"/>
                  </a:lnTo>
                  <a:lnTo>
                    <a:pt x="202" y="33"/>
                  </a:lnTo>
                  <a:lnTo>
                    <a:pt x="199" y="31"/>
                  </a:lnTo>
                  <a:lnTo>
                    <a:pt x="196" y="30"/>
                  </a:lnTo>
                  <a:lnTo>
                    <a:pt x="192" y="30"/>
                  </a:lnTo>
                  <a:lnTo>
                    <a:pt x="188" y="30"/>
                  </a:lnTo>
                  <a:lnTo>
                    <a:pt x="184" y="31"/>
                  </a:lnTo>
                  <a:lnTo>
                    <a:pt x="181" y="33"/>
                  </a:lnTo>
                  <a:lnTo>
                    <a:pt x="178" y="36"/>
                  </a:lnTo>
                  <a:lnTo>
                    <a:pt x="177" y="39"/>
                  </a:lnTo>
                  <a:lnTo>
                    <a:pt x="175" y="42"/>
                  </a:lnTo>
                  <a:lnTo>
                    <a:pt x="174" y="46"/>
                  </a:lnTo>
                  <a:lnTo>
                    <a:pt x="174" y="52"/>
                  </a:lnTo>
                  <a:lnTo>
                    <a:pt x="174" y="171"/>
                  </a:lnTo>
                  <a:close/>
                  <a:moveTo>
                    <a:pt x="139" y="55"/>
                  </a:moveTo>
                  <a:lnTo>
                    <a:pt x="140" y="48"/>
                  </a:lnTo>
                  <a:lnTo>
                    <a:pt x="140" y="42"/>
                  </a:lnTo>
                  <a:lnTo>
                    <a:pt x="141" y="37"/>
                  </a:lnTo>
                  <a:lnTo>
                    <a:pt x="142" y="33"/>
                  </a:lnTo>
                  <a:lnTo>
                    <a:pt x="143" y="31"/>
                  </a:lnTo>
                  <a:lnTo>
                    <a:pt x="144" y="26"/>
                  </a:lnTo>
                  <a:lnTo>
                    <a:pt x="147" y="22"/>
                  </a:lnTo>
                  <a:lnTo>
                    <a:pt x="150" y="18"/>
                  </a:lnTo>
                  <a:lnTo>
                    <a:pt x="153" y="13"/>
                  </a:lnTo>
                  <a:lnTo>
                    <a:pt x="156" y="10"/>
                  </a:lnTo>
                  <a:lnTo>
                    <a:pt x="160" y="7"/>
                  </a:lnTo>
                  <a:lnTo>
                    <a:pt x="164" y="5"/>
                  </a:lnTo>
                  <a:lnTo>
                    <a:pt x="170" y="3"/>
                  </a:lnTo>
                  <a:lnTo>
                    <a:pt x="174" y="1"/>
                  </a:lnTo>
                  <a:lnTo>
                    <a:pt x="179" y="0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0"/>
                  </a:lnTo>
                  <a:lnTo>
                    <a:pt x="203" y="0"/>
                  </a:lnTo>
                  <a:lnTo>
                    <a:pt x="209" y="1"/>
                  </a:lnTo>
                  <a:lnTo>
                    <a:pt x="214" y="3"/>
                  </a:lnTo>
                  <a:lnTo>
                    <a:pt x="218" y="5"/>
                  </a:lnTo>
                  <a:lnTo>
                    <a:pt x="224" y="7"/>
                  </a:lnTo>
                  <a:lnTo>
                    <a:pt x="227" y="10"/>
                  </a:lnTo>
                  <a:lnTo>
                    <a:pt x="231" y="13"/>
                  </a:lnTo>
                  <a:lnTo>
                    <a:pt x="233" y="18"/>
                  </a:lnTo>
                  <a:lnTo>
                    <a:pt x="236" y="22"/>
                  </a:lnTo>
                  <a:lnTo>
                    <a:pt x="238" y="26"/>
                  </a:lnTo>
                  <a:lnTo>
                    <a:pt x="240" y="31"/>
                  </a:lnTo>
                  <a:lnTo>
                    <a:pt x="242" y="37"/>
                  </a:lnTo>
                  <a:lnTo>
                    <a:pt x="243" y="42"/>
                  </a:lnTo>
                  <a:lnTo>
                    <a:pt x="244" y="48"/>
                  </a:lnTo>
                  <a:lnTo>
                    <a:pt x="244" y="55"/>
                  </a:lnTo>
                  <a:lnTo>
                    <a:pt x="244" y="168"/>
                  </a:lnTo>
                  <a:lnTo>
                    <a:pt x="244" y="175"/>
                  </a:lnTo>
                  <a:lnTo>
                    <a:pt x="243" y="180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0" y="192"/>
                  </a:lnTo>
                  <a:lnTo>
                    <a:pt x="238" y="196"/>
                  </a:lnTo>
                  <a:lnTo>
                    <a:pt x="236" y="202"/>
                  </a:lnTo>
                  <a:lnTo>
                    <a:pt x="233" y="205"/>
                  </a:lnTo>
                  <a:lnTo>
                    <a:pt x="231" y="209"/>
                  </a:lnTo>
                  <a:lnTo>
                    <a:pt x="227" y="212"/>
                  </a:lnTo>
                  <a:lnTo>
                    <a:pt x="224" y="215"/>
                  </a:lnTo>
                  <a:lnTo>
                    <a:pt x="218" y="217"/>
                  </a:lnTo>
                  <a:lnTo>
                    <a:pt x="214" y="220"/>
                  </a:lnTo>
                  <a:lnTo>
                    <a:pt x="209" y="222"/>
                  </a:lnTo>
                  <a:lnTo>
                    <a:pt x="203" y="223"/>
                  </a:lnTo>
                  <a:lnTo>
                    <a:pt x="198" y="223"/>
                  </a:lnTo>
                  <a:lnTo>
                    <a:pt x="192" y="224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4" y="222"/>
                  </a:lnTo>
                  <a:lnTo>
                    <a:pt x="170" y="220"/>
                  </a:lnTo>
                  <a:lnTo>
                    <a:pt x="164" y="217"/>
                  </a:lnTo>
                  <a:lnTo>
                    <a:pt x="160" y="215"/>
                  </a:lnTo>
                  <a:lnTo>
                    <a:pt x="156" y="212"/>
                  </a:lnTo>
                  <a:lnTo>
                    <a:pt x="153" y="209"/>
                  </a:lnTo>
                  <a:lnTo>
                    <a:pt x="150" y="205"/>
                  </a:lnTo>
                  <a:lnTo>
                    <a:pt x="147" y="202"/>
                  </a:lnTo>
                  <a:lnTo>
                    <a:pt x="144" y="196"/>
                  </a:lnTo>
                  <a:lnTo>
                    <a:pt x="143" y="192"/>
                  </a:lnTo>
                  <a:lnTo>
                    <a:pt x="141" y="187"/>
                  </a:lnTo>
                  <a:lnTo>
                    <a:pt x="140" y="180"/>
                  </a:lnTo>
                  <a:lnTo>
                    <a:pt x="140" y="175"/>
                  </a:lnTo>
                  <a:lnTo>
                    <a:pt x="139" y="168"/>
                  </a:lnTo>
                  <a:lnTo>
                    <a:pt x="139" y="55"/>
                  </a:lnTo>
                  <a:close/>
                  <a:moveTo>
                    <a:pt x="35" y="221"/>
                  </a:moveTo>
                  <a:lnTo>
                    <a:pt x="0" y="221"/>
                  </a:lnTo>
                  <a:lnTo>
                    <a:pt x="0" y="2"/>
                  </a:lnTo>
                  <a:lnTo>
                    <a:pt x="35" y="2"/>
                  </a:lnTo>
                  <a:lnTo>
                    <a:pt x="35" y="96"/>
                  </a:lnTo>
                  <a:lnTo>
                    <a:pt x="74" y="96"/>
                  </a:lnTo>
                  <a:lnTo>
                    <a:pt x="74" y="2"/>
                  </a:lnTo>
                  <a:lnTo>
                    <a:pt x="109" y="2"/>
                  </a:lnTo>
                  <a:lnTo>
                    <a:pt x="109" y="221"/>
                  </a:lnTo>
                  <a:lnTo>
                    <a:pt x="74" y="221"/>
                  </a:lnTo>
                  <a:lnTo>
                    <a:pt x="74" y="126"/>
                  </a:lnTo>
                  <a:lnTo>
                    <a:pt x="35" y="126"/>
                  </a:lnTo>
                  <a:lnTo>
                    <a:pt x="35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1205689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8D58B05-DA7F-4069-8B8D-F812B94C8E5A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40"/>
            <p:cNvSpPr>
              <a:spLocks noEditPoints="1"/>
            </p:cNvSpPr>
            <p:nvPr userDrawn="1"/>
          </p:nvSpPr>
          <p:spPr bwMode="auto">
            <a:xfrm>
              <a:off x="8786797" y="6473684"/>
              <a:ext cx="2115771" cy="211200"/>
            </a:xfrm>
            <a:custGeom>
              <a:avLst/>
              <a:gdLst>
                <a:gd name="T0" fmla="*/ 2210 w 2245"/>
                <a:gd name="T1" fmla="*/ 221 h 224"/>
                <a:gd name="T2" fmla="*/ 2210 w 2245"/>
                <a:gd name="T3" fmla="*/ 2 h 224"/>
                <a:gd name="T4" fmla="*/ 2086 w 2245"/>
                <a:gd name="T5" fmla="*/ 221 h 224"/>
                <a:gd name="T6" fmla="*/ 1915 w 2245"/>
                <a:gd name="T7" fmla="*/ 221 h 224"/>
                <a:gd name="T8" fmla="*/ 1993 w 2245"/>
                <a:gd name="T9" fmla="*/ 2 h 224"/>
                <a:gd name="T10" fmla="*/ 1851 w 2245"/>
                <a:gd name="T11" fmla="*/ 221 h 224"/>
                <a:gd name="T12" fmla="*/ 1783 w 2245"/>
                <a:gd name="T13" fmla="*/ 221 h 224"/>
                <a:gd name="T14" fmla="*/ 1669 w 2245"/>
                <a:gd name="T15" fmla="*/ 221 h 224"/>
                <a:gd name="T16" fmla="*/ 1607 w 2245"/>
                <a:gd name="T17" fmla="*/ 2 h 224"/>
                <a:gd name="T18" fmla="*/ 1474 w 2245"/>
                <a:gd name="T19" fmla="*/ 180 h 224"/>
                <a:gd name="T20" fmla="*/ 1486 w 2245"/>
                <a:gd name="T21" fmla="*/ 192 h 224"/>
                <a:gd name="T22" fmla="*/ 1505 w 2245"/>
                <a:gd name="T23" fmla="*/ 185 h 224"/>
                <a:gd name="T24" fmla="*/ 1506 w 2245"/>
                <a:gd name="T25" fmla="*/ 42 h 224"/>
                <a:gd name="T26" fmla="*/ 1494 w 2245"/>
                <a:gd name="T27" fmla="*/ 30 h 224"/>
                <a:gd name="T28" fmla="*/ 1475 w 2245"/>
                <a:gd name="T29" fmla="*/ 39 h 224"/>
                <a:gd name="T30" fmla="*/ 1438 w 2245"/>
                <a:gd name="T31" fmla="*/ 48 h 224"/>
                <a:gd name="T32" fmla="*/ 1445 w 2245"/>
                <a:gd name="T33" fmla="*/ 22 h 224"/>
                <a:gd name="T34" fmla="*/ 1467 w 2245"/>
                <a:gd name="T35" fmla="*/ 3 h 224"/>
                <a:gd name="T36" fmla="*/ 1502 w 2245"/>
                <a:gd name="T37" fmla="*/ 0 h 224"/>
                <a:gd name="T38" fmla="*/ 1529 w 2245"/>
                <a:gd name="T39" fmla="*/ 13 h 224"/>
                <a:gd name="T40" fmla="*/ 1541 w 2245"/>
                <a:gd name="T41" fmla="*/ 42 h 224"/>
                <a:gd name="T42" fmla="*/ 1540 w 2245"/>
                <a:gd name="T43" fmla="*/ 187 h 224"/>
                <a:gd name="T44" fmla="*/ 1529 w 2245"/>
                <a:gd name="T45" fmla="*/ 209 h 224"/>
                <a:gd name="T46" fmla="*/ 1502 w 2245"/>
                <a:gd name="T47" fmla="*/ 223 h 224"/>
                <a:gd name="T48" fmla="*/ 1467 w 2245"/>
                <a:gd name="T49" fmla="*/ 220 h 224"/>
                <a:gd name="T50" fmla="*/ 1445 w 2245"/>
                <a:gd name="T51" fmla="*/ 202 h 224"/>
                <a:gd name="T52" fmla="*/ 1438 w 2245"/>
                <a:gd name="T53" fmla="*/ 168 h 224"/>
                <a:gd name="T54" fmla="*/ 1382 w 2245"/>
                <a:gd name="T55" fmla="*/ 221 h 224"/>
                <a:gd name="T56" fmla="*/ 1280 w 2245"/>
                <a:gd name="T57" fmla="*/ 94 h 224"/>
                <a:gd name="T58" fmla="*/ 1198 w 2245"/>
                <a:gd name="T59" fmla="*/ 221 h 224"/>
                <a:gd name="T60" fmla="*/ 1106 w 2245"/>
                <a:gd name="T61" fmla="*/ 134 h 224"/>
                <a:gd name="T62" fmla="*/ 1095 w 2245"/>
                <a:gd name="T63" fmla="*/ 97 h 224"/>
                <a:gd name="T64" fmla="*/ 1106 w 2245"/>
                <a:gd name="T65" fmla="*/ 134 h 224"/>
                <a:gd name="T66" fmla="*/ 926 w 2245"/>
                <a:gd name="T67" fmla="*/ 2 h 224"/>
                <a:gd name="T68" fmla="*/ 846 w 2245"/>
                <a:gd name="T69" fmla="*/ 2 h 224"/>
                <a:gd name="T70" fmla="*/ 744 w 2245"/>
                <a:gd name="T71" fmla="*/ 2 h 224"/>
                <a:gd name="T72" fmla="*/ 665 w 2245"/>
                <a:gd name="T73" fmla="*/ 2 h 224"/>
                <a:gd name="T74" fmla="*/ 517 w 2245"/>
                <a:gd name="T75" fmla="*/ 2 h 224"/>
                <a:gd name="T76" fmla="*/ 517 w 2245"/>
                <a:gd name="T77" fmla="*/ 2 h 224"/>
                <a:gd name="T78" fmla="*/ 487 w 2245"/>
                <a:gd name="T79" fmla="*/ 190 h 224"/>
                <a:gd name="T80" fmla="*/ 428 w 2245"/>
                <a:gd name="T81" fmla="*/ 33 h 224"/>
                <a:gd name="T82" fmla="*/ 335 w 2245"/>
                <a:gd name="T83" fmla="*/ 221 h 224"/>
                <a:gd name="T84" fmla="*/ 174 w 2245"/>
                <a:gd name="T85" fmla="*/ 176 h 224"/>
                <a:gd name="T86" fmla="*/ 184 w 2245"/>
                <a:gd name="T87" fmla="*/ 191 h 224"/>
                <a:gd name="T88" fmla="*/ 205 w 2245"/>
                <a:gd name="T89" fmla="*/ 187 h 224"/>
                <a:gd name="T90" fmla="*/ 209 w 2245"/>
                <a:gd name="T91" fmla="*/ 46 h 224"/>
                <a:gd name="T92" fmla="*/ 199 w 2245"/>
                <a:gd name="T93" fmla="*/ 31 h 224"/>
                <a:gd name="T94" fmla="*/ 178 w 2245"/>
                <a:gd name="T95" fmla="*/ 36 h 224"/>
                <a:gd name="T96" fmla="*/ 139 w 2245"/>
                <a:gd name="T97" fmla="*/ 55 h 224"/>
                <a:gd name="T98" fmla="*/ 144 w 2245"/>
                <a:gd name="T99" fmla="*/ 26 h 224"/>
                <a:gd name="T100" fmla="*/ 164 w 2245"/>
                <a:gd name="T101" fmla="*/ 5 h 224"/>
                <a:gd name="T102" fmla="*/ 198 w 2245"/>
                <a:gd name="T103" fmla="*/ 0 h 224"/>
                <a:gd name="T104" fmla="*/ 227 w 2245"/>
                <a:gd name="T105" fmla="*/ 10 h 224"/>
                <a:gd name="T106" fmla="*/ 242 w 2245"/>
                <a:gd name="T107" fmla="*/ 37 h 224"/>
                <a:gd name="T108" fmla="*/ 243 w 2245"/>
                <a:gd name="T109" fmla="*/ 180 h 224"/>
                <a:gd name="T110" fmla="*/ 233 w 2245"/>
                <a:gd name="T111" fmla="*/ 205 h 224"/>
                <a:gd name="T112" fmla="*/ 209 w 2245"/>
                <a:gd name="T113" fmla="*/ 222 h 224"/>
                <a:gd name="T114" fmla="*/ 174 w 2245"/>
                <a:gd name="T115" fmla="*/ 222 h 224"/>
                <a:gd name="T116" fmla="*/ 150 w 2245"/>
                <a:gd name="T117" fmla="*/ 205 h 224"/>
                <a:gd name="T118" fmla="*/ 140 w 2245"/>
                <a:gd name="T119" fmla="*/ 175 h 224"/>
                <a:gd name="T120" fmla="*/ 35 w 2245"/>
                <a:gd name="T121" fmla="*/ 2 h 224"/>
                <a:gd name="T122" fmla="*/ 74 w 2245"/>
                <a:gd name="T123" fmla="*/ 2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5" h="224">
                  <a:moveTo>
                    <a:pt x="2166" y="152"/>
                  </a:moveTo>
                  <a:lnTo>
                    <a:pt x="2199" y="152"/>
                  </a:lnTo>
                  <a:lnTo>
                    <a:pt x="2182" y="41"/>
                  </a:lnTo>
                  <a:lnTo>
                    <a:pt x="2166" y="152"/>
                  </a:lnTo>
                  <a:close/>
                  <a:moveTo>
                    <a:pt x="2245" y="221"/>
                  </a:moveTo>
                  <a:lnTo>
                    <a:pt x="2210" y="221"/>
                  </a:lnTo>
                  <a:lnTo>
                    <a:pt x="2204" y="181"/>
                  </a:lnTo>
                  <a:lnTo>
                    <a:pt x="2162" y="181"/>
                  </a:lnTo>
                  <a:lnTo>
                    <a:pt x="2156" y="221"/>
                  </a:lnTo>
                  <a:lnTo>
                    <a:pt x="2124" y="221"/>
                  </a:lnTo>
                  <a:lnTo>
                    <a:pt x="2159" y="2"/>
                  </a:lnTo>
                  <a:lnTo>
                    <a:pt x="2210" y="2"/>
                  </a:lnTo>
                  <a:lnTo>
                    <a:pt x="2245" y="221"/>
                  </a:lnTo>
                  <a:close/>
                  <a:moveTo>
                    <a:pt x="2016" y="2"/>
                  </a:moveTo>
                  <a:lnTo>
                    <a:pt x="2122" y="2"/>
                  </a:lnTo>
                  <a:lnTo>
                    <a:pt x="2122" y="33"/>
                  </a:lnTo>
                  <a:lnTo>
                    <a:pt x="2086" y="33"/>
                  </a:lnTo>
                  <a:lnTo>
                    <a:pt x="2086" y="221"/>
                  </a:lnTo>
                  <a:lnTo>
                    <a:pt x="2052" y="221"/>
                  </a:lnTo>
                  <a:lnTo>
                    <a:pt x="2052" y="33"/>
                  </a:lnTo>
                  <a:lnTo>
                    <a:pt x="2016" y="33"/>
                  </a:lnTo>
                  <a:lnTo>
                    <a:pt x="2016" y="2"/>
                  </a:lnTo>
                  <a:close/>
                  <a:moveTo>
                    <a:pt x="1915" y="62"/>
                  </a:moveTo>
                  <a:lnTo>
                    <a:pt x="1915" y="221"/>
                  </a:lnTo>
                  <a:lnTo>
                    <a:pt x="1884" y="221"/>
                  </a:lnTo>
                  <a:lnTo>
                    <a:pt x="1884" y="2"/>
                  </a:lnTo>
                  <a:lnTo>
                    <a:pt x="1927" y="2"/>
                  </a:lnTo>
                  <a:lnTo>
                    <a:pt x="1962" y="133"/>
                  </a:lnTo>
                  <a:lnTo>
                    <a:pt x="1962" y="2"/>
                  </a:lnTo>
                  <a:lnTo>
                    <a:pt x="1993" y="2"/>
                  </a:lnTo>
                  <a:lnTo>
                    <a:pt x="1993" y="221"/>
                  </a:lnTo>
                  <a:lnTo>
                    <a:pt x="1958" y="221"/>
                  </a:lnTo>
                  <a:lnTo>
                    <a:pt x="1915" y="62"/>
                  </a:lnTo>
                  <a:close/>
                  <a:moveTo>
                    <a:pt x="1817" y="2"/>
                  </a:moveTo>
                  <a:lnTo>
                    <a:pt x="1851" y="2"/>
                  </a:lnTo>
                  <a:lnTo>
                    <a:pt x="1851" y="221"/>
                  </a:lnTo>
                  <a:lnTo>
                    <a:pt x="1817" y="221"/>
                  </a:lnTo>
                  <a:lnTo>
                    <a:pt x="1817" y="2"/>
                  </a:lnTo>
                  <a:close/>
                  <a:moveTo>
                    <a:pt x="1713" y="157"/>
                  </a:moveTo>
                  <a:lnTo>
                    <a:pt x="1736" y="2"/>
                  </a:lnTo>
                  <a:lnTo>
                    <a:pt x="1783" y="2"/>
                  </a:lnTo>
                  <a:lnTo>
                    <a:pt x="1783" y="221"/>
                  </a:lnTo>
                  <a:lnTo>
                    <a:pt x="1752" y="221"/>
                  </a:lnTo>
                  <a:lnTo>
                    <a:pt x="1752" y="64"/>
                  </a:lnTo>
                  <a:lnTo>
                    <a:pt x="1727" y="221"/>
                  </a:lnTo>
                  <a:lnTo>
                    <a:pt x="1695" y="221"/>
                  </a:lnTo>
                  <a:lnTo>
                    <a:pt x="1669" y="66"/>
                  </a:lnTo>
                  <a:lnTo>
                    <a:pt x="1669" y="221"/>
                  </a:lnTo>
                  <a:lnTo>
                    <a:pt x="1640" y="221"/>
                  </a:lnTo>
                  <a:lnTo>
                    <a:pt x="1640" y="2"/>
                  </a:lnTo>
                  <a:lnTo>
                    <a:pt x="1687" y="2"/>
                  </a:lnTo>
                  <a:lnTo>
                    <a:pt x="1713" y="157"/>
                  </a:lnTo>
                  <a:close/>
                  <a:moveTo>
                    <a:pt x="1572" y="2"/>
                  </a:moveTo>
                  <a:lnTo>
                    <a:pt x="1607" y="2"/>
                  </a:lnTo>
                  <a:lnTo>
                    <a:pt x="1607" y="221"/>
                  </a:lnTo>
                  <a:lnTo>
                    <a:pt x="1572" y="221"/>
                  </a:lnTo>
                  <a:lnTo>
                    <a:pt x="1572" y="2"/>
                  </a:lnTo>
                  <a:close/>
                  <a:moveTo>
                    <a:pt x="1471" y="171"/>
                  </a:moveTo>
                  <a:lnTo>
                    <a:pt x="1473" y="176"/>
                  </a:lnTo>
                  <a:lnTo>
                    <a:pt x="1474" y="180"/>
                  </a:lnTo>
                  <a:lnTo>
                    <a:pt x="1474" y="183"/>
                  </a:lnTo>
                  <a:lnTo>
                    <a:pt x="1475" y="185"/>
                  </a:lnTo>
                  <a:lnTo>
                    <a:pt x="1477" y="187"/>
                  </a:lnTo>
                  <a:lnTo>
                    <a:pt x="1479" y="189"/>
                  </a:lnTo>
                  <a:lnTo>
                    <a:pt x="1482" y="191"/>
                  </a:lnTo>
                  <a:lnTo>
                    <a:pt x="1486" y="192"/>
                  </a:lnTo>
                  <a:lnTo>
                    <a:pt x="1489" y="192"/>
                  </a:lnTo>
                  <a:lnTo>
                    <a:pt x="1494" y="192"/>
                  </a:lnTo>
                  <a:lnTo>
                    <a:pt x="1497" y="191"/>
                  </a:lnTo>
                  <a:lnTo>
                    <a:pt x="1500" y="189"/>
                  </a:lnTo>
                  <a:lnTo>
                    <a:pt x="1503" y="187"/>
                  </a:lnTo>
                  <a:lnTo>
                    <a:pt x="1505" y="185"/>
                  </a:lnTo>
                  <a:lnTo>
                    <a:pt x="1506" y="180"/>
                  </a:lnTo>
                  <a:lnTo>
                    <a:pt x="1507" y="176"/>
                  </a:lnTo>
                  <a:lnTo>
                    <a:pt x="1507" y="171"/>
                  </a:lnTo>
                  <a:lnTo>
                    <a:pt x="1507" y="52"/>
                  </a:lnTo>
                  <a:lnTo>
                    <a:pt x="1507" y="46"/>
                  </a:lnTo>
                  <a:lnTo>
                    <a:pt x="1506" y="42"/>
                  </a:lnTo>
                  <a:lnTo>
                    <a:pt x="1505" y="40"/>
                  </a:lnTo>
                  <a:lnTo>
                    <a:pt x="1505" y="39"/>
                  </a:lnTo>
                  <a:lnTo>
                    <a:pt x="1503" y="36"/>
                  </a:lnTo>
                  <a:lnTo>
                    <a:pt x="1500" y="33"/>
                  </a:lnTo>
                  <a:lnTo>
                    <a:pt x="1497" y="31"/>
                  </a:lnTo>
                  <a:lnTo>
                    <a:pt x="1494" y="30"/>
                  </a:lnTo>
                  <a:lnTo>
                    <a:pt x="1489" y="30"/>
                  </a:lnTo>
                  <a:lnTo>
                    <a:pt x="1486" y="30"/>
                  </a:lnTo>
                  <a:lnTo>
                    <a:pt x="1482" y="31"/>
                  </a:lnTo>
                  <a:lnTo>
                    <a:pt x="1479" y="33"/>
                  </a:lnTo>
                  <a:lnTo>
                    <a:pt x="1477" y="36"/>
                  </a:lnTo>
                  <a:lnTo>
                    <a:pt x="1475" y="39"/>
                  </a:lnTo>
                  <a:lnTo>
                    <a:pt x="1474" y="42"/>
                  </a:lnTo>
                  <a:lnTo>
                    <a:pt x="1473" y="46"/>
                  </a:lnTo>
                  <a:lnTo>
                    <a:pt x="1471" y="52"/>
                  </a:lnTo>
                  <a:lnTo>
                    <a:pt x="1471" y="171"/>
                  </a:lnTo>
                  <a:close/>
                  <a:moveTo>
                    <a:pt x="1438" y="55"/>
                  </a:moveTo>
                  <a:lnTo>
                    <a:pt x="1438" y="48"/>
                  </a:lnTo>
                  <a:lnTo>
                    <a:pt x="1439" y="42"/>
                  </a:lnTo>
                  <a:lnTo>
                    <a:pt x="1440" y="37"/>
                  </a:lnTo>
                  <a:lnTo>
                    <a:pt x="1440" y="33"/>
                  </a:lnTo>
                  <a:lnTo>
                    <a:pt x="1441" y="31"/>
                  </a:lnTo>
                  <a:lnTo>
                    <a:pt x="1443" y="26"/>
                  </a:lnTo>
                  <a:lnTo>
                    <a:pt x="1445" y="22"/>
                  </a:lnTo>
                  <a:lnTo>
                    <a:pt x="1448" y="18"/>
                  </a:lnTo>
                  <a:lnTo>
                    <a:pt x="1451" y="13"/>
                  </a:lnTo>
                  <a:lnTo>
                    <a:pt x="1455" y="10"/>
                  </a:lnTo>
                  <a:lnTo>
                    <a:pt x="1459" y="7"/>
                  </a:lnTo>
                  <a:lnTo>
                    <a:pt x="1463" y="5"/>
                  </a:lnTo>
                  <a:lnTo>
                    <a:pt x="1467" y="3"/>
                  </a:lnTo>
                  <a:lnTo>
                    <a:pt x="1473" y="1"/>
                  </a:lnTo>
                  <a:lnTo>
                    <a:pt x="1478" y="0"/>
                  </a:lnTo>
                  <a:lnTo>
                    <a:pt x="1484" y="0"/>
                  </a:lnTo>
                  <a:lnTo>
                    <a:pt x="1489" y="0"/>
                  </a:lnTo>
                  <a:lnTo>
                    <a:pt x="1496" y="0"/>
                  </a:lnTo>
                  <a:lnTo>
                    <a:pt x="1502" y="0"/>
                  </a:lnTo>
                  <a:lnTo>
                    <a:pt x="1507" y="1"/>
                  </a:lnTo>
                  <a:lnTo>
                    <a:pt x="1513" y="3"/>
                  </a:lnTo>
                  <a:lnTo>
                    <a:pt x="1517" y="5"/>
                  </a:lnTo>
                  <a:lnTo>
                    <a:pt x="1521" y="7"/>
                  </a:lnTo>
                  <a:lnTo>
                    <a:pt x="1525" y="10"/>
                  </a:lnTo>
                  <a:lnTo>
                    <a:pt x="1529" y="13"/>
                  </a:lnTo>
                  <a:lnTo>
                    <a:pt x="1532" y="18"/>
                  </a:lnTo>
                  <a:lnTo>
                    <a:pt x="1535" y="22"/>
                  </a:lnTo>
                  <a:lnTo>
                    <a:pt x="1537" y="26"/>
                  </a:lnTo>
                  <a:lnTo>
                    <a:pt x="1539" y="31"/>
                  </a:lnTo>
                  <a:lnTo>
                    <a:pt x="1540" y="37"/>
                  </a:lnTo>
                  <a:lnTo>
                    <a:pt x="1541" y="42"/>
                  </a:lnTo>
                  <a:lnTo>
                    <a:pt x="1542" y="48"/>
                  </a:lnTo>
                  <a:lnTo>
                    <a:pt x="1542" y="55"/>
                  </a:lnTo>
                  <a:lnTo>
                    <a:pt x="1542" y="168"/>
                  </a:lnTo>
                  <a:lnTo>
                    <a:pt x="1542" y="175"/>
                  </a:lnTo>
                  <a:lnTo>
                    <a:pt x="1541" y="180"/>
                  </a:lnTo>
                  <a:lnTo>
                    <a:pt x="1540" y="187"/>
                  </a:lnTo>
                  <a:lnTo>
                    <a:pt x="1539" y="189"/>
                  </a:lnTo>
                  <a:lnTo>
                    <a:pt x="1539" y="192"/>
                  </a:lnTo>
                  <a:lnTo>
                    <a:pt x="1537" y="196"/>
                  </a:lnTo>
                  <a:lnTo>
                    <a:pt x="1535" y="202"/>
                  </a:lnTo>
                  <a:lnTo>
                    <a:pt x="1532" y="205"/>
                  </a:lnTo>
                  <a:lnTo>
                    <a:pt x="1529" y="209"/>
                  </a:lnTo>
                  <a:lnTo>
                    <a:pt x="1525" y="212"/>
                  </a:lnTo>
                  <a:lnTo>
                    <a:pt x="1521" y="215"/>
                  </a:lnTo>
                  <a:lnTo>
                    <a:pt x="1517" y="217"/>
                  </a:lnTo>
                  <a:lnTo>
                    <a:pt x="1513" y="220"/>
                  </a:lnTo>
                  <a:lnTo>
                    <a:pt x="1507" y="222"/>
                  </a:lnTo>
                  <a:lnTo>
                    <a:pt x="1502" y="223"/>
                  </a:lnTo>
                  <a:lnTo>
                    <a:pt x="1496" y="223"/>
                  </a:lnTo>
                  <a:lnTo>
                    <a:pt x="1489" y="224"/>
                  </a:lnTo>
                  <a:lnTo>
                    <a:pt x="1484" y="223"/>
                  </a:lnTo>
                  <a:lnTo>
                    <a:pt x="1478" y="223"/>
                  </a:lnTo>
                  <a:lnTo>
                    <a:pt x="1473" y="222"/>
                  </a:lnTo>
                  <a:lnTo>
                    <a:pt x="1467" y="220"/>
                  </a:lnTo>
                  <a:lnTo>
                    <a:pt x="1463" y="217"/>
                  </a:lnTo>
                  <a:lnTo>
                    <a:pt x="1459" y="215"/>
                  </a:lnTo>
                  <a:lnTo>
                    <a:pt x="1455" y="212"/>
                  </a:lnTo>
                  <a:lnTo>
                    <a:pt x="1451" y="209"/>
                  </a:lnTo>
                  <a:lnTo>
                    <a:pt x="1448" y="205"/>
                  </a:lnTo>
                  <a:lnTo>
                    <a:pt x="1445" y="202"/>
                  </a:lnTo>
                  <a:lnTo>
                    <a:pt x="1443" y="196"/>
                  </a:lnTo>
                  <a:lnTo>
                    <a:pt x="1441" y="192"/>
                  </a:lnTo>
                  <a:lnTo>
                    <a:pt x="1440" y="187"/>
                  </a:lnTo>
                  <a:lnTo>
                    <a:pt x="1439" y="180"/>
                  </a:lnTo>
                  <a:lnTo>
                    <a:pt x="1438" y="175"/>
                  </a:lnTo>
                  <a:lnTo>
                    <a:pt x="1438" y="168"/>
                  </a:lnTo>
                  <a:lnTo>
                    <a:pt x="1438" y="55"/>
                  </a:lnTo>
                  <a:close/>
                  <a:moveTo>
                    <a:pt x="1311" y="2"/>
                  </a:moveTo>
                  <a:lnTo>
                    <a:pt x="1418" y="2"/>
                  </a:lnTo>
                  <a:lnTo>
                    <a:pt x="1418" y="33"/>
                  </a:lnTo>
                  <a:lnTo>
                    <a:pt x="1382" y="33"/>
                  </a:lnTo>
                  <a:lnTo>
                    <a:pt x="1382" y="221"/>
                  </a:lnTo>
                  <a:lnTo>
                    <a:pt x="1347" y="221"/>
                  </a:lnTo>
                  <a:lnTo>
                    <a:pt x="1347" y="33"/>
                  </a:lnTo>
                  <a:lnTo>
                    <a:pt x="1311" y="33"/>
                  </a:lnTo>
                  <a:lnTo>
                    <a:pt x="1311" y="2"/>
                  </a:lnTo>
                  <a:close/>
                  <a:moveTo>
                    <a:pt x="1232" y="94"/>
                  </a:moveTo>
                  <a:lnTo>
                    <a:pt x="1280" y="94"/>
                  </a:lnTo>
                  <a:lnTo>
                    <a:pt x="1280" y="125"/>
                  </a:lnTo>
                  <a:lnTo>
                    <a:pt x="1232" y="125"/>
                  </a:lnTo>
                  <a:lnTo>
                    <a:pt x="1232" y="190"/>
                  </a:lnTo>
                  <a:lnTo>
                    <a:pt x="1292" y="190"/>
                  </a:lnTo>
                  <a:lnTo>
                    <a:pt x="1292" y="221"/>
                  </a:lnTo>
                  <a:lnTo>
                    <a:pt x="1198" y="221"/>
                  </a:lnTo>
                  <a:lnTo>
                    <a:pt x="1198" y="2"/>
                  </a:lnTo>
                  <a:lnTo>
                    <a:pt x="1292" y="2"/>
                  </a:lnTo>
                  <a:lnTo>
                    <a:pt x="1292" y="33"/>
                  </a:lnTo>
                  <a:lnTo>
                    <a:pt x="1232" y="33"/>
                  </a:lnTo>
                  <a:lnTo>
                    <a:pt x="1232" y="94"/>
                  </a:lnTo>
                  <a:close/>
                  <a:moveTo>
                    <a:pt x="1106" y="134"/>
                  </a:moveTo>
                  <a:lnTo>
                    <a:pt x="1095" y="154"/>
                  </a:lnTo>
                  <a:lnTo>
                    <a:pt x="1095" y="221"/>
                  </a:lnTo>
                  <a:lnTo>
                    <a:pt x="1060" y="221"/>
                  </a:lnTo>
                  <a:lnTo>
                    <a:pt x="1060" y="2"/>
                  </a:lnTo>
                  <a:lnTo>
                    <a:pt x="1095" y="2"/>
                  </a:lnTo>
                  <a:lnTo>
                    <a:pt x="1095" y="97"/>
                  </a:lnTo>
                  <a:lnTo>
                    <a:pt x="1140" y="2"/>
                  </a:lnTo>
                  <a:lnTo>
                    <a:pt x="1174" y="2"/>
                  </a:lnTo>
                  <a:lnTo>
                    <a:pt x="1127" y="99"/>
                  </a:lnTo>
                  <a:lnTo>
                    <a:pt x="1174" y="221"/>
                  </a:lnTo>
                  <a:lnTo>
                    <a:pt x="1139" y="221"/>
                  </a:lnTo>
                  <a:lnTo>
                    <a:pt x="1106" y="134"/>
                  </a:lnTo>
                  <a:close/>
                  <a:moveTo>
                    <a:pt x="993" y="2"/>
                  </a:moveTo>
                  <a:lnTo>
                    <a:pt x="1027" y="2"/>
                  </a:lnTo>
                  <a:lnTo>
                    <a:pt x="1027" y="221"/>
                  </a:lnTo>
                  <a:lnTo>
                    <a:pt x="993" y="221"/>
                  </a:lnTo>
                  <a:lnTo>
                    <a:pt x="993" y="2"/>
                  </a:lnTo>
                  <a:close/>
                  <a:moveTo>
                    <a:pt x="926" y="2"/>
                  </a:moveTo>
                  <a:lnTo>
                    <a:pt x="961" y="2"/>
                  </a:lnTo>
                  <a:lnTo>
                    <a:pt x="961" y="221"/>
                  </a:lnTo>
                  <a:lnTo>
                    <a:pt x="926" y="221"/>
                  </a:lnTo>
                  <a:lnTo>
                    <a:pt x="926" y="2"/>
                  </a:lnTo>
                  <a:close/>
                  <a:moveTo>
                    <a:pt x="812" y="2"/>
                  </a:moveTo>
                  <a:lnTo>
                    <a:pt x="846" y="2"/>
                  </a:lnTo>
                  <a:lnTo>
                    <a:pt x="846" y="190"/>
                  </a:lnTo>
                  <a:lnTo>
                    <a:pt x="903" y="190"/>
                  </a:lnTo>
                  <a:lnTo>
                    <a:pt x="903" y="221"/>
                  </a:lnTo>
                  <a:lnTo>
                    <a:pt x="812" y="221"/>
                  </a:lnTo>
                  <a:lnTo>
                    <a:pt x="812" y="2"/>
                  </a:lnTo>
                  <a:close/>
                  <a:moveTo>
                    <a:pt x="744" y="2"/>
                  </a:moveTo>
                  <a:lnTo>
                    <a:pt x="779" y="2"/>
                  </a:lnTo>
                  <a:lnTo>
                    <a:pt x="779" y="221"/>
                  </a:lnTo>
                  <a:lnTo>
                    <a:pt x="744" y="221"/>
                  </a:lnTo>
                  <a:lnTo>
                    <a:pt x="744" y="2"/>
                  </a:lnTo>
                  <a:close/>
                  <a:moveTo>
                    <a:pt x="631" y="2"/>
                  </a:moveTo>
                  <a:lnTo>
                    <a:pt x="665" y="2"/>
                  </a:lnTo>
                  <a:lnTo>
                    <a:pt x="665" y="190"/>
                  </a:lnTo>
                  <a:lnTo>
                    <a:pt x="722" y="190"/>
                  </a:lnTo>
                  <a:lnTo>
                    <a:pt x="722" y="221"/>
                  </a:lnTo>
                  <a:lnTo>
                    <a:pt x="631" y="221"/>
                  </a:lnTo>
                  <a:lnTo>
                    <a:pt x="631" y="2"/>
                  </a:lnTo>
                  <a:close/>
                  <a:moveTo>
                    <a:pt x="517" y="2"/>
                  </a:moveTo>
                  <a:lnTo>
                    <a:pt x="550" y="2"/>
                  </a:lnTo>
                  <a:lnTo>
                    <a:pt x="550" y="190"/>
                  </a:lnTo>
                  <a:lnTo>
                    <a:pt x="607" y="190"/>
                  </a:lnTo>
                  <a:lnTo>
                    <a:pt x="607" y="221"/>
                  </a:lnTo>
                  <a:lnTo>
                    <a:pt x="517" y="221"/>
                  </a:lnTo>
                  <a:lnTo>
                    <a:pt x="517" y="2"/>
                  </a:lnTo>
                  <a:close/>
                  <a:moveTo>
                    <a:pt x="428" y="94"/>
                  </a:moveTo>
                  <a:lnTo>
                    <a:pt x="475" y="94"/>
                  </a:lnTo>
                  <a:lnTo>
                    <a:pt x="475" y="125"/>
                  </a:lnTo>
                  <a:lnTo>
                    <a:pt x="428" y="125"/>
                  </a:lnTo>
                  <a:lnTo>
                    <a:pt x="428" y="190"/>
                  </a:lnTo>
                  <a:lnTo>
                    <a:pt x="487" y="190"/>
                  </a:lnTo>
                  <a:lnTo>
                    <a:pt x="487" y="221"/>
                  </a:lnTo>
                  <a:lnTo>
                    <a:pt x="394" y="221"/>
                  </a:lnTo>
                  <a:lnTo>
                    <a:pt x="394" y="2"/>
                  </a:lnTo>
                  <a:lnTo>
                    <a:pt x="487" y="2"/>
                  </a:lnTo>
                  <a:lnTo>
                    <a:pt x="487" y="33"/>
                  </a:lnTo>
                  <a:lnTo>
                    <a:pt x="428" y="33"/>
                  </a:lnTo>
                  <a:lnTo>
                    <a:pt x="428" y="94"/>
                  </a:lnTo>
                  <a:close/>
                  <a:moveTo>
                    <a:pt x="264" y="2"/>
                  </a:moveTo>
                  <a:lnTo>
                    <a:pt x="371" y="2"/>
                  </a:lnTo>
                  <a:lnTo>
                    <a:pt x="371" y="33"/>
                  </a:lnTo>
                  <a:lnTo>
                    <a:pt x="335" y="33"/>
                  </a:lnTo>
                  <a:lnTo>
                    <a:pt x="335" y="221"/>
                  </a:lnTo>
                  <a:lnTo>
                    <a:pt x="300" y="221"/>
                  </a:lnTo>
                  <a:lnTo>
                    <a:pt x="300" y="33"/>
                  </a:lnTo>
                  <a:lnTo>
                    <a:pt x="264" y="33"/>
                  </a:lnTo>
                  <a:lnTo>
                    <a:pt x="264" y="2"/>
                  </a:lnTo>
                  <a:close/>
                  <a:moveTo>
                    <a:pt x="174" y="171"/>
                  </a:moveTo>
                  <a:lnTo>
                    <a:pt x="174" y="176"/>
                  </a:lnTo>
                  <a:lnTo>
                    <a:pt x="175" y="180"/>
                  </a:lnTo>
                  <a:lnTo>
                    <a:pt x="176" y="183"/>
                  </a:lnTo>
                  <a:lnTo>
                    <a:pt x="177" y="185"/>
                  </a:lnTo>
                  <a:lnTo>
                    <a:pt x="178" y="187"/>
                  </a:lnTo>
                  <a:lnTo>
                    <a:pt x="181" y="189"/>
                  </a:lnTo>
                  <a:lnTo>
                    <a:pt x="184" y="191"/>
                  </a:lnTo>
                  <a:lnTo>
                    <a:pt x="188" y="192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9" y="191"/>
                  </a:lnTo>
                  <a:lnTo>
                    <a:pt x="202" y="189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6"/>
                  </a:lnTo>
                  <a:lnTo>
                    <a:pt x="210" y="171"/>
                  </a:lnTo>
                  <a:lnTo>
                    <a:pt x="210" y="52"/>
                  </a:lnTo>
                  <a:lnTo>
                    <a:pt x="209" y="46"/>
                  </a:lnTo>
                  <a:lnTo>
                    <a:pt x="209" y="42"/>
                  </a:lnTo>
                  <a:lnTo>
                    <a:pt x="208" y="40"/>
                  </a:lnTo>
                  <a:lnTo>
                    <a:pt x="207" y="39"/>
                  </a:lnTo>
                  <a:lnTo>
                    <a:pt x="205" y="36"/>
                  </a:lnTo>
                  <a:lnTo>
                    <a:pt x="202" y="33"/>
                  </a:lnTo>
                  <a:lnTo>
                    <a:pt x="199" y="31"/>
                  </a:lnTo>
                  <a:lnTo>
                    <a:pt x="196" y="30"/>
                  </a:lnTo>
                  <a:lnTo>
                    <a:pt x="192" y="30"/>
                  </a:lnTo>
                  <a:lnTo>
                    <a:pt x="188" y="30"/>
                  </a:lnTo>
                  <a:lnTo>
                    <a:pt x="184" y="31"/>
                  </a:lnTo>
                  <a:lnTo>
                    <a:pt x="181" y="33"/>
                  </a:lnTo>
                  <a:lnTo>
                    <a:pt x="178" y="36"/>
                  </a:lnTo>
                  <a:lnTo>
                    <a:pt x="177" y="39"/>
                  </a:lnTo>
                  <a:lnTo>
                    <a:pt x="175" y="42"/>
                  </a:lnTo>
                  <a:lnTo>
                    <a:pt x="174" y="46"/>
                  </a:lnTo>
                  <a:lnTo>
                    <a:pt x="174" y="52"/>
                  </a:lnTo>
                  <a:lnTo>
                    <a:pt x="174" y="171"/>
                  </a:lnTo>
                  <a:close/>
                  <a:moveTo>
                    <a:pt x="139" y="55"/>
                  </a:moveTo>
                  <a:lnTo>
                    <a:pt x="140" y="48"/>
                  </a:lnTo>
                  <a:lnTo>
                    <a:pt x="140" y="42"/>
                  </a:lnTo>
                  <a:lnTo>
                    <a:pt x="141" y="37"/>
                  </a:lnTo>
                  <a:lnTo>
                    <a:pt x="142" y="33"/>
                  </a:lnTo>
                  <a:lnTo>
                    <a:pt x="143" y="31"/>
                  </a:lnTo>
                  <a:lnTo>
                    <a:pt x="144" y="26"/>
                  </a:lnTo>
                  <a:lnTo>
                    <a:pt x="147" y="22"/>
                  </a:lnTo>
                  <a:lnTo>
                    <a:pt x="150" y="18"/>
                  </a:lnTo>
                  <a:lnTo>
                    <a:pt x="153" y="13"/>
                  </a:lnTo>
                  <a:lnTo>
                    <a:pt x="156" y="10"/>
                  </a:lnTo>
                  <a:lnTo>
                    <a:pt x="160" y="7"/>
                  </a:lnTo>
                  <a:lnTo>
                    <a:pt x="164" y="5"/>
                  </a:lnTo>
                  <a:lnTo>
                    <a:pt x="170" y="3"/>
                  </a:lnTo>
                  <a:lnTo>
                    <a:pt x="174" y="1"/>
                  </a:lnTo>
                  <a:lnTo>
                    <a:pt x="179" y="0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0"/>
                  </a:lnTo>
                  <a:lnTo>
                    <a:pt x="203" y="0"/>
                  </a:lnTo>
                  <a:lnTo>
                    <a:pt x="209" y="1"/>
                  </a:lnTo>
                  <a:lnTo>
                    <a:pt x="214" y="3"/>
                  </a:lnTo>
                  <a:lnTo>
                    <a:pt x="218" y="5"/>
                  </a:lnTo>
                  <a:lnTo>
                    <a:pt x="224" y="7"/>
                  </a:lnTo>
                  <a:lnTo>
                    <a:pt x="227" y="10"/>
                  </a:lnTo>
                  <a:lnTo>
                    <a:pt x="231" y="13"/>
                  </a:lnTo>
                  <a:lnTo>
                    <a:pt x="233" y="18"/>
                  </a:lnTo>
                  <a:lnTo>
                    <a:pt x="236" y="22"/>
                  </a:lnTo>
                  <a:lnTo>
                    <a:pt x="238" y="26"/>
                  </a:lnTo>
                  <a:lnTo>
                    <a:pt x="240" y="31"/>
                  </a:lnTo>
                  <a:lnTo>
                    <a:pt x="242" y="37"/>
                  </a:lnTo>
                  <a:lnTo>
                    <a:pt x="243" y="42"/>
                  </a:lnTo>
                  <a:lnTo>
                    <a:pt x="244" y="48"/>
                  </a:lnTo>
                  <a:lnTo>
                    <a:pt x="244" y="55"/>
                  </a:lnTo>
                  <a:lnTo>
                    <a:pt x="244" y="168"/>
                  </a:lnTo>
                  <a:lnTo>
                    <a:pt x="244" y="175"/>
                  </a:lnTo>
                  <a:lnTo>
                    <a:pt x="243" y="180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0" y="192"/>
                  </a:lnTo>
                  <a:lnTo>
                    <a:pt x="238" y="196"/>
                  </a:lnTo>
                  <a:lnTo>
                    <a:pt x="236" y="202"/>
                  </a:lnTo>
                  <a:lnTo>
                    <a:pt x="233" y="205"/>
                  </a:lnTo>
                  <a:lnTo>
                    <a:pt x="231" y="209"/>
                  </a:lnTo>
                  <a:lnTo>
                    <a:pt x="227" y="212"/>
                  </a:lnTo>
                  <a:lnTo>
                    <a:pt x="224" y="215"/>
                  </a:lnTo>
                  <a:lnTo>
                    <a:pt x="218" y="217"/>
                  </a:lnTo>
                  <a:lnTo>
                    <a:pt x="214" y="220"/>
                  </a:lnTo>
                  <a:lnTo>
                    <a:pt x="209" y="222"/>
                  </a:lnTo>
                  <a:lnTo>
                    <a:pt x="203" y="223"/>
                  </a:lnTo>
                  <a:lnTo>
                    <a:pt x="198" y="223"/>
                  </a:lnTo>
                  <a:lnTo>
                    <a:pt x="192" y="224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4" y="222"/>
                  </a:lnTo>
                  <a:lnTo>
                    <a:pt x="170" y="220"/>
                  </a:lnTo>
                  <a:lnTo>
                    <a:pt x="164" y="217"/>
                  </a:lnTo>
                  <a:lnTo>
                    <a:pt x="160" y="215"/>
                  </a:lnTo>
                  <a:lnTo>
                    <a:pt x="156" y="212"/>
                  </a:lnTo>
                  <a:lnTo>
                    <a:pt x="153" y="209"/>
                  </a:lnTo>
                  <a:lnTo>
                    <a:pt x="150" y="205"/>
                  </a:lnTo>
                  <a:lnTo>
                    <a:pt x="147" y="202"/>
                  </a:lnTo>
                  <a:lnTo>
                    <a:pt x="144" y="196"/>
                  </a:lnTo>
                  <a:lnTo>
                    <a:pt x="143" y="192"/>
                  </a:lnTo>
                  <a:lnTo>
                    <a:pt x="141" y="187"/>
                  </a:lnTo>
                  <a:lnTo>
                    <a:pt x="140" y="180"/>
                  </a:lnTo>
                  <a:lnTo>
                    <a:pt x="140" y="175"/>
                  </a:lnTo>
                  <a:lnTo>
                    <a:pt x="139" y="168"/>
                  </a:lnTo>
                  <a:lnTo>
                    <a:pt x="139" y="55"/>
                  </a:lnTo>
                  <a:close/>
                  <a:moveTo>
                    <a:pt x="35" y="221"/>
                  </a:moveTo>
                  <a:lnTo>
                    <a:pt x="0" y="221"/>
                  </a:lnTo>
                  <a:lnTo>
                    <a:pt x="0" y="2"/>
                  </a:lnTo>
                  <a:lnTo>
                    <a:pt x="35" y="2"/>
                  </a:lnTo>
                  <a:lnTo>
                    <a:pt x="35" y="96"/>
                  </a:lnTo>
                  <a:lnTo>
                    <a:pt x="74" y="96"/>
                  </a:lnTo>
                  <a:lnTo>
                    <a:pt x="74" y="2"/>
                  </a:lnTo>
                  <a:lnTo>
                    <a:pt x="109" y="2"/>
                  </a:lnTo>
                  <a:lnTo>
                    <a:pt x="109" y="221"/>
                  </a:lnTo>
                  <a:lnTo>
                    <a:pt x="74" y="221"/>
                  </a:lnTo>
                  <a:lnTo>
                    <a:pt x="74" y="126"/>
                  </a:lnTo>
                  <a:lnTo>
                    <a:pt x="35" y="126"/>
                  </a:lnTo>
                  <a:lnTo>
                    <a:pt x="35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94739423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2FE627CD-414C-4E24-91E6-A948FC74A129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9333387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F8D9E-3A3D-4463-B9B5-26E7FA13F899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1366389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67937-B861-4F4E-810F-A4A0062FF9FA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667081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7C1655-CFE3-47E6-A3F7-9A17CE6F1AA9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8738639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02ED2C-E8D2-4373-9CED-09ABE2463223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9141932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4B8E46-7FB7-4088-AFF9-7D6801007ACD}" type="datetime1">
              <a:rPr lang="fi-FI" smtClean="0"/>
              <a:t>28.2.2018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3344395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BDBDD4B1-C5E8-4E87-85F7-EAAC6C8E49ED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40"/>
            <p:cNvSpPr>
              <a:spLocks noEditPoints="1"/>
            </p:cNvSpPr>
            <p:nvPr userDrawn="1"/>
          </p:nvSpPr>
          <p:spPr bwMode="auto">
            <a:xfrm>
              <a:off x="8786797" y="6473684"/>
              <a:ext cx="2115771" cy="211200"/>
            </a:xfrm>
            <a:custGeom>
              <a:avLst/>
              <a:gdLst>
                <a:gd name="T0" fmla="*/ 2210 w 2245"/>
                <a:gd name="T1" fmla="*/ 221 h 224"/>
                <a:gd name="T2" fmla="*/ 2210 w 2245"/>
                <a:gd name="T3" fmla="*/ 2 h 224"/>
                <a:gd name="T4" fmla="*/ 2086 w 2245"/>
                <a:gd name="T5" fmla="*/ 221 h 224"/>
                <a:gd name="T6" fmla="*/ 1915 w 2245"/>
                <a:gd name="T7" fmla="*/ 221 h 224"/>
                <a:gd name="T8" fmla="*/ 1993 w 2245"/>
                <a:gd name="T9" fmla="*/ 2 h 224"/>
                <a:gd name="T10" fmla="*/ 1851 w 2245"/>
                <a:gd name="T11" fmla="*/ 221 h 224"/>
                <a:gd name="T12" fmla="*/ 1783 w 2245"/>
                <a:gd name="T13" fmla="*/ 221 h 224"/>
                <a:gd name="T14" fmla="*/ 1669 w 2245"/>
                <a:gd name="T15" fmla="*/ 221 h 224"/>
                <a:gd name="T16" fmla="*/ 1607 w 2245"/>
                <a:gd name="T17" fmla="*/ 2 h 224"/>
                <a:gd name="T18" fmla="*/ 1474 w 2245"/>
                <a:gd name="T19" fmla="*/ 180 h 224"/>
                <a:gd name="T20" fmla="*/ 1486 w 2245"/>
                <a:gd name="T21" fmla="*/ 192 h 224"/>
                <a:gd name="T22" fmla="*/ 1505 w 2245"/>
                <a:gd name="T23" fmla="*/ 185 h 224"/>
                <a:gd name="T24" fmla="*/ 1506 w 2245"/>
                <a:gd name="T25" fmla="*/ 42 h 224"/>
                <a:gd name="T26" fmla="*/ 1494 w 2245"/>
                <a:gd name="T27" fmla="*/ 30 h 224"/>
                <a:gd name="T28" fmla="*/ 1475 w 2245"/>
                <a:gd name="T29" fmla="*/ 39 h 224"/>
                <a:gd name="T30" fmla="*/ 1438 w 2245"/>
                <a:gd name="T31" fmla="*/ 48 h 224"/>
                <a:gd name="T32" fmla="*/ 1445 w 2245"/>
                <a:gd name="T33" fmla="*/ 22 h 224"/>
                <a:gd name="T34" fmla="*/ 1467 w 2245"/>
                <a:gd name="T35" fmla="*/ 3 h 224"/>
                <a:gd name="T36" fmla="*/ 1502 w 2245"/>
                <a:gd name="T37" fmla="*/ 0 h 224"/>
                <a:gd name="T38" fmla="*/ 1529 w 2245"/>
                <a:gd name="T39" fmla="*/ 13 h 224"/>
                <a:gd name="T40" fmla="*/ 1541 w 2245"/>
                <a:gd name="T41" fmla="*/ 42 h 224"/>
                <a:gd name="T42" fmla="*/ 1540 w 2245"/>
                <a:gd name="T43" fmla="*/ 187 h 224"/>
                <a:gd name="T44" fmla="*/ 1529 w 2245"/>
                <a:gd name="T45" fmla="*/ 209 h 224"/>
                <a:gd name="T46" fmla="*/ 1502 w 2245"/>
                <a:gd name="T47" fmla="*/ 223 h 224"/>
                <a:gd name="T48" fmla="*/ 1467 w 2245"/>
                <a:gd name="T49" fmla="*/ 220 h 224"/>
                <a:gd name="T50" fmla="*/ 1445 w 2245"/>
                <a:gd name="T51" fmla="*/ 202 h 224"/>
                <a:gd name="T52" fmla="*/ 1438 w 2245"/>
                <a:gd name="T53" fmla="*/ 168 h 224"/>
                <a:gd name="T54" fmla="*/ 1382 w 2245"/>
                <a:gd name="T55" fmla="*/ 221 h 224"/>
                <a:gd name="T56" fmla="*/ 1280 w 2245"/>
                <a:gd name="T57" fmla="*/ 94 h 224"/>
                <a:gd name="T58" fmla="*/ 1198 w 2245"/>
                <a:gd name="T59" fmla="*/ 221 h 224"/>
                <a:gd name="T60" fmla="*/ 1106 w 2245"/>
                <a:gd name="T61" fmla="*/ 134 h 224"/>
                <a:gd name="T62" fmla="*/ 1095 w 2245"/>
                <a:gd name="T63" fmla="*/ 97 h 224"/>
                <a:gd name="T64" fmla="*/ 1106 w 2245"/>
                <a:gd name="T65" fmla="*/ 134 h 224"/>
                <a:gd name="T66" fmla="*/ 926 w 2245"/>
                <a:gd name="T67" fmla="*/ 2 h 224"/>
                <a:gd name="T68" fmla="*/ 846 w 2245"/>
                <a:gd name="T69" fmla="*/ 2 h 224"/>
                <a:gd name="T70" fmla="*/ 744 w 2245"/>
                <a:gd name="T71" fmla="*/ 2 h 224"/>
                <a:gd name="T72" fmla="*/ 665 w 2245"/>
                <a:gd name="T73" fmla="*/ 2 h 224"/>
                <a:gd name="T74" fmla="*/ 517 w 2245"/>
                <a:gd name="T75" fmla="*/ 2 h 224"/>
                <a:gd name="T76" fmla="*/ 517 w 2245"/>
                <a:gd name="T77" fmla="*/ 2 h 224"/>
                <a:gd name="T78" fmla="*/ 487 w 2245"/>
                <a:gd name="T79" fmla="*/ 190 h 224"/>
                <a:gd name="T80" fmla="*/ 428 w 2245"/>
                <a:gd name="T81" fmla="*/ 33 h 224"/>
                <a:gd name="T82" fmla="*/ 335 w 2245"/>
                <a:gd name="T83" fmla="*/ 221 h 224"/>
                <a:gd name="T84" fmla="*/ 174 w 2245"/>
                <a:gd name="T85" fmla="*/ 176 h 224"/>
                <a:gd name="T86" fmla="*/ 184 w 2245"/>
                <a:gd name="T87" fmla="*/ 191 h 224"/>
                <a:gd name="T88" fmla="*/ 205 w 2245"/>
                <a:gd name="T89" fmla="*/ 187 h 224"/>
                <a:gd name="T90" fmla="*/ 209 w 2245"/>
                <a:gd name="T91" fmla="*/ 46 h 224"/>
                <a:gd name="T92" fmla="*/ 199 w 2245"/>
                <a:gd name="T93" fmla="*/ 31 h 224"/>
                <a:gd name="T94" fmla="*/ 178 w 2245"/>
                <a:gd name="T95" fmla="*/ 36 h 224"/>
                <a:gd name="T96" fmla="*/ 139 w 2245"/>
                <a:gd name="T97" fmla="*/ 55 h 224"/>
                <a:gd name="T98" fmla="*/ 144 w 2245"/>
                <a:gd name="T99" fmla="*/ 26 h 224"/>
                <a:gd name="T100" fmla="*/ 164 w 2245"/>
                <a:gd name="T101" fmla="*/ 5 h 224"/>
                <a:gd name="T102" fmla="*/ 198 w 2245"/>
                <a:gd name="T103" fmla="*/ 0 h 224"/>
                <a:gd name="T104" fmla="*/ 227 w 2245"/>
                <a:gd name="T105" fmla="*/ 10 h 224"/>
                <a:gd name="T106" fmla="*/ 242 w 2245"/>
                <a:gd name="T107" fmla="*/ 37 h 224"/>
                <a:gd name="T108" fmla="*/ 243 w 2245"/>
                <a:gd name="T109" fmla="*/ 180 h 224"/>
                <a:gd name="T110" fmla="*/ 233 w 2245"/>
                <a:gd name="T111" fmla="*/ 205 h 224"/>
                <a:gd name="T112" fmla="*/ 209 w 2245"/>
                <a:gd name="T113" fmla="*/ 222 h 224"/>
                <a:gd name="T114" fmla="*/ 174 w 2245"/>
                <a:gd name="T115" fmla="*/ 222 h 224"/>
                <a:gd name="T116" fmla="*/ 150 w 2245"/>
                <a:gd name="T117" fmla="*/ 205 h 224"/>
                <a:gd name="T118" fmla="*/ 140 w 2245"/>
                <a:gd name="T119" fmla="*/ 175 h 224"/>
                <a:gd name="T120" fmla="*/ 35 w 2245"/>
                <a:gd name="T121" fmla="*/ 2 h 224"/>
                <a:gd name="T122" fmla="*/ 74 w 2245"/>
                <a:gd name="T123" fmla="*/ 2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5" h="224">
                  <a:moveTo>
                    <a:pt x="2166" y="152"/>
                  </a:moveTo>
                  <a:lnTo>
                    <a:pt x="2199" y="152"/>
                  </a:lnTo>
                  <a:lnTo>
                    <a:pt x="2182" y="41"/>
                  </a:lnTo>
                  <a:lnTo>
                    <a:pt x="2166" y="152"/>
                  </a:lnTo>
                  <a:close/>
                  <a:moveTo>
                    <a:pt x="2245" y="221"/>
                  </a:moveTo>
                  <a:lnTo>
                    <a:pt x="2210" y="221"/>
                  </a:lnTo>
                  <a:lnTo>
                    <a:pt x="2204" y="181"/>
                  </a:lnTo>
                  <a:lnTo>
                    <a:pt x="2162" y="181"/>
                  </a:lnTo>
                  <a:lnTo>
                    <a:pt x="2156" y="221"/>
                  </a:lnTo>
                  <a:lnTo>
                    <a:pt x="2124" y="221"/>
                  </a:lnTo>
                  <a:lnTo>
                    <a:pt x="2159" y="2"/>
                  </a:lnTo>
                  <a:lnTo>
                    <a:pt x="2210" y="2"/>
                  </a:lnTo>
                  <a:lnTo>
                    <a:pt x="2245" y="221"/>
                  </a:lnTo>
                  <a:close/>
                  <a:moveTo>
                    <a:pt x="2016" y="2"/>
                  </a:moveTo>
                  <a:lnTo>
                    <a:pt x="2122" y="2"/>
                  </a:lnTo>
                  <a:lnTo>
                    <a:pt x="2122" y="33"/>
                  </a:lnTo>
                  <a:lnTo>
                    <a:pt x="2086" y="33"/>
                  </a:lnTo>
                  <a:lnTo>
                    <a:pt x="2086" y="221"/>
                  </a:lnTo>
                  <a:lnTo>
                    <a:pt x="2052" y="221"/>
                  </a:lnTo>
                  <a:lnTo>
                    <a:pt x="2052" y="33"/>
                  </a:lnTo>
                  <a:lnTo>
                    <a:pt x="2016" y="33"/>
                  </a:lnTo>
                  <a:lnTo>
                    <a:pt x="2016" y="2"/>
                  </a:lnTo>
                  <a:close/>
                  <a:moveTo>
                    <a:pt x="1915" y="62"/>
                  </a:moveTo>
                  <a:lnTo>
                    <a:pt x="1915" y="221"/>
                  </a:lnTo>
                  <a:lnTo>
                    <a:pt x="1884" y="221"/>
                  </a:lnTo>
                  <a:lnTo>
                    <a:pt x="1884" y="2"/>
                  </a:lnTo>
                  <a:lnTo>
                    <a:pt x="1927" y="2"/>
                  </a:lnTo>
                  <a:lnTo>
                    <a:pt x="1962" y="133"/>
                  </a:lnTo>
                  <a:lnTo>
                    <a:pt x="1962" y="2"/>
                  </a:lnTo>
                  <a:lnTo>
                    <a:pt x="1993" y="2"/>
                  </a:lnTo>
                  <a:lnTo>
                    <a:pt x="1993" y="221"/>
                  </a:lnTo>
                  <a:lnTo>
                    <a:pt x="1958" y="221"/>
                  </a:lnTo>
                  <a:lnTo>
                    <a:pt x="1915" y="62"/>
                  </a:lnTo>
                  <a:close/>
                  <a:moveTo>
                    <a:pt x="1817" y="2"/>
                  </a:moveTo>
                  <a:lnTo>
                    <a:pt x="1851" y="2"/>
                  </a:lnTo>
                  <a:lnTo>
                    <a:pt x="1851" y="221"/>
                  </a:lnTo>
                  <a:lnTo>
                    <a:pt x="1817" y="221"/>
                  </a:lnTo>
                  <a:lnTo>
                    <a:pt x="1817" y="2"/>
                  </a:lnTo>
                  <a:close/>
                  <a:moveTo>
                    <a:pt x="1713" y="157"/>
                  </a:moveTo>
                  <a:lnTo>
                    <a:pt x="1736" y="2"/>
                  </a:lnTo>
                  <a:lnTo>
                    <a:pt x="1783" y="2"/>
                  </a:lnTo>
                  <a:lnTo>
                    <a:pt x="1783" y="221"/>
                  </a:lnTo>
                  <a:lnTo>
                    <a:pt x="1752" y="221"/>
                  </a:lnTo>
                  <a:lnTo>
                    <a:pt x="1752" y="64"/>
                  </a:lnTo>
                  <a:lnTo>
                    <a:pt x="1727" y="221"/>
                  </a:lnTo>
                  <a:lnTo>
                    <a:pt x="1695" y="221"/>
                  </a:lnTo>
                  <a:lnTo>
                    <a:pt x="1669" y="66"/>
                  </a:lnTo>
                  <a:lnTo>
                    <a:pt x="1669" y="221"/>
                  </a:lnTo>
                  <a:lnTo>
                    <a:pt x="1640" y="221"/>
                  </a:lnTo>
                  <a:lnTo>
                    <a:pt x="1640" y="2"/>
                  </a:lnTo>
                  <a:lnTo>
                    <a:pt x="1687" y="2"/>
                  </a:lnTo>
                  <a:lnTo>
                    <a:pt x="1713" y="157"/>
                  </a:lnTo>
                  <a:close/>
                  <a:moveTo>
                    <a:pt x="1572" y="2"/>
                  </a:moveTo>
                  <a:lnTo>
                    <a:pt x="1607" y="2"/>
                  </a:lnTo>
                  <a:lnTo>
                    <a:pt x="1607" y="221"/>
                  </a:lnTo>
                  <a:lnTo>
                    <a:pt x="1572" y="221"/>
                  </a:lnTo>
                  <a:lnTo>
                    <a:pt x="1572" y="2"/>
                  </a:lnTo>
                  <a:close/>
                  <a:moveTo>
                    <a:pt x="1471" y="171"/>
                  </a:moveTo>
                  <a:lnTo>
                    <a:pt x="1473" y="176"/>
                  </a:lnTo>
                  <a:lnTo>
                    <a:pt x="1474" y="180"/>
                  </a:lnTo>
                  <a:lnTo>
                    <a:pt x="1474" y="183"/>
                  </a:lnTo>
                  <a:lnTo>
                    <a:pt x="1475" y="185"/>
                  </a:lnTo>
                  <a:lnTo>
                    <a:pt x="1477" y="187"/>
                  </a:lnTo>
                  <a:lnTo>
                    <a:pt x="1479" y="189"/>
                  </a:lnTo>
                  <a:lnTo>
                    <a:pt x="1482" y="191"/>
                  </a:lnTo>
                  <a:lnTo>
                    <a:pt x="1486" y="192"/>
                  </a:lnTo>
                  <a:lnTo>
                    <a:pt x="1489" y="192"/>
                  </a:lnTo>
                  <a:lnTo>
                    <a:pt x="1494" y="192"/>
                  </a:lnTo>
                  <a:lnTo>
                    <a:pt x="1497" y="191"/>
                  </a:lnTo>
                  <a:lnTo>
                    <a:pt x="1500" y="189"/>
                  </a:lnTo>
                  <a:lnTo>
                    <a:pt x="1503" y="187"/>
                  </a:lnTo>
                  <a:lnTo>
                    <a:pt x="1505" y="185"/>
                  </a:lnTo>
                  <a:lnTo>
                    <a:pt x="1506" y="180"/>
                  </a:lnTo>
                  <a:lnTo>
                    <a:pt x="1507" y="176"/>
                  </a:lnTo>
                  <a:lnTo>
                    <a:pt x="1507" y="171"/>
                  </a:lnTo>
                  <a:lnTo>
                    <a:pt x="1507" y="52"/>
                  </a:lnTo>
                  <a:lnTo>
                    <a:pt x="1507" y="46"/>
                  </a:lnTo>
                  <a:lnTo>
                    <a:pt x="1506" y="42"/>
                  </a:lnTo>
                  <a:lnTo>
                    <a:pt x="1505" y="40"/>
                  </a:lnTo>
                  <a:lnTo>
                    <a:pt x="1505" y="39"/>
                  </a:lnTo>
                  <a:lnTo>
                    <a:pt x="1503" y="36"/>
                  </a:lnTo>
                  <a:lnTo>
                    <a:pt x="1500" y="33"/>
                  </a:lnTo>
                  <a:lnTo>
                    <a:pt x="1497" y="31"/>
                  </a:lnTo>
                  <a:lnTo>
                    <a:pt x="1494" y="30"/>
                  </a:lnTo>
                  <a:lnTo>
                    <a:pt x="1489" y="30"/>
                  </a:lnTo>
                  <a:lnTo>
                    <a:pt x="1486" y="30"/>
                  </a:lnTo>
                  <a:lnTo>
                    <a:pt x="1482" y="31"/>
                  </a:lnTo>
                  <a:lnTo>
                    <a:pt x="1479" y="33"/>
                  </a:lnTo>
                  <a:lnTo>
                    <a:pt x="1477" y="36"/>
                  </a:lnTo>
                  <a:lnTo>
                    <a:pt x="1475" y="39"/>
                  </a:lnTo>
                  <a:lnTo>
                    <a:pt x="1474" y="42"/>
                  </a:lnTo>
                  <a:lnTo>
                    <a:pt x="1473" y="46"/>
                  </a:lnTo>
                  <a:lnTo>
                    <a:pt x="1471" y="52"/>
                  </a:lnTo>
                  <a:lnTo>
                    <a:pt x="1471" y="171"/>
                  </a:lnTo>
                  <a:close/>
                  <a:moveTo>
                    <a:pt x="1438" y="55"/>
                  </a:moveTo>
                  <a:lnTo>
                    <a:pt x="1438" y="48"/>
                  </a:lnTo>
                  <a:lnTo>
                    <a:pt x="1439" y="42"/>
                  </a:lnTo>
                  <a:lnTo>
                    <a:pt x="1440" y="37"/>
                  </a:lnTo>
                  <a:lnTo>
                    <a:pt x="1440" y="33"/>
                  </a:lnTo>
                  <a:lnTo>
                    <a:pt x="1441" y="31"/>
                  </a:lnTo>
                  <a:lnTo>
                    <a:pt x="1443" y="26"/>
                  </a:lnTo>
                  <a:lnTo>
                    <a:pt x="1445" y="22"/>
                  </a:lnTo>
                  <a:lnTo>
                    <a:pt x="1448" y="18"/>
                  </a:lnTo>
                  <a:lnTo>
                    <a:pt x="1451" y="13"/>
                  </a:lnTo>
                  <a:lnTo>
                    <a:pt x="1455" y="10"/>
                  </a:lnTo>
                  <a:lnTo>
                    <a:pt x="1459" y="7"/>
                  </a:lnTo>
                  <a:lnTo>
                    <a:pt x="1463" y="5"/>
                  </a:lnTo>
                  <a:lnTo>
                    <a:pt x="1467" y="3"/>
                  </a:lnTo>
                  <a:lnTo>
                    <a:pt x="1473" y="1"/>
                  </a:lnTo>
                  <a:lnTo>
                    <a:pt x="1478" y="0"/>
                  </a:lnTo>
                  <a:lnTo>
                    <a:pt x="1484" y="0"/>
                  </a:lnTo>
                  <a:lnTo>
                    <a:pt x="1489" y="0"/>
                  </a:lnTo>
                  <a:lnTo>
                    <a:pt x="1496" y="0"/>
                  </a:lnTo>
                  <a:lnTo>
                    <a:pt x="1502" y="0"/>
                  </a:lnTo>
                  <a:lnTo>
                    <a:pt x="1507" y="1"/>
                  </a:lnTo>
                  <a:lnTo>
                    <a:pt x="1513" y="3"/>
                  </a:lnTo>
                  <a:lnTo>
                    <a:pt x="1517" y="5"/>
                  </a:lnTo>
                  <a:lnTo>
                    <a:pt x="1521" y="7"/>
                  </a:lnTo>
                  <a:lnTo>
                    <a:pt x="1525" y="10"/>
                  </a:lnTo>
                  <a:lnTo>
                    <a:pt x="1529" y="13"/>
                  </a:lnTo>
                  <a:lnTo>
                    <a:pt x="1532" y="18"/>
                  </a:lnTo>
                  <a:lnTo>
                    <a:pt x="1535" y="22"/>
                  </a:lnTo>
                  <a:lnTo>
                    <a:pt x="1537" y="26"/>
                  </a:lnTo>
                  <a:lnTo>
                    <a:pt x="1539" y="31"/>
                  </a:lnTo>
                  <a:lnTo>
                    <a:pt x="1540" y="37"/>
                  </a:lnTo>
                  <a:lnTo>
                    <a:pt x="1541" y="42"/>
                  </a:lnTo>
                  <a:lnTo>
                    <a:pt x="1542" y="48"/>
                  </a:lnTo>
                  <a:lnTo>
                    <a:pt x="1542" y="55"/>
                  </a:lnTo>
                  <a:lnTo>
                    <a:pt x="1542" y="168"/>
                  </a:lnTo>
                  <a:lnTo>
                    <a:pt x="1542" y="175"/>
                  </a:lnTo>
                  <a:lnTo>
                    <a:pt x="1541" y="180"/>
                  </a:lnTo>
                  <a:lnTo>
                    <a:pt x="1540" y="187"/>
                  </a:lnTo>
                  <a:lnTo>
                    <a:pt x="1539" y="189"/>
                  </a:lnTo>
                  <a:lnTo>
                    <a:pt x="1539" y="192"/>
                  </a:lnTo>
                  <a:lnTo>
                    <a:pt x="1537" y="196"/>
                  </a:lnTo>
                  <a:lnTo>
                    <a:pt x="1535" y="202"/>
                  </a:lnTo>
                  <a:lnTo>
                    <a:pt x="1532" y="205"/>
                  </a:lnTo>
                  <a:lnTo>
                    <a:pt x="1529" y="209"/>
                  </a:lnTo>
                  <a:lnTo>
                    <a:pt x="1525" y="212"/>
                  </a:lnTo>
                  <a:lnTo>
                    <a:pt x="1521" y="215"/>
                  </a:lnTo>
                  <a:lnTo>
                    <a:pt x="1517" y="217"/>
                  </a:lnTo>
                  <a:lnTo>
                    <a:pt x="1513" y="220"/>
                  </a:lnTo>
                  <a:lnTo>
                    <a:pt x="1507" y="222"/>
                  </a:lnTo>
                  <a:lnTo>
                    <a:pt x="1502" y="223"/>
                  </a:lnTo>
                  <a:lnTo>
                    <a:pt x="1496" y="223"/>
                  </a:lnTo>
                  <a:lnTo>
                    <a:pt x="1489" y="224"/>
                  </a:lnTo>
                  <a:lnTo>
                    <a:pt x="1484" y="223"/>
                  </a:lnTo>
                  <a:lnTo>
                    <a:pt x="1478" y="223"/>
                  </a:lnTo>
                  <a:lnTo>
                    <a:pt x="1473" y="222"/>
                  </a:lnTo>
                  <a:lnTo>
                    <a:pt x="1467" y="220"/>
                  </a:lnTo>
                  <a:lnTo>
                    <a:pt x="1463" y="217"/>
                  </a:lnTo>
                  <a:lnTo>
                    <a:pt x="1459" y="215"/>
                  </a:lnTo>
                  <a:lnTo>
                    <a:pt x="1455" y="212"/>
                  </a:lnTo>
                  <a:lnTo>
                    <a:pt x="1451" y="209"/>
                  </a:lnTo>
                  <a:lnTo>
                    <a:pt x="1448" y="205"/>
                  </a:lnTo>
                  <a:lnTo>
                    <a:pt x="1445" y="202"/>
                  </a:lnTo>
                  <a:lnTo>
                    <a:pt x="1443" y="196"/>
                  </a:lnTo>
                  <a:lnTo>
                    <a:pt x="1441" y="192"/>
                  </a:lnTo>
                  <a:lnTo>
                    <a:pt x="1440" y="187"/>
                  </a:lnTo>
                  <a:lnTo>
                    <a:pt x="1439" y="180"/>
                  </a:lnTo>
                  <a:lnTo>
                    <a:pt x="1438" y="175"/>
                  </a:lnTo>
                  <a:lnTo>
                    <a:pt x="1438" y="168"/>
                  </a:lnTo>
                  <a:lnTo>
                    <a:pt x="1438" y="55"/>
                  </a:lnTo>
                  <a:close/>
                  <a:moveTo>
                    <a:pt x="1311" y="2"/>
                  </a:moveTo>
                  <a:lnTo>
                    <a:pt x="1418" y="2"/>
                  </a:lnTo>
                  <a:lnTo>
                    <a:pt x="1418" y="33"/>
                  </a:lnTo>
                  <a:lnTo>
                    <a:pt x="1382" y="33"/>
                  </a:lnTo>
                  <a:lnTo>
                    <a:pt x="1382" y="221"/>
                  </a:lnTo>
                  <a:lnTo>
                    <a:pt x="1347" y="221"/>
                  </a:lnTo>
                  <a:lnTo>
                    <a:pt x="1347" y="33"/>
                  </a:lnTo>
                  <a:lnTo>
                    <a:pt x="1311" y="33"/>
                  </a:lnTo>
                  <a:lnTo>
                    <a:pt x="1311" y="2"/>
                  </a:lnTo>
                  <a:close/>
                  <a:moveTo>
                    <a:pt x="1232" y="94"/>
                  </a:moveTo>
                  <a:lnTo>
                    <a:pt x="1280" y="94"/>
                  </a:lnTo>
                  <a:lnTo>
                    <a:pt x="1280" y="125"/>
                  </a:lnTo>
                  <a:lnTo>
                    <a:pt x="1232" y="125"/>
                  </a:lnTo>
                  <a:lnTo>
                    <a:pt x="1232" y="190"/>
                  </a:lnTo>
                  <a:lnTo>
                    <a:pt x="1292" y="190"/>
                  </a:lnTo>
                  <a:lnTo>
                    <a:pt x="1292" y="221"/>
                  </a:lnTo>
                  <a:lnTo>
                    <a:pt x="1198" y="221"/>
                  </a:lnTo>
                  <a:lnTo>
                    <a:pt x="1198" y="2"/>
                  </a:lnTo>
                  <a:lnTo>
                    <a:pt x="1292" y="2"/>
                  </a:lnTo>
                  <a:lnTo>
                    <a:pt x="1292" y="33"/>
                  </a:lnTo>
                  <a:lnTo>
                    <a:pt x="1232" y="33"/>
                  </a:lnTo>
                  <a:lnTo>
                    <a:pt x="1232" y="94"/>
                  </a:lnTo>
                  <a:close/>
                  <a:moveTo>
                    <a:pt x="1106" y="134"/>
                  </a:moveTo>
                  <a:lnTo>
                    <a:pt x="1095" y="154"/>
                  </a:lnTo>
                  <a:lnTo>
                    <a:pt x="1095" y="221"/>
                  </a:lnTo>
                  <a:lnTo>
                    <a:pt x="1060" y="221"/>
                  </a:lnTo>
                  <a:lnTo>
                    <a:pt x="1060" y="2"/>
                  </a:lnTo>
                  <a:lnTo>
                    <a:pt x="1095" y="2"/>
                  </a:lnTo>
                  <a:lnTo>
                    <a:pt x="1095" y="97"/>
                  </a:lnTo>
                  <a:lnTo>
                    <a:pt x="1140" y="2"/>
                  </a:lnTo>
                  <a:lnTo>
                    <a:pt x="1174" y="2"/>
                  </a:lnTo>
                  <a:lnTo>
                    <a:pt x="1127" y="99"/>
                  </a:lnTo>
                  <a:lnTo>
                    <a:pt x="1174" y="221"/>
                  </a:lnTo>
                  <a:lnTo>
                    <a:pt x="1139" y="221"/>
                  </a:lnTo>
                  <a:lnTo>
                    <a:pt x="1106" y="134"/>
                  </a:lnTo>
                  <a:close/>
                  <a:moveTo>
                    <a:pt x="993" y="2"/>
                  </a:moveTo>
                  <a:lnTo>
                    <a:pt x="1027" y="2"/>
                  </a:lnTo>
                  <a:lnTo>
                    <a:pt x="1027" y="221"/>
                  </a:lnTo>
                  <a:lnTo>
                    <a:pt x="993" y="221"/>
                  </a:lnTo>
                  <a:lnTo>
                    <a:pt x="993" y="2"/>
                  </a:lnTo>
                  <a:close/>
                  <a:moveTo>
                    <a:pt x="926" y="2"/>
                  </a:moveTo>
                  <a:lnTo>
                    <a:pt x="961" y="2"/>
                  </a:lnTo>
                  <a:lnTo>
                    <a:pt x="961" y="221"/>
                  </a:lnTo>
                  <a:lnTo>
                    <a:pt x="926" y="221"/>
                  </a:lnTo>
                  <a:lnTo>
                    <a:pt x="926" y="2"/>
                  </a:lnTo>
                  <a:close/>
                  <a:moveTo>
                    <a:pt x="812" y="2"/>
                  </a:moveTo>
                  <a:lnTo>
                    <a:pt x="846" y="2"/>
                  </a:lnTo>
                  <a:lnTo>
                    <a:pt x="846" y="190"/>
                  </a:lnTo>
                  <a:lnTo>
                    <a:pt x="903" y="190"/>
                  </a:lnTo>
                  <a:lnTo>
                    <a:pt x="903" y="221"/>
                  </a:lnTo>
                  <a:lnTo>
                    <a:pt x="812" y="221"/>
                  </a:lnTo>
                  <a:lnTo>
                    <a:pt x="812" y="2"/>
                  </a:lnTo>
                  <a:close/>
                  <a:moveTo>
                    <a:pt x="744" y="2"/>
                  </a:moveTo>
                  <a:lnTo>
                    <a:pt x="779" y="2"/>
                  </a:lnTo>
                  <a:lnTo>
                    <a:pt x="779" y="221"/>
                  </a:lnTo>
                  <a:lnTo>
                    <a:pt x="744" y="221"/>
                  </a:lnTo>
                  <a:lnTo>
                    <a:pt x="744" y="2"/>
                  </a:lnTo>
                  <a:close/>
                  <a:moveTo>
                    <a:pt x="631" y="2"/>
                  </a:moveTo>
                  <a:lnTo>
                    <a:pt x="665" y="2"/>
                  </a:lnTo>
                  <a:lnTo>
                    <a:pt x="665" y="190"/>
                  </a:lnTo>
                  <a:lnTo>
                    <a:pt x="722" y="190"/>
                  </a:lnTo>
                  <a:lnTo>
                    <a:pt x="722" y="221"/>
                  </a:lnTo>
                  <a:lnTo>
                    <a:pt x="631" y="221"/>
                  </a:lnTo>
                  <a:lnTo>
                    <a:pt x="631" y="2"/>
                  </a:lnTo>
                  <a:close/>
                  <a:moveTo>
                    <a:pt x="517" y="2"/>
                  </a:moveTo>
                  <a:lnTo>
                    <a:pt x="550" y="2"/>
                  </a:lnTo>
                  <a:lnTo>
                    <a:pt x="550" y="190"/>
                  </a:lnTo>
                  <a:lnTo>
                    <a:pt x="607" y="190"/>
                  </a:lnTo>
                  <a:lnTo>
                    <a:pt x="607" y="221"/>
                  </a:lnTo>
                  <a:lnTo>
                    <a:pt x="517" y="221"/>
                  </a:lnTo>
                  <a:lnTo>
                    <a:pt x="517" y="2"/>
                  </a:lnTo>
                  <a:close/>
                  <a:moveTo>
                    <a:pt x="428" y="94"/>
                  </a:moveTo>
                  <a:lnTo>
                    <a:pt x="475" y="94"/>
                  </a:lnTo>
                  <a:lnTo>
                    <a:pt x="475" y="125"/>
                  </a:lnTo>
                  <a:lnTo>
                    <a:pt x="428" y="125"/>
                  </a:lnTo>
                  <a:lnTo>
                    <a:pt x="428" y="190"/>
                  </a:lnTo>
                  <a:lnTo>
                    <a:pt x="487" y="190"/>
                  </a:lnTo>
                  <a:lnTo>
                    <a:pt x="487" y="221"/>
                  </a:lnTo>
                  <a:lnTo>
                    <a:pt x="394" y="221"/>
                  </a:lnTo>
                  <a:lnTo>
                    <a:pt x="394" y="2"/>
                  </a:lnTo>
                  <a:lnTo>
                    <a:pt x="487" y="2"/>
                  </a:lnTo>
                  <a:lnTo>
                    <a:pt x="487" y="33"/>
                  </a:lnTo>
                  <a:lnTo>
                    <a:pt x="428" y="33"/>
                  </a:lnTo>
                  <a:lnTo>
                    <a:pt x="428" y="94"/>
                  </a:lnTo>
                  <a:close/>
                  <a:moveTo>
                    <a:pt x="264" y="2"/>
                  </a:moveTo>
                  <a:lnTo>
                    <a:pt x="371" y="2"/>
                  </a:lnTo>
                  <a:lnTo>
                    <a:pt x="371" y="33"/>
                  </a:lnTo>
                  <a:lnTo>
                    <a:pt x="335" y="33"/>
                  </a:lnTo>
                  <a:lnTo>
                    <a:pt x="335" y="221"/>
                  </a:lnTo>
                  <a:lnTo>
                    <a:pt x="300" y="221"/>
                  </a:lnTo>
                  <a:lnTo>
                    <a:pt x="300" y="33"/>
                  </a:lnTo>
                  <a:lnTo>
                    <a:pt x="264" y="33"/>
                  </a:lnTo>
                  <a:lnTo>
                    <a:pt x="264" y="2"/>
                  </a:lnTo>
                  <a:close/>
                  <a:moveTo>
                    <a:pt x="174" y="171"/>
                  </a:moveTo>
                  <a:lnTo>
                    <a:pt x="174" y="176"/>
                  </a:lnTo>
                  <a:lnTo>
                    <a:pt x="175" y="180"/>
                  </a:lnTo>
                  <a:lnTo>
                    <a:pt x="176" y="183"/>
                  </a:lnTo>
                  <a:lnTo>
                    <a:pt x="177" y="185"/>
                  </a:lnTo>
                  <a:lnTo>
                    <a:pt x="178" y="187"/>
                  </a:lnTo>
                  <a:lnTo>
                    <a:pt x="181" y="189"/>
                  </a:lnTo>
                  <a:lnTo>
                    <a:pt x="184" y="191"/>
                  </a:lnTo>
                  <a:lnTo>
                    <a:pt x="188" y="192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9" y="191"/>
                  </a:lnTo>
                  <a:lnTo>
                    <a:pt x="202" y="189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6"/>
                  </a:lnTo>
                  <a:lnTo>
                    <a:pt x="210" y="171"/>
                  </a:lnTo>
                  <a:lnTo>
                    <a:pt x="210" y="52"/>
                  </a:lnTo>
                  <a:lnTo>
                    <a:pt x="209" y="46"/>
                  </a:lnTo>
                  <a:lnTo>
                    <a:pt x="209" y="42"/>
                  </a:lnTo>
                  <a:lnTo>
                    <a:pt x="208" y="40"/>
                  </a:lnTo>
                  <a:lnTo>
                    <a:pt x="207" y="39"/>
                  </a:lnTo>
                  <a:lnTo>
                    <a:pt x="205" y="36"/>
                  </a:lnTo>
                  <a:lnTo>
                    <a:pt x="202" y="33"/>
                  </a:lnTo>
                  <a:lnTo>
                    <a:pt x="199" y="31"/>
                  </a:lnTo>
                  <a:lnTo>
                    <a:pt x="196" y="30"/>
                  </a:lnTo>
                  <a:lnTo>
                    <a:pt x="192" y="30"/>
                  </a:lnTo>
                  <a:lnTo>
                    <a:pt x="188" y="30"/>
                  </a:lnTo>
                  <a:lnTo>
                    <a:pt x="184" y="31"/>
                  </a:lnTo>
                  <a:lnTo>
                    <a:pt x="181" y="33"/>
                  </a:lnTo>
                  <a:lnTo>
                    <a:pt x="178" y="36"/>
                  </a:lnTo>
                  <a:lnTo>
                    <a:pt x="177" y="39"/>
                  </a:lnTo>
                  <a:lnTo>
                    <a:pt x="175" y="42"/>
                  </a:lnTo>
                  <a:lnTo>
                    <a:pt x="174" y="46"/>
                  </a:lnTo>
                  <a:lnTo>
                    <a:pt x="174" y="52"/>
                  </a:lnTo>
                  <a:lnTo>
                    <a:pt x="174" y="171"/>
                  </a:lnTo>
                  <a:close/>
                  <a:moveTo>
                    <a:pt x="139" y="55"/>
                  </a:moveTo>
                  <a:lnTo>
                    <a:pt x="140" y="48"/>
                  </a:lnTo>
                  <a:lnTo>
                    <a:pt x="140" y="42"/>
                  </a:lnTo>
                  <a:lnTo>
                    <a:pt x="141" y="37"/>
                  </a:lnTo>
                  <a:lnTo>
                    <a:pt x="142" y="33"/>
                  </a:lnTo>
                  <a:lnTo>
                    <a:pt x="143" y="31"/>
                  </a:lnTo>
                  <a:lnTo>
                    <a:pt x="144" y="26"/>
                  </a:lnTo>
                  <a:lnTo>
                    <a:pt x="147" y="22"/>
                  </a:lnTo>
                  <a:lnTo>
                    <a:pt x="150" y="18"/>
                  </a:lnTo>
                  <a:lnTo>
                    <a:pt x="153" y="13"/>
                  </a:lnTo>
                  <a:lnTo>
                    <a:pt x="156" y="10"/>
                  </a:lnTo>
                  <a:lnTo>
                    <a:pt x="160" y="7"/>
                  </a:lnTo>
                  <a:lnTo>
                    <a:pt x="164" y="5"/>
                  </a:lnTo>
                  <a:lnTo>
                    <a:pt x="170" y="3"/>
                  </a:lnTo>
                  <a:lnTo>
                    <a:pt x="174" y="1"/>
                  </a:lnTo>
                  <a:lnTo>
                    <a:pt x="179" y="0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0"/>
                  </a:lnTo>
                  <a:lnTo>
                    <a:pt x="203" y="0"/>
                  </a:lnTo>
                  <a:lnTo>
                    <a:pt x="209" y="1"/>
                  </a:lnTo>
                  <a:lnTo>
                    <a:pt x="214" y="3"/>
                  </a:lnTo>
                  <a:lnTo>
                    <a:pt x="218" y="5"/>
                  </a:lnTo>
                  <a:lnTo>
                    <a:pt x="224" y="7"/>
                  </a:lnTo>
                  <a:lnTo>
                    <a:pt x="227" y="10"/>
                  </a:lnTo>
                  <a:lnTo>
                    <a:pt x="231" y="13"/>
                  </a:lnTo>
                  <a:lnTo>
                    <a:pt x="233" y="18"/>
                  </a:lnTo>
                  <a:lnTo>
                    <a:pt x="236" y="22"/>
                  </a:lnTo>
                  <a:lnTo>
                    <a:pt x="238" y="26"/>
                  </a:lnTo>
                  <a:lnTo>
                    <a:pt x="240" y="31"/>
                  </a:lnTo>
                  <a:lnTo>
                    <a:pt x="242" y="37"/>
                  </a:lnTo>
                  <a:lnTo>
                    <a:pt x="243" y="42"/>
                  </a:lnTo>
                  <a:lnTo>
                    <a:pt x="244" y="48"/>
                  </a:lnTo>
                  <a:lnTo>
                    <a:pt x="244" y="55"/>
                  </a:lnTo>
                  <a:lnTo>
                    <a:pt x="244" y="168"/>
                  </a:lnTo>
                  <a:lnTo>
                    <a:pt x="244" y="175"/>
                  </a:lnTo>
                  <a:lnTo>
                    <a:pt x="243" y="180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0" y="192"/>
                  </a:lnTo>
                  <a:lnTo>
                    <a:pt x="238" y="196"/>
                  </a:lnTo>
                  <a:lnTo>
                    <a:pt x="236" y="202"/>
                  </a:lnTo>
                  <a:lnTo>
                    <a:pt x="233" y="205"/>
                  </a:lnTo>
                  <a:lnTo>
                    <a:pt x="231" y="209"/>
                  </a:lnTo>
                  <a:lnTo>
                    <a:pt x="227" y="212"/>
                  </a:lnTo>
                  <a:lnTo>
                    <a:pt x="224" y="215"/>
                  </a:lnTo>
                  <a:lnTo>
                    <a:pt x="218" y="217"/>
                  </a:lnTo>
                  <a:lnTo>
                    <a:pt x="214" y="220"/>
                  </a:lnTo>
                  <a:lnTo>
                    <a:pt x="209" y="222"/>
                  </a:lnTo>
                  <a:lnTo>
                    <a:pt x="203" y="223"/>
                  </a:lnTo>
                  <a:lnTo>
                    <a:pt x="198" y="223"/>
                  </a:lnTo>
                  <a:lnTo>
                    <a:pt x="192" y="224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4" y="222"/>
                  </a:lnTo>
                  <a:lnTo>
                    <a:pt x="170" y="220"/>
                  </a:lnTo>
                  <a:lnTo>
                    <a:pt x="164" y="217"/>
                  </a:lnTo>
                  <a:lnTo>
                    <a:pt x="160" y="215"/>
                  </a:lnTo>
                  <a:lnTo>
                    <a:pt x="156" y="212"/>
                  </a:lnTo>
                  <a:lnTo>
                    <a:pt x="153" y="209"/>
                  </a:lnTo>
                  <a:lnTo>
                    <a:pt x="150" y="205"/>
                  </a:lnTo>
                  <a:lnTo>
                    <a:pt x="147" y="202"/>
                  </a:lnTo>
                  <a:lnTo>
                    <a:pt x="144" y="196"/>
                  </a:lnTo>
                  <a:lnTo>
                    <a:pt x="143" y="192"/>
                  </a:lnTo>
                  <a:lnTo>
                    <a:pt x="141" y="187"/>
                  </a:lnTo>
                  <a:lnTo>
                    <a:pt x="140" y="180"/>
                  </a:lnTo>
                  <a:lnTo>
                    <a:pt x="140" y="175"/>
                  </a:lnTo>
                  <a:lnTo>
                    <a:pt x="139" y="168"/>
                  </a:lnTo>
                  <a:lnTo>
                    <a:pt x="139" y="55"/>
                  </a:lnTo>
                  <a:close/>
                  <a:moveTo>
                    <a:pt x="35" y="221"/>
                  </a:moveTo>
                  <a:lnTo>
                    <a:pt x="0" y="221"/>
                  </a:lnTo>
                  <a:lnTo>
                    <a:pt x="0" y="2"/>
                  </a:lnTo>
                  <a:lnTo>
                    <a:pt x="35" y="2"/>
                  </a:lnTo>
                  <a:lnTo>
                    <a:pt x="35" y="96"/>
                  </a:lnTo>
                  <a:lnTo>
                    <a:pt x="74" y="96"/>
                  </a:lnTo>
                  <a:lnTo>
                    <a:pt x="74" y="2"/>
                  </a:lnTo>
                  <a:lnTo>
                    <a:pt x="109" y="2"/>
                  </a:lnTo>
                  <a:lnTo>
                    <a:pt x="109" y="221"/>
                  </a:lnTo>
                  <a:lnTo>
                    <a:pt x="74" y="221"/>
                  </a:lnTo>
                  <a:lnTo>
                    <a:pt x="74" y="126"/>
                  </a:lnTo>
                  <a:lnTo>
                    <a:pt x="35" y="126"/>
                  </a:lnTo>
                  <a:lnTo>
                    <a:pt x="35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20037750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3A43EC-C287-48E0-95CB-2ECCB5D59DCF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40"/>
            <p:cNvSpPr>
              <a:spLocks noEditPoints="1"/>
            </p:cNvSpPr>
            <p:nvPr userDrawn="1"/>
          </p:nvSpPr>
          <p:spPr bwMode="auto">
            <a:xfrm>
              <a:off x="8786797" y="6473684"/>
              <a:ext cx="2115771" cy="211200"/>
            </a:xfrm>
            <a:custGeom>
              <a:avLst/>
              <a:gdLst>
                <a:gd name="T0" fmla="*/ 2210 w 2245"/>
                <a:gd name="T1" fmla="*/ 221 h 224"/>
                <a:gd name="T2" fmla="*/ 2210 w 2245"/>
                <a:gd name="T3" fmla="*/ 2 h 224"/>
                <a:gd name="T4" fmla="*/ 2086 w 2245"/>
                <a:gd name="T5" fmla="*/ 221 h 224"/>
                <a:gd name="T6" fmla="*/ 1915 w 2245"/>
                <a:gd name="T7" fmla="*/ 221 h 224"/>
                <a:gd name="T8" fmla="*/ 1993 w 2245"/>
                <a:gd name="T9" fmla="*/ 2 h 224"/>
                <a:gd name="T10" fmla="*/ 1851 w 2245"/>
                <a:gd name="T11" fmla="*/ 221 h 224"/>
                <a:gd name="T12" fmla="*/ 1783 w 2245"/>
                <a:gd name="T13" fmla="*/ 221 h 224"/>
                <a:gd name="T14" fmla="*/ 1669 w 2245"/>
                <a:gd name="T15" fmla="*/ 221 h 224"/>
                <a:gd name="T16" fmla="*/ 1607 w 2245"/>
                <a:gd name="T17" fmla="*/ 2 h 224"/>
                <a:gd name="T18" fmla="*/ 1474 w 2245"/>
                <a:gd name="T19" fmla="*/ 180 h 224"/>
                <a:gd name="T20" fmla="*/ 1486 w 2245"/>
                <a:gd name="T21" fmla="*/ 192 h 224"/>
                <a:gd name="T22" fmla="*/ 1505 w 2245"/>
                <a:gd name="T23" fmla="*/ 185 h 224"/>
                <a:gd name="T24" fmla="*/ 1506 w 2245"/>
                <a:gd name="T25" fmla="*/ 42 h 224"/>
                <a:gd name="T26" fmla="*/ 1494 w 2245"/>
                <a:gd name="T27" fmla="*/ 30 h 224"/>
                <a:gd name="T28" fmla="*/ 1475 w 2245"/>
                <a:gd name="T29" fmla="*/ 39 h 224"/>
                <a:gd name="T30" fmla="*/ 1438 w 2245"/>
                <a:gd name="T31" fmla="*/ 48 h 224"/>
                <a:gd name="T32" fmla="*/ 1445 w 2245"/>
                <a:gd name="T33" fmla="*/ 22 h 224"/>
                <a:gd name="T34" fmla="*/ 1467 w 2245"/>
                <a:gd name="T35" fmla="*/ 3 h 224"/>
                <a:gd name="T36" fmla="*/ 1502 w 2245"/>
                <a:gd name="T37" fmla="*/ 0 h 224"/>
                <a:gd name="T38" fmla="*/ 1529 w 2245"/>
                <a:gd name="T39" fmla="*/ 13 h 224"/>
                <a:gd name="T40" fmla="*/ 1541 w 2245"/>
                <a:gd name="T41" fmla="*/ 42 h 224"/>
                <a:gd name="T42" fmla="*/ 1540 w 2245"/>
                <a:gd name="T43" fmla="*/ 187 h 224"/>
                <a:gd name="T44" fmla="*/ 1529 w 2245"/>
                <a:gd name="T45" fmla="*/ 209 h 224"/>
                <a:gd name="T46" fmla="*/ 1502 w 2245"/>
                <a:gd name="T47" fmla="*/ 223 h 224"/>
                <a:gd name="T48" fmla="*/ 1467 w 2245"/>
                <a:gd name="T49" fmla="*/ 220 h 224"/>
                <a:gd name="T50" fmla="*/ 1445 w 2245"/>
                <a:gd name="T51" fmla="*/ 202 h 224"/>
                <a:gd name="T52" fmla="*/ 1438 w 2245"/>
                <a:gd name="T53" fmla="*/ 168 h 224"/>
                <a:gd name="T54" fmla="*/ 1382 w 2245"/>
                <a:gd name="T55" fmla="*/ 221 h 224"/>
                <a:gd name="T56" fmla="*/ 1280 w 2245"/>
                <a:gd name="T57" fmla="*/ 94 h 224"/>
                <a:gd name="T58" fmla="*/ 1198 w 2245"/>
                <a:gd name="T59" fmla="*/ 221 h 224"/>
                <a:gd name="T60" fmla="*/ 1106 w 2245"/>
                <a:gd name="T61" fmla="*/ 134 h 224"/>
                <a:gd name="T62" fmla="*/ 1095 w 2245"/>
                <a:gd name="T63" fmla="*/ 97 h 224"/>
                <a:gd name="T64" fmla="*/ 1106 w 2245"/>
                <a:gd name="T65" fmla="*/ 134 h 224"/>
                <a:gd name="T66" fmla="*/ 926 w 2245"/>
                <a:gd name="T67" fmla="*/ 2 h 224"/>
                <a:gd name="T68" fmla="*/ 846 w 2245"/>
                <a:gd name="T69" fmla="*/ 2 h 224"/>
                <a:gd name="T70" fmla="*/ 744 w 2245"/>
                <a:gd name="T71" fmla="*/ 2 h 224"/>
                <a:gd name="T72" fmla="*/ 665 w 2245"/>
                <a:gd name="T73" fmla="*/ 2 h 224"/>
                <a:gd name="T74" fmla="*/ 517 w 2245"/>
                <a:gd name="T75" fmla="*/ 2 h 224"/>
                <a:gd name="T76" fmla="*/ 517 w 2245"/>
                <a:gd name="T77" fmla="*/ 2 h 224"/>
                <a:gd name="T78" fmla="*/ 487 w 2245"/>
                <a:gd name="T79" fmla="*/ 190 h 224"/>
                <a:gd name="T80" fmla="*/ 428 w 2245"/>
                <a:gd name="T81" fmla="*/ 33 h 224"/>
                <a:gd name="T82" fmla="*/ 335 w 2245"/>
                <a:gd name="T83" fmla="*/ 221 h 224"/>
                <a:gd name="T84" fmla="*/ 174 w 2245"/>
                <a:gd name="T85" fmla="*/ 176 h 224"/>
                <a:gd name="T86" fmla="*/ 184 w 2245"/>
                <a:gd name="T87" fmla="*/ 191 h 224"/>
                <a:gd name="T88" fmla="*/ 205 w 2245"/>
                <a:gd name="T89" fmla="*/ 187 h 224"/>
                <a:gd name="T90" fmla="*/ 209 w 2245"/>
                <a:gd name="T91" fmla="*/ 46 h 224"/>
                <a:gd name="T92" fmla="*/ 199 w 2245"/>
                <a:gd name="T93" fmla="*/ 31 h 224"/>
                <a:gd name="T94" fmla="*/ 178 w 2245"/>
                <a:gd name="T95" fmla="*/ 36 h 224"/>
                <a:gd name="T96" fmla="*/ 139 w 2245"/>
                <a:gd name="T97" fmla="*/ 55 h 224"/>
                <a:gd name="T98" fmla="*/ 144 w 2245"/>
                <a:gd name="T99" fmla="*/ 26 h 224"/>
                <a:gd name="T100" fmla="*/ 164 w 2245"/>
                <a:gd name="T101" fmla="*/ 5 h 224"/>
                <a:gd name="T102" fmla="*/ 198 w 2245"/>
                <a:gd name="T103" fmla="*/ 0 h 224"/>
                <a:gd name="T104" fmla="*/ 227 w 2245"/>
                <a:gd name="T105" fmla="*/ 10 h 224"/>
                <a:gd name="T106" fmla="*/ 242 w 2245"/>
                <a:gd name="T107" fmla="*/ 37 h 224"/>
                <a:gd name="T108" fmla="*/ 243 w 2245"/>
                <a:gd name="T109" fmla="*/ 180 h 224"/>
                <a:gd name="T110" fmla="*/ 233 w 2245"/>
                <a:gd name="T111" fmla="*/ 205 h 224"/>
                <a:gd name="T112" fmla="*/ 209 w 2245"/>
                <a:gd name="T113" fmla="*/ 222 h 224"/>
                <a:gd name="T114" fmla="*/ 174 w 2245"/>
                <a:gd name="T115" fmla="*/ 222 h 224"/>
                <a:gd name="T116" fmla="*/ 150 w 2245"/>
                <a:gd name="T117" fmla="*/ 205 h 224"/>
                <a:gd name="T118" fmla="*/ 140 w 2245"/>
                <a:gd name="T119" fmla="*/ 175 h 224"/>
                <a:gd name="T120" fmla="*/ 35 w 2245"/>
                <a:gd name="T121" fmla="*/ 2 h 224"/>
                <a:gd name="T122" fmla="*/ 74 w 2245"/>
                <a:gd name="T123" fmla="*/ 2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5" h="224">
                  <a:moveTo>
                    <a:pt x="2166" y="152"/>
                  </a:moveTo>
                  <a:lnTo>
                    <a:pt x="2199" y="152"/>
                  </a:lnTo>
                  <a:lnTo>
                    <a:pt x="2182" y="41"/>
                  </a:lnTo>
                  <a:lnTo>
                    <a:pt x="2166" y="152"/>
                  </a:lnTo>
                  <a:close/>
                  <a:moveTo>
                    <a:pt x="2245" y="221"/>
                  </a:moveTo>
                  <a:lnTo>
                    <a:pt x="2210" y="221"/>
                  </a:lnTo>
                  <a:lnTo>
                    <a:pt x="2204" y="181"/>
                  </a:lnTo>
                  <a:lnTo>
                    <a:pt x="2162" y="181"/>
                  </a:lnTo>
                  <a:lnTo>
                    <a:pt x="2156" y="221"/>
                  </a:lnTo>
                  <a:lnTo>
                    <a:pt x="2124" y="221"/>
                  </a:lnTo>
                  <a:lnTo>
                    <a:pt x="2159" y="2"/>
                  </a:lnTo>
                  <a:lnTo>
                    <a:pt x="2210" y="2"/>
                  </a:lnTo>
                  <a:lnTo>
                    <a:pt x="2245" y="221"/>
                  </a:lnTo>
                  <a:close/>
                  <a:moveTo>
                    <a:pt x="2016" y="2"/>
                  </a:moveTo>
                  <a:lnTo>
                    <a:pt x="2122" y="2"/>
                  </a:lnTo>
                  <a:lnTo>
                    <a:pt x="2122" y="33"/>
                  </a:lnTo>
                  <a:lnTo>
                    <a:pt x="2086" y="33"/>
                  </a:lnTo>
                  <a:lnTo>
                    <a:pt x="2086" y="221"/>
                  </a:lnTo>
                  <a:lnTo>
                    <a:pt x="2052" y="221"/>
                  </a:lnTo>
                  <a:lnTo>
                    <a:pt x="2052" y="33"/>
                  </a:lnTo>
                  <a:lnTo>
                    <a:pt x="2016" y="33"/>
                  </a:lnTo>
                  <a:lnTo>
                    <a:pt x="2016" y="2"/>
                  </a:lnTo>
                  <a:close/>
                  <a:moveTo>
                    <a:pt x="1915" y="62"/>
                  </a:moveTo>
                  <a:lnTo>
                    <a:pt x="1915" y="221"/>
                  </a:lnTo>
                  <a:lnTo>
                    <a:pt x="1884" y="221"/>
                  </a:lnTo>
                  <a:lnTo>
                    <a:pt x="1884" y="2"/>
                  </a:lnTo>
                  <a:lnTo>
                    <a:pt x="1927" y="2"/>
                  </a:lnTo>
                  <a:lnTo>
                    <a:pt x="1962" y="133"/>
                  </a:lnTo>
                  <a:lnTo>
                    <a:pt x="1962" y="2"/>
                  </a:lnTo>
                  <a:lnTo>
                    <a:pt x="1993" y="2"/>
                  </a:lnTo>
                  <a:lnTo>
                    <a:pt x="1993" y="221"/>
                  </a:lnTo>
                  <a:lnTo>
                    <a:pt x="1958" y="221"/>
                  </a:lnTo>
                  <a:lnTo>
                    <a:pt x="1915" y="62"/>
                  </a:lnTo>
                  <a:close/>
                  <a:moveTo>
                    <a:pt x="1817" y="2"/>
                  </a:moveTo>
                  <a:lnTo>
                    <a:pt x="1851" y="2"/>
                  </a:lnTo>
                  <a:lnTo>
                    <a:pt x="1851" y="221"/>
                  </a:lnTo>
                  <a:lnTo>
                    <a:pt x="1817" y="221"/>
                  </a:lnTo>
                  <a:lnTo>
                    <a:pt x="1817" y="2"/>
                  </a:lnTo>
                  <a:close/>
                  <a:moveTo>
                    <a:pt x="1713" y="157"/>
                  </a:moveTo>
                  <a:lnTo>
                    <a:pt x="1736" y="2"/>
                  </a:lnTo>
                  <a:lnTo>
                    <a:pt x="1783" y="2"/>
                  </a:lnTo>
                  <a:lnTo>
                    <a:pt x="1783" y="221"/>
                  </a:lnTo>
                  <a:lnTo>
                    <a:pt x="1752" y="221"/>
                  </a:lnTo>
                  <a:lnTo>
                    <a:pt x="1752" y="64"/>
                  </a:lnTo>
                  <a:lnTo>
                    <a:pt x="1727" y="221"/>
                  </a:lnTo>
                  <a:lnTo>
                    <a:pt x="1695" y="221"/>
                  </a:lnTo>
                  <a:lnTo>
                    <a:pt x="1669" y="66"/>
                  </a:lnTo>
                  <a:lnTo>
                    <a:pt x="1669" y="221"/>
                  </a:lnTo>
                  <a:lnTo>
                    <a:pt x="1640" y="221"/>
                  </a:lnTo>
                  <a:lnTo>
                    <a:pt x="1640" y="2"/>
                  </a:lnTo>
                  <a:lnTo>
                    <a:pt x="1687" y="2"/>
                  </a:lnTo>
                  <a:lnTo>
                    <a:pt x="1713" y="157"/>
                  </a:lnTo>
                  <a:close/>
                  <a:moveTo>
                    <a:pt x="1572" y="2"/>
                  </a:moveTo>
                  <a:lnTo>
                    <a:pt x="1607" y="2"/>
                  </a:lnTo>
                  <a:lnTo>
                    <a:pt x="1607" y="221"/>
                  </a:lnTo>
                  <a:lnTo>
                    <a:pt x="1572" y="221"/>
                  </a:lnTo>
                  <a:lnTo>
                    <a:pt x="1572" y="2"/>
                  </a:lnTo>
                  <a:close/>
                  <a:moveTo>
                    <a:pt x="1471" y="171"/>
                  </a:moveTo>
                  <a:lnTo>
                    <a:pt x="1473" y="176"/>
                  </a:lnTo>
                  <a:lnTo>
                    <a:pt x="1474" y="180"/>
                  </a:lnTo>
                  <a:lnTo>
                    <a:pt x="1474" y="183"/>
                  </a:lnTo>
                  <a:lnTo>
                    <a:pt x="1475" y="185"/>
                  </a:lnTo>
                  <a:lnTo>
                    <a:pt x="1477" y="187"/>
                  </a:lnTo>
                  <a:lnTo>
                    <a:pt x="1479" y="189"/>
                  </a:lnTo>
                  <a:lnTo>
                    <a:pt x="1482" y="191"/>
                  </a:lnTo>
                  <a:lnTo>
                    <a:pt x="1486" y="192"/>
                  </a:lnTo>
                  <a:lnTo>
                    <a:pt x="1489" y="192"/>
                  </a:lnTo>
                  <a:lnTo>
                    <a:pt x="1494" y="192"/>
                  </a:lnTo>
                  <a:lnTo>
                    <a:pt x="1497" y="191"/>
                  </a:lnTo>
                  <a:lnTo>
                    <a:pt x="1500" y="189"/>
                  </a:lnTo>
                  <a:lnTo>
                    <a:pt x="1503" y="187"/>
                  </a:lnTo>
                  <a:lnTo>
                    <a:pt x="1505" y="185"/>
                  </a:lnTo>
                  <a:lnTo>
                    <a:pt x="1506" y="180"/>
                  </a:lnTo>
                  <a:lnTo>
                    <a:pt x="1507" y="176"/>
                  </a:lnTo>
                  <a:lnTo>
                    <a:pt x="1507" y="171"/>
                  </a:lnTo>
                  <a:lnTo>
                    <a:pt x="1507" y="52"/>
                  </a:lnTo>
                  <a:lnTo>
                    <a:pt x="1507" y="46"/>
                  </a:lnTo>
                  <a:lnTo>
                    <a:pt x="1506" y="42"/>
                  </a:lnTo>
                  <a:lnTo>
                    <a:pt x="1505" y="40"/>
                  </a:lnTo>
                  <a:lnTo>
                    <a:pt x="1505" y="39"/>
                  </a:lnTo>
                  <a:lnTo>
                    <a:pt x="1503" y="36"/>
                  </a:lnTo>
                  <a:lnTo>
                    <a:pt x="1500" y="33"/>
                  </a:lnTo>
                  <a:lnTo>
                    <a:pt x="1497" y="31"/>
                  </a:lnTo>
                  <a:lnTo>
                    <a:pt x="1494" y="30"/>
                  </a:lnTo>
                  <a:lnTo>
                    <a:pt x="1489" y="30"/>
                  </a:lnTo>
                  <a:lnTo>
                    <a:pt x="1486" y="30"/>
                  </a:lnTo>
                  <a:lnTo>
                    <a:pt x="1482" y="31"/>
                  </a:lnTo>
                  <a:lnTo>
                    <a:pt x="1479" y="33"/>
                  </a:lnTo>
                  <a:lnTo>
                    <a:pt x="1477" y="36"/>
                  </a:lnTo>
                  <a:lnTo>
                    <a:pt x="1475" y="39"/>
                  </a:lnTo>
                  <a:lnTo>
                    <a:pt x="1474" y="42"/>
                  </a:lnTo>
                  <a:lnTo>
                    <a:pt x="1473" y="46"/>
                  </a:lnTo>
                  <a:lnTo>
                    <a:pt x="1471" y="52"/>
                  </a:lnTo>
                  <a:lnTo>
                    <a:pt x="1471" y="171"/>
                  </a:lnTo>
                  <a:close/>
                  <a:moveTo>
                    <a:pt x="1438" y="55"/>
                  </a:moveTo>
                  <a:lnTo>
                    <a:pt x="1438" y="48"/>
                  </a:lnTo>
                  <a:lnTo>
                    <a:pt x="1439" y="42"/>
                  </a:lnTo>
                  <a:lnTo>
                    <a:pt x="1440" y="37"/>
                  </a:lnTo>
                  <a:lnTo>
                    <a:pt x="1440" y="33"/>
                  </a:lnTo>
                  <a:lnTo>
                    <a:pt x="1441" y="31"/>
                  </a:lnTo>
                  <a:lnTo>
                    <a:pt x="1443" y="26"/>
                  </a:lnTo>
                  <a:lnTo>
                    <a:pt x="1445" y="22"/>
                  </a:lnTo>
                  <a:lnTo>
                    <a:pt x="1448" y="18"/>
                  </a:lnTo>
                  <a:lnTo>
                    <a:pt x="1451" y="13"/>
                  </a:lnTo>
                  <a:lnTo>
                    <a:pt x="1455" y="10"/>
                  </a:lnTo>
                  <a:lnTo>
                    <a:pt x="1459" y="7"/>
                  </a:lnTo>
                  <a:lnTo>
                    <a:pt x="1463" y="5"/>
                  </a:lnTo>
                  <a:lnTo>
                    <a:pt x="1467" y="3"/>
                  </a:lnTo>
                  <a:lnTo>
                    <a:pt x="1473" y="1"/>
                  </a:lnTo>
                  <a:lnTo>
                    <a:pt x="1478" y="0"/>
                  </a:lnTo>
                  <a:lnTo>
                    <a:pt x="1484" y="0"/>
                  </a:lnTo>
                  <a:lnTo>
                    <a:pt x="1489" y="0"/>
                  </a:lnTo>
                  <a:lnTo>
                    <a:pt x="1496" y="0"/>
                  </a:lnTo>
                  <a:lnTo>
                    <a:pt x="1502" y="0"/>
                  </a:lnTo>
                  <a:lnTo>
                    <a:pt x="1507" y="1"/>
                  </a:lnTo>
                  <a:lnTo>
                    <a:pt x="1513" y="3"/>
                  </a:lnTo>
                  <a:lnTo>
                    <a:pt x="1517" y="5"/>
                  </a:lnTo>
                  <a:lnTo>
                    <a:pt x="1521" y="7"/>
                  </a:lnTo>
                  <a:lnTo>
                    <a:pt x="1525" y="10"/>
                  </a:lnTo>
                  <a:lnTo>
                    <a:pt x="1529" y="13"/>
                  </a:lnTo>
                  <a:lnTo>
                    <a:pt x="1532" y="18"/>
                  </a:lnTo>
                  <a:lnTo>
                    <a:pt x="1535" y="22"/>
                  </a:lnTo>
                  <a:lnTo>
                    <a:pt x="1537" y="26"/>
                  </a:lnTo>
                  <a:lnTo>
                    <a:pt x="1539" y="31"/>
                  </a:lnTo>
                  <a:lnTo>
                    <a:pt x="1540" y="37"/>
                  </a:lnTo>
                  <a:lnTo>
                    <a:pt x="1541" y="42"/>
                  </a:lnTo>
                  <a:lnTo>
                    <a:pt x="1542" y="48"/>
                  </a:lnTo>
                  <a:lnTo>
                    <a:pt x="1542" y="55"/>
                  </a:lnTo>
                  <a:lnTo>
                    <a:pt x="1542" y="168"/>
                  </a:lnTo>
                  <a:lnTo>
                    <a:pt x="1542" y="175"/>
                  </a:lnTo>
                  <a:lnTo>
                    <a:pt x="1541" y="180"/>
                  </a:lnTo>
                  <a:lnTo>
                    <a:pt x="1540" y="187"/>
                  </a:lnTo>
                  <a:lnTo>
                    <a:pt x="1539" y="189"/>
                  </a:lnTo>
                  <a:lnTo>
                    <a:pt x="1539" y="192"/>
                  </a:lnTo>
                  <a:lnTo>
                    <a:pt x="1537" y="196"/>
                  </a:lnTo>
                  <a:lnTo>
                    <a:pt x="1535" y="202"/>
                  </a:lnTo>
                  <a:lnTo>
                    <a:pt x="1532" y="205"/>
                  </a:lnTo>
                  <a:lnTo>
                    <a:pt x="1529" y="209"/>
                  </a:lnTo>
                  <a:lnTo>
                    <a:pt x="1525" y="212"/>
                  </a:lnTo>
                  <a:lnTo>
                    <a:pt x="1521" y="215"/>
                  </a:lnTo>
                  <a:lnTo>
                    <a:pt x="1517" y="217"/>
                  </a:lnTo>
                  <a:lnTo>
                    <a:pt x="1513" y="220"/>
                  </a:lnTo>
                  <a:lnTo>
                    <a:pt x="1507" y="222"/>
                  </a:lnTo>
                  <a:lnTo>
                    <a:pt x="1502" y="223"/>
                  </a:lnTo>
                  <a:lnTo>
                    <a:pt x="1496" y="223"/>
                  </a:lnTo>
                  <a:lnTo>
                    <a:pt x="1489" y="224"/>
                  </a:lnTo>
                  <a:lnTo>
                    <a:pt x="1484" y="223"/>
                  </a:lnTo>
                  <a:lnTo>
                    <a:pt x="1478" y="223"/>
                  </a:lnTo>
                  <a:lnTo>
                    <a:pt x="1473" y="222"/>
                  </a:lnTo>
                  <a:lnTo>
                    <a:pt x="1467" y="220"/>
                  </a:lnTo>
                  <a:lnTo>
                    <a:pt x="1463" y="217"/>
                  </a:lnTo>
                  <a:lnTo>
                    <a:pt x="1459" y="215"/>
                  </a:lnTo>
                  <a:lnTo>
                    <a:pt x="1455" y="212"/>
                  </a:lnTo>
                  <a:lnTo>
                    <a:pt x="1451" y="209"/>
                  </a:lnTo>
                  <a:lnTo>
                    <a:pt x="1448" y="205"/>
                  </a:lnTo>
                  <a:lnTo>
                    <a:pt x="1445" y="202"/>
                  </a:lnTo>
                  <a:lnTo>
                    <a:pt x="1443" y="196"/>
                  </a:lnTo>
                  <a:lnTo>
                    <a:pt x="1441" y="192"/>
                  </a:lnTo>
                  <a:lnTo>
                    <a:pt x="1440" y="187"/>
                  </a:lnTo>
                  <a:lnTo>
                    <a:pt x="1439" y="180"/>
                  </a:lnTo>
                  <a:lnTo>
                    <a:pt x="1438" y="175"/>
                  </a:lnTo>
                  <a:lnTo>
                    <a:pt x="1438" y="168"/>
                  </a:lnTo>
                  <a:lnTo>
                    <a:pt x="1438" y="55"/>
                  </a:lnTo>
                  <a:close/>
                  <a:moveTo>
                    <a:pt x="1311" y="2"/>
                  </a:moveTo>
                  <a:lnTo>
                    <a:pt x="1418" y="2"/>
                  </a:lnTo>
                  <a:lnTo>
                    <a:pt x="1418" y="33"/>
                  </a:lnTo>
                  <a:lnTo>
                    <a:pt x="1382" y="33"/>
                  </a:lnTo>
                  <a:lnTo>
                    <a:pt x="1382" y="221"/>
                  </a:lnTo>
                  <a:lnTo>
                    <a:pt x="1347" y="221"/>
                  </a:lnTo>
                  <a:lnTo>
                    <a:pt x="1347" y="33"/>
                  </a:lnTo>
                  <a:lnTo>
                    <a:pt x="1311" y="33"/>
                  </a:lnTo>
                  <a:lnTo>
                    <a:pt x="1311" y="2"/>
                  </a:lnTo>
                  <a:close/>
                  <a:moveTo>
                    <a:pt x="1232" y="94"/>
                  </a:moveTo>
                  <a:lnTo>
                    <a:pt x="1280" y="94"/>
                  </a:lnTo>
                  <a:lnTo>
                    <a:pt x="1280" y="125"/>
                  </a:lnTo>
                  <a:lnTo>
                    <a:pt x="1232" y="125"/>
                  </a:lnTo>
                  <a:lnTo>
                    <a:pt x="1232" y="190"/>
                  </a:lnTo>
                  <a:lnTo>
                    <a:pt x="1292" y="190"/>
                  </a:lnTo>
                  <a:lnTo>
                    <a:pt x="1292" y="221"/>
                  </a:lnTo>
                  <a:lnTo>
                    <a:pt x="1198" y="221"/>
                  </a:lnTo>
                  <a:lnTo>
                    <a:pt x="1198" y="2"/>
                  </a:lnTo>
                  <a:lnTo>
                    <a:pt x="1292" y="2"/>
                  </a:lnTo>
                  <a:lnTo>
                    <a:pt x="1292" y="33"/>
                  </a:lnTo>
                  <a:lnTo>
                    <a:pt x="1232" y="33"/>
                  </a:lnTo>
                  <a:lnTo>
                    <a:pt x="1232" y="94"/>
                  </a:lnTo>
                  <a:close/>
                  <a:moveTo>
                    <a:pt x="1106" y="134"/>
                  </a:moveTo>
                  <a:lnTo>
                    <a:pt x="1095" y="154"/>
                  </a:lnTo>
                  <a:lnTo>
                    <a:pt x="1095" y="221"/>
                  </a:lnTo>
                  <a:lnTo>
                    <a:pt x="1060" y="221"/>
                  </a:lnTo>
                  <a:lnTo>
                    <a:pt x="1060" y="2"/>
                  </a:lnTo>
                  <a:lnTo>
                    <a:pt x="1095" y="2"/>
                  </a:lnTo>
                  <a:lnTo>
                    <a:pt x="1095" y="97"/>
                  </a:lnTo>
                  <a:lnTo>
                    <a:pt x="1140" y="2"/>
                  </a:lnTo>
                  <a:lnTo>
                    <a:pt x="1174" y="2"/>
                  </a:lnTo>
                  <a:lnTo>
                    <a:pt x="1127" y="99"/>
                  </a:lnTo>
                  <a:lnTo>
                    <a:pt x="1174" y="221"/>
                  </a:lnTo>
                  <a:lnTo>
                    <a:pt x="1139" y="221"/>
                  </a:lnTo>
                  <a:lnTo>
                    <a:pt x="1106" y="134"/>
                  </a:lnTo>
                  <a:close/>
                  <a:moveTo>
                    <a:pt x="993" y="2"/>
                  </a:moveTo>
                  <a:lnTo>
                    <a:pt x="1027" y="2"/>
                  </a:lnTo>
                  <a:lnTo>
                    <a:pt x="1027" y="221"/>
                  </a:lnTo>
                  <a:lnTo>
                    <a:pt x="993" y="221"/>
                  </a:lnTo>
                  <a:lnTo>
                    <a:pt x="993" y="2"/>
                  </a:lnTo>
                  <a:close/>
                  <a:moveTo>
                    <a:pt x="926" y="2"/>
                  </a:moveTo>
                  <a:lnTo>
                    <a:pt x="961" y="2"/>
                  </a:lnTo>
                  <a:lnTo>
                    <a:pt x="961" y="221"/>
                  </a:lnTo>
                  <a:lnTo>
                    <a:pt x="926" y="221"/>
                  </a:lnTo>
                  <a:lnTo>
                    <a:pt x="926" y="2"/>
                  </a:lnTo>
                  <a:close/>
                  <a:moveTo>
                    <a:pt x="812" y="2"/>
                  </a:moveTo>
                  <a:lnTo>
                    <a:pt x="846" y="2"/>
                  </a:lnTo>
                  <a:lnTo>
                    <a:pt x="846" y="190"/>
                  </a:lnTo>
                  <a:lnTo>
                    <a:pt x="903" y="190"/>
                  </a:lnTo>
                  <a:lnTo>
                    <a:pt x="903" y="221"/>
                  </a:lnTo>
                  <a:lnTo>
                    <a:pt x="812" y="221"/>
                  </a:lnTo>
                  <a:lnTo>
                    <a:pt x="812" y="2"/>
                  </a:lnTo>
                  <a:close/>
                  <a:moveTo>
                    <a:pt x="744" y="2"/>
                  </a:moveTo>
                  <a:lnTo>
                    <a:pt x="779" y="2"/>
                  </a:lnTo>
                  <a:lnTo>
                    <a:pt x="779" y="221"/>
                  </a:lnTo>
                  <a:lnTo>
                    <a:pt x="744" y="221"/>
                  </a:lnTo>
                  <a:lnTo>
                    <a:pt x="744" y="2"/>
                  </a:lnTo>
                  <a:close/>
                  <a:moveTo>
                    <a:pt x="631" y="2"/>
                  </a:moveTo>
                  <a:lnTo>
                    <a:pt x="665" y="2"/>
                  </a:lnTo>
                  <a:lnTo>
                    <a:pt x="665" y="190"/>
                  </a:lnTo>
                  <a:lnTo>
                    <a:pt x="722" y="190"/>
                  </a:lnTo>
                  <a:lnTo>
                    <a:pt x="722" y="221"/>
                  </a:lnTo>
                  <a:lnTo>
                    <a:pt x="631" y="221"/>
                  </a:lnTo>
                  <a:lnTo>
                    <a:pt x="631" y="2"/>
                  </a:lnTo>
                  <a:close/>
                  <a:moveTo>
                    <a:pt x="517" y="2"/>
                  </a:moveTo>
                  <a:lnTo>
                    <a:pt x="550" y="2"/>
                  </a:lnTo>
                  <a:lnTo>
                    <a:pt x="550" y="190"/>
                  </a:lnTo>
                  <a:lnTo>
                    <a:pt x="607" y="190"/>
                  </a:lnTo>
                  <a:lnTo>
                    <a:pt x="607" y="221"/>
                  </a:lnTo>
                  <a:lnTo>
                    <a:pt x="517" y="221"/>
                  </a:lnTo>
                  <a:lnTo>
                    <a:pt x="517" y="2"/>
                  </a:lnTo>
                  <a:close/>
                  <a:moveTo>
                    <a:pt x="428" y="94"/>
                  </a:moveTo>
                  <a:lnTo>
                    <a:pt x="475" y="94"/>
                  </a:lnTo>
                  <a:lnTo>
                    <a:pt x="475" y="125"/>
                  </a:lnTo>
                  <a:lnTo>
                    <a:pt x="428" y="125"/>
                  </a:lnTo>
                  <a:lnTo>
                    <a:pt x="428" y="190"/>
                  </a:lnTo>
                  <a:lnTo>
                    <a:pt x="487" y="190"/>
                  </a:lnTo>
                  <a:lnTo>
                    <a:pt x="487" y="221"/>
                  </a:lnTo>
                  <a:lnTo>
                    <a:pt x="394" y="221"/>
                  </a:lnTo>
                  <a:lnTo>
                    <a:pt x="394" y="2"/>
                  </a:lnTo>
                  <a:lnTo>
                    <a:pt x="487" y="2"/>
                  </a:lnTo>
                  <a:lnTo>
                    <a:pt x="487" y="33"/>
                  </a:lnTo>
                  <a:lnTo>
                    <a:pt x="428" y="33"/>
                  </a:lnTo>
                  <a:lnTo>
                    <a:pt x="428" y="94"/>
                  </a:lnTo>
                  <a:close/>
                  <a:moveTo>
                    <a:pt x="264" y="2"/>
                  </a:moveTo>
                  <a:lnTo>
                    <a:pt x="371" y="2"/>
                  </a:lnTo>
                  <a:lnTo>
                    <a:pt x="371" y="33"/>
                  </a:lnTo>
                  <a:lnTo>
                    <a:pt x="335" y="33"/>
                  </a:lnTo>
                  <a:lnTo>
                    <a:pt x="335" y="221"/>
                  </a:lnTo>
                  <a:lnTo>
                    <a:pt x="300" y="221"/>
                  </a:lnTo>
                  <a:lnTo>
                    <a:pt x="300" y="33"/>
                  </a:lnTo>
                  <a:lnTo>
                    <a:pt x="264" y="33"/>
                  </a:lnTo>
                  <a:lnTo>
                    <a:pt x="264" y="2"/>
                  </a:lnTo>
                  <a:close/>
                  <a:moveTo>
                    <a:pt x="174" y="171"/>
                  </a:moveTo>
                  <a:lnTo>
                    <a:pt x="174" y="176"/>
                  </a:lnTo>
                  <a:lnTo>
                    <a:pt x="175" y="180"/>
                  </a:lnTo>
                  <a:lnTo>
                    <a:pt x="176" y="183"/>
                  </a:lnTo>
                  <a:lnTo>
                    <a:pt x="177" y="185"/>
                  </a:lnTo>
                  <a:lnTo>
                    <a:pt x="178" y="187"/>
                  </a:lnTo>
                  <a:lnTo>
                    <a:pt x="181" y="189"/>
                  </a:lnTo>
                  <a:lnTo>
                    <a:pt x="184" y="191"/>
                  </a:lnTo>
                  <a:lnTo>
                    <a:pt x="188" y="192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9" y="191"/>
                  </a:lnTo>
                  <a:lnTo>
                    <a:pt x="202" y="189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6"/>
                  </a:lnTo>
                  <a:lnTo>
                    <a:pt x="210" y="171"/>
                  </a:lnTo>
                  <a:lnTo>
                    <a:pt x="210" y="52"/>
                  </a:lnTo>
                  <a:lnTo>
                    <a:pt x="209" y="46"/>
                  </a:lnTo>
                  <a:lnTo>
                    <a:pt x="209" y="42"/>
                  </a:lnTo>
                  <a:lnTo>
                    <a:pt x="208" y="40"/>
                  </a:lnTo>
                  <a:lnTo>
                    <a:pt x="207" y="39"/>
                  </a:lnTo>
                  <a:lnTo>
                    <a:pt x="205" y="36"/>
                  </a:lnTo>
                  <a:lnTo>
                    <a:pt x="202" y="33"/>
                  </a:lnTo>
                  <a:lnTo>
                    <a:pt x="199" y="31"/>
                  </a:lnTo>
                  <a:lnTo>
                    <a:pt x="196" y="30"/>
                  </a:lnTo>
                  <a:lnTo>
                    <a:pt x="192" y="30"/>
                  </a:lnTo>
                  <a:lnTo>
                    <a:pt x="188" y="30"/>
                  </a:lnTo>
                  <a:lnTo>
                    <a:pt x="184" y="31"/>
                  </a:lnTo>
                  <a:lnTo>
                    <a:pt x="181" y="33"/>
                  </a:lnTo>
                  <a:lnTo>
                    <a:pt x="178" y="36"/>
                  </a:lnTo>
                  <a:lnTo>
                    <a:pt x="177" y="39"/>
                  </a:lnTo>
                  <a:lnTo>
                    <a:pt x="175" y="42"/>
                  </a:lnTo>
                  <a:lnTo>
                    <a:pt x="174" y="46"/>
                  </a:lnTo>
                  <a:lnTo>
                    <a:pt x="174" y="52"/>
                  </a:lnTo>
                  <a:lnTo>
                    <a:pt x="174" y="171"/>
                  </a:lnTo>
                  <a:close/>
                  <a:moveTo>
                    <a:pt x="139" y="55"/>
                  </a:moveTo>
                  <a:lnTo>
                    <a:pt x="140" y="48"/>
                  </a:lnTo>
                  <a:lnTo>
                    <a:pt x="140" y="42"/>
                  </a:lnTo>
                  <a:lnTo>
                    <a:pt x="141" y="37"/>
                  </a:lnTo>
                  <a:lnTo>
                    <a:pt x="142" y="33"/>
                  </a:lnTo>
                  <a:lnTo>
                    <a:pt x="143" y="31"/>
                  </a:lnTo>
                  <a:lnTo>
                    <a:pt x="144" y="26"/>
                  </a:lnTo>
                  <a:lnTo>
                    <a:pt x="147" y="22"/>
                  </a:lnTo>
                  <a:lnTo>
                    <a:pt x="150" y="18"/>
                  </a:lnTo>
                  <a:lnTo>
                    <a:pt x="153" y="13"/>
                  </a:lnTo>
                  <a:lnTo>
                    <a:pt x="156" y="10"/>
                  </a:lnTo>
                  <a:lnTo>
                    <a:pt x="160" y="7"/>
                  </a:lnTo>
                  <a:lnTo>
                    <a:pt x="164" y="5"/>
                  </a:lnTo>
                  <a:lnTo>
                    <a:pt x="170" y="3"/>
                  </a:lnTo>
                  <a:lnTo>
                    <a:pt x="174" y="1"/>
                  </a:lnTo>
                  <a:lnTo>
                    <a:pt x="179" y="0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0"/>
                  </a:lnTo>
                  <a:lnTo>
                    <a:pt x="203" y="0"/>
                  </a:lnTo>
                  <a:lnTo>
                    <a:pt x="209" y="1"/>
                  </a:lnTo>
                  <a:lnTo>
                    <a:pt x="214" y="3"/>
                  </a:lnTo>
                  <a:lnTo>
                    <a:pt x="218" y="5"/>
                  </a:lnTo>
                  <a:lnTo>
                    <a:pt x="224" y="7"/>
                  </a:lnTo>
                  <a:lnTo>
                    <a:pt x="227" y="10"/>
                  </a:lnTo>
                  <a:lnTo>
                    <a:pt x="231" y="13"/>
                  </a:lnTo>
                  <a:lnTo>
                    <a:pt x="233" y="18"/>
                  </a:lnTo>
                  <a:lnTo>
                    <a:pt x="236" y="22"/>
                  </a:lnTo>
                  <a:lnTo>
                    <a:pt x="238" y="26"/>
                  </a:lnTo>
                  <a:lnTo>
                    <a:pt x="240" y="31"/>
                  </a:lnTo>
                  <a:lnTo>
                    <a:pt x="242" y="37"/>
                  </a:lnTo>
                  <a:lnTo>
                    <a:pt x="243" y="42"/>
                  </a:lnTo>
                  <a:lnTo>
                    <a:pt x="244" y="48"/>
                  </a:lnTo>
                  <a:lnTo>
                    <a:pt x="244" y="55"/>
                  </a:lnTo>
                  <a:lnTo>
                    <a:pt x="244" y="168"/>
                  </a:lnTo>
                  <a:lnTo>
                    <a:pt x="244" y="175"/>
                  </a:lnTo>
                  <a:lnTo>
                    <a:pt x="243" y="180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0" y="192"/>
                  </a:lnTo>
                  <a:lnTo>
                    <a:pt x="238" y="196"/>
                  </a:lnTo>
                  <a:lnTo>
                    <a:pt x="236" y="202"/>
                  </a:lnTo>
                  <a:lnTo>
                    <a:pt x="233" y="205"/>
                  </a:lnTo>
                  <a:lnTo>
                    <a:pt x="231" y="209"/>
                  </a:lnTo>
                  <a:lnTo>
                    <a:pt x="227" y="212"/>
                  </a:lnTo>
                  <a:lnTo>
                    <a:pt x="224" y="215"/>
                  </a:lnTo>
                  <a:lnTo>
                    <a:pt x="218" y="217"/>
                  </a:lnTo>
                  <a:lnTo>
                    <a:pt x="214" y="220"/>
                  </a:lnTo>
                  <a:lnTo>
                    <a:pt x="209" y="222"/>
                  </a:lnTo>
                  <a:lnTo>
                    <a:pt x="203" y="223"/>
                  </a:lnTo>
                  <a:lnTo>
                    <a:pt x="198" y="223"/>
                  </a:lnTo>
                  <a:lnTo>
                    <a:pt x="192" y="224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4" y="222"/>
                  </a:lnTo>
                  <a:lnTo>
                    <a:pt x="170" y="220"/>
                  </a:lnTo>
                  <a:lnTo>
                    <a:pt x="164" y="217"/>
                  </a:lnTo>
                  <a:lnTo>
                    <a:pt x="160" y="215"/>
                  </a:lnTo>
                  <a:lnTo>
                    <a:pt x="156" y="212"/>
                  </a:lnTo>
                  <a:lnTo>
                    <a:pt x="153" y="209"/>
                  </a:lnTo>
                  <a:lnTo>
                    <a:pt x="150" y="205"/>
                  </a:lnTo>
                  <a:lnTo>
                    <a:pt x="147" y="202"/>
                  </a:lnTo>
                  <a:lnTo>
                    <a:pt x="144" y="196"/>
                  </a:lnTo>
                  <a:lnTo>
                    <a:pt x="143" y="192"/>
                  </a:lnTo>
                  <a:lnTo>
                    <a:pt x="141" y="187"/>
                  </a:lnTo>
                  <a:lnTo>
                    <a:pt x="140" y="180"/>
                  </a:lnTo>
                  <a:lnTo>
                    <a:pt x="140" y="175"/>
                  </a:lnTo>
                  <a:lnTo>
                    <a:pt x="139" y="168"/>
                  </a:lnTo>
                  <a:lnTo>
                    <a:pt x="139" y="55"/>
                  </a:lnTo>
                  <a:close/>
                  <a:moveTo>
                    <a:pt x="35" y="221"/>
                  </a:moveTo>
                  <a:lnTo>
                    <a:pt x="0" y="221"/>
                  </a:lnTo>
                  <a:lnTo>
                    <a:pt x="0" y="2"/>
                  </a:lnTo>
                  <a:lnTo>
                    <a:pt x="35" y="2"/>
                  </a:lnTo>
                  <a:lnTo>
                    <a:pt x="35" y="96"/>
                  </a:lnTo>
                  <a:lnTo>
                    <a:pt x="74" y="96"/>
                  </a:lnTo>
                  <a:lnTo>
                    <a:pt x="74" y="2"/>
                  </a:lnTo>
                  <a:lnTo>
                    <a:pt x="109" y="2"/>
                  </a:lnTo>
                  <a:lnTo>
                    <a:pt x="109" y="221"/>
                  </a:lnTo>
                  <a:lnTo>
                    <a:pt x="74" y="221"/>
                  </a:lnTo>
                  <a:lnTo>
                    <a:pt x="74" y="126"/>
                  </a:lnTo>
                  <a:lnTo>
                    <a:pt x="35" y="126"/>
                  </a:lnTo>
                  <a:lnTo>
                    <a:pt x="35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963411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C799635-1D38-4AAB-9940-DA3D8E6B64C8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1817323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FC5A62-3E72-4F06-B79B-62F9F48FDBB9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40"/>
            <p:cNvSpPr>
              <a:spLocks noEditPoints="1"/>
            </p:cNvSpPr>
            <p:nvPr userDrawn="1"/>
          </p:nvSpPr>
          <p:spPr bwMode="auto">
            <a:xfrm>
              <a:off x="8786797" y="6473684"/>
              <a:ext cx="2115771" cy="211200"/>
            </a:xfrm>
            <a:custGeom>
              <a:avLst/>
              <a:gdLst>
                <a:gd name="T0" fmla="*/ 2210 w 2245"/>
                <a:gd name="T1" fmla="*/ 221 h 224"/>
                <a:gd name="T2" fmla="*/ 2210 w 2245"/>
                <a:gd name="T3" fmla="*/ 2 h 224"/>
                <a:gd name="T4" fmla="*/ 2086 w 2245"/>
                <a:gd name="T5" fmla="*/ 221 h 224"/>
                <a:gd name="T6" fmla="*/ 1915 w 2245"/>
                <a:gd name="T7" fmla="*/ 221 h 224"/>
                <a:gd name="T8" fmla="*/ 1993 w 2245"/>
                <a:gd name="T9" fmla="*/ 2 h 224"/>
                <a:gd name="T10" fmla="*/ 1851 w 2245"/>
                <a:gd name="T11" fmla="*/ 221 h 224"/>
                <a:gd name="T12" fmla="*/ 1783 w 2245"/>
                <a:gd name="T13" fmla="*/ 221 h 224"/>
                <a:gd name="T14" fmla="*/ 1669 w 2245"/>
                <a:gd name="T15" fmla="*/ 221 h 224"/>
                <a:gd name="T16" fmla="*/ 1607 w 2245"/>
                <a:gd name="T17" fmla="*/ 2 h 224"/>
                <a:gd name="T18" fmla="*/ 1474 w 2245"/>
                <a:gd name="T19" fmla="*/ 180 h 224"/>
                <a:gd name="T20" fmla="*/ 1486 w 2245"/>
                <a:gd name="T21" fmla="*/ 192 h 224"/>
                <a:gd name="T22" fmla="*/ 1505 w 2245"/>
                <a:gd name="T23" fmla="*/ 185 h 224"/>
                <a:gd name="T24" fmla="*/ 1506 w 2245"/>
                <a:gd name="T25" fmla="*/ 42 h 224"/>
                <a:gd name="T26" fmla="*/ 1494 w 2245"/>
                <a:gd name="T27" fmla="*/ 30 h 224"/>
                <a:gd name="T28" fmla="*/ 1475 w 2245"/>
                <a:gd name="T29" fmla="*/ 39 h 224"/>
                <a:gd name="T30" fmla="*/ 1438 w 2245"/>
                <a:gd name="T31" fmla="*/ 48 h 224"/>
                <a:gd name="T32" fmla="*/ 1445 w 2245"/>
                <a:gd name="T33" fmla="*/ 22 h 224"/>
                <a:gd name="T34" fmla="*/ 1467 w 2245"/>
                <a:gd name="T35" fmla="*/ 3 h 224"/>
                <a:gd name="T36" fmla="*/ 1502 w 2245"/>
                <a:gd name="T37" fmla="*/ 0 h 224"/>
                <a:gd name="T38" fmla="*/ 1529 w 2245"/>
                <a:gd name="T39" fmla="*/ 13 h 224"/>
                <a:gd name="T40" fmla="*/ 1541 w 2245"/>
                <a:gd name="T41" fmla="*/ 42 h 224"/>
                <a:gd name="T42" fmla="*/ 1540 w 2245"/>
                <a:gd name="T43" fmla="*/ 187 h 224"/>
                <a:gd name="T44" fmla="*/ 1529 w 2245"/>
                <a:gd name="T45" fmla="*/ 209 h 224"/>
                <a:gd name="T46" fmla="*/ 1502 w 2245"/>
                <a:gd name="T47" fmla="*/ 223 h 224"/>
                <a:gd name="T48" fmla="*/ 1467 w 2245"/>
                <a:gd name="T49" fmla="*/ 220 h 224"/>
                <a:gd name="T50" fmla="*/ 1445 w 2245"/>
                <a:gd name="T51" fmla="*/ 202 h 224"/>
                <a:gd name="T52" fmla="*/ 1438 w 2245"/>
                <a:gd name="T53" fmla="*/ 168 h 224"/>
                <a:gd name="T54" fmla="*/ 1382 w 2245"/>
                <a:gd name="T55" fmla="*/ 221 h 224"/>
                <a:gd name="T56" fmla="*/ 1280 w 2245"/>
                <a:gd name="T57" fmla="*/ 94 h 224"/>
                <a:gd name="T58" fmla="*/ 1198 w 2245"/>
                <a:gd name="T59" fmla="*/ 221 h 224"/>
                <a:gd name="T60" fmla="*/ 1106 w 2245"/>
                <a:gd name="T61" fmla="*/ 134 h 224"/>
                <a:gd name="T62" fmla="*/ 1095 w 2245"/>
                <a:gd name="T63" fmla="*/ 97 h 224"/>
                <a:gd name="T64" fmla="*/ 1106 w 2245"/>
                <a:gd name="T65" fmla="*/ 134 h 224"/>
                <a:gd name="T66" fmla="*/ 926 w 2245"/>
                <a:gd name="T67" fmla="*/ 2 h 224"/>
                <a:gd name="T68" fmla="*/ 846 w 2245"/>
                <a:gd name="T69" fmla="*/ 2 h 224"/>
                <a:gd name="T70" fmla="*/ 744 w 2245"/>
                <a:gd name="T71" fmla="*/ 2 h 224"/>
                <a:gd name="T72" fmla="*/ 665 w 2245"/>
                <a:gd name="T73" fmla="*/ 2 h 224"/>
                <a:gd name="T74" fmla="*/ 517 w 2245"/>
                <a:gd name="T75" fmla="*/ 2 h 224"/>
                <a:gd name="T76" fmla="*/ 517 w 2245"/>
                <a:gd name="T77" fmla="*/ 2 h 224"/>
                <a:gd name="T78" fmla="*/ 487 w 2245"/>
                <a:gd name="T79" fmla="*/ 190 h 224"/>
                <a:gd name="T80" fmla="*/ 428 w 2245"/>
                <a:gd name="T81" fmla="*/ 33 h 224"/>
                <a:gd name="T82" fmla="*/ 335 w 2245"/>
                <a:gd name="T83" fmla="*/ 221 h 224"/>
                <a:gd name="T84" fmla="*/ 174 w 2245"/>
                <a:gd name="T85" fmla="*/ 176 h 224"/>
                <a:gd name="T86" fmla="*/ 184 w 2245"/>
                <a:gd name="T87" fmla="*/ 191 h 224"/>
                <a:gd name="T88" fmla="*/ 205 w 2245"/>
                <a:gd name="T89" fmla="*/ 187 h 224"/>
                <a:gd name="T90" fmla="*/ 209 w 2245"/>
                <a:gd name="T91" fmla="*/ 46 h 224"/>
                <a:gd name="T92" fmla="*/ 199 w 2245"/>
                <a:gd name="T93" fmla="*/ 31 h 224"/>
                <a:gd name="T94" fmla="*/ 178 w 2245"/>
                <a:gd name="T95" fmla="*/ 36 h 224"/>
                <a:gd name="T96" fmla="*/ 139 w 2245"/>
                <a:gd name="T97" fmla="*/ 55 h 224"/>
                <a:gd name="T98" fmla="*/ 144 w 2245"/>
                <a:gd name="T99" fmla="*/ 26 h 224"/>
                <a:gd name="T100" fmla="*/ 164 w 2245"/>
                <a:gd name="T101" fmla="*/ 5 h 224"/>
                <a:gd name="T102" fmla="*/ 198 w 2245"/>
                <a:gd name="T103" fmla="*/ 0 h 224"/>
                <a:gd name="T104" fmla="*/ 227 w 2245"/>
                <a:gd name="T105" fmla="*/ 10 h 224"/>
                <a:gd name="T106" fmla="*/ 242 w 2245"/>
                <a:gd name="T107" fmla="*/ 37 h 224"/>
                <a:gd name="T108" fmla="*/ 243 w 2245"/>
                <a:gd name="T109" fmla="*/ 180 h 224"/>
                <a:gd name="T110" fmla="*/ 233 w 2245"/>
                <a:gd name="T111" fmla="*/ 205 h 224"/>
                <a:gd name="T112" fmla="*/ 209 w 2245"/>
                <a:gd name="T113" fmla="*/ 222 h 224"/>
                <a:gd name="T114" fmla="*/ 174 w 2245"/>
                <a:gd name="T115" fmla="*/ 222 h 224"/>
                <a:gd name="T116" fmla="*/ 150 w 2245"/>
                <a:gd name="T117" fmla="*/ 205 h 224"/>
                <a:gd name="T118" fmla="*/ 140 w 2245"/>
                <a:gd name="T119" fmla="*/ 175 h 224"/>
                <a:gd name="T120" fmla="*/ 35 w 2245"/>
                <a:gd name="T121" fmla="*/ 2 h 224"/>
                <a:gd name="T122" fmla="*/ 74 w 2245"/>
                <a:gd name="T123" fmla="*/ 2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5" h="224">
                  <a:moveTo>
                    <a:pt x="2166" y="152"/>
                  </a:moveTo>
                  <a:lnTo>
                    <a:pt x="2199" y="152"/>
                  </a:lnTo>
                  <a:lnTo>
                    <a:pt x="2182" y="41"/>
                  </a:lnTo>
                  <a:lnTo>
                    <a:pt x="2166" y="152"/>
                  </a:lnTo>
                  <a:close/>
                  <a:moveTo>
                    <a:pt x="2245" y="221"/>
                  </a:moveTo>
                  <a:lnTo>
                    <a:pt x="2210" y="221"/>
                  </a:lnTo>
                  <a:lnTo>
                    <a:pt x="2204" y="181"/>
                  </a:lnTo>
                  <a:lnTo>
                    <a:pt x="2162" y="181"/>
                  </a:lnTo>
                  <a:lnTo>
                    <a:pt x="2156" y="221"/>
                  </a:lnTo>
                  <a:lnTo>
                    <a:pt x="2124" y="221"/>
                  </a:lnTo>
                  <a:lnTo>
                    <a:pt x="2159" y="2"/>
                  </a:lnTo>
                  <a:lnTo>
                    <a:pt x="2210" y="2"/>
                  </a:lnTo>
                  <a:lnTo>
                    <a:pt x="2245" y="221"/>
                  </a:lnTo>
                  <a:close/>
                  <a:moveTo>
                    <a:pt x="2016" y="2"/>
                  </a:moveTo>
                  <a:lnTo>
                    <a:pt x="2122" y="2"/>
                  </a:lnTo>
                  <a:lnTo>
                    <a:pt x="2122" y="33"/>
                  </a:lnTo>
                  <a:lnTo>
                    <a:pt x="2086" y="33"/>
                  </a:lnTo>
                  <a:lnTo>
                    <a:pt x="2086" y="221"/>
                  </a:lnTo>
                  <a:lnTo>
                    <a:pt x="2052" y="221"/>
                  </a:lnTo>
                  <a:lnTo>
                    <a:pt x="2052" y="33"/>
                  </a:lnTo>
                  <a:lnTo>
                    <a:pt x="2016" y="33"/>
                  </a:lnTo>
                  <a:lnTo>
                    <a:pt x="2016" y="2"/>
                  </a:lnTo>
                  <a:close/>
                  <a:moveTo>
                    <a:pt x="1915" y="62"/>
                  </a:moveTo>
                  <a:lnTo>
                    <a:pt x="1915" y="221"/>
                  </a:lnTo>
                  <a:lnTo>
                    <a:pt x="1884" y="221"/>
                  </a:lnTo>
                  <a:lnTo>
                    <a:pt x="1884" y="2"/>
                  </a:lnTo>
                  <a:lnTo>
                    <a:pt x="1927" y="2"/>
                  </a:lnTo>
                  <a:lnTo>
                    <a:pt x="1962" y="133"/>
                  </a:lnTo>
                  <a:lnTo>
                    <a:pt x="1962" y="2"/>
                  </a:lnTo>
                  <a:lnTo>
                    <a:pt x="1993" y="2"/>
                  </a:lnTo>
                  <a:lnTo>
                    <a:pt x="1993" y="221"/>
                  </a:lnTo>
                  <a:lnTo>
                    <a:pt x="1958" y="221"/>
                  </a:lnTo>
                  <a:lnTo>
                    <a:pt x="1915" y="62"/>
                  </a:lnTo>
                  <a:close/>
                  <a:moveTo>
                    <a:pt x="1817" y="2"/>
                  </a:moveTo>
                  <a:lnTo>
                    <a:pt x="1851" y="2"/>
                  </a:lnTo>
                  <a:lnTo>
                    <a:pt x="1851" y="221"/>
                  </a:lnTo>
                  <a:lnTo>
                    <a:pt x="1817" y="221"/>
                  </a:lnTo>
                  <a:lnTo>
                    <a:pt x="1817" y="2"/>
                  </a:lnTo>
                  <a:close/>
                  <a:moveTo>
                    <a:pt x="1713" y="157"/>
                  </a:moveTo>
                  <a:lnTo>
                    <a:pt x="1736" y="2"/>
                  </a:lnTo>
                  <a:lnTo>
                    <a:pt x="1783" y="2"/>
                  </a:lnTo>
                  <a:lnTo>
                    <a:pt x="1783" y="221"/>
                  </a:lnTo>
                  <a:lnTo>
                    <a:pt x="1752" y="221"/>
                  </a:lnTo>
                  <a:lnTo>
                    <a:pt x="1752" y="64"/>
                  </a:lnTo>
                  <a:lnTo>
                    <a:pt x="1727" y="221"/>
                  </a:lnTo>
                  <a:lnTo>
                    <a:pt x="1695" y="221"/>
                  </a:lnTo>
                  <a:lnTo>
                    <a:pt x="1669" y="66"/>
                  </a:lnTo>
                  <a:lnTo>
                    <a:pt x="1669" y="221"/>
                  </a:lnTo>
                  <a:lnTo>
                    <a:pt x="1640" y="221"/>
                  </a:lnTo>
                  <a:lnTo>
                    <a:pt x="1640" y="2"/>
                  </a:lnTo>
                  <a:lnTo>
                    <a:pt x="1687" y="2"/>
                  </a:lnTo>
                  <a:lnTo>
                    <a:pt x="1713" y="157"/>
                  </a:lnTo>
                  <a:close/>
                  <a:moveTo>
                    <a:pt x="1572" y="2"/>
                  </a:moveTo>
                  <a:lnTo>
                    <a:pt x="1607" y="2"/>
                  </a:lnTo>
                  <a:lnTo>
                    <a:pt x="1607" y="221"/>
                  </a:lnTo>
                  <a:lnTo>
                    <a:pt x="1572" y="221"/>
                  </a:lnTo>
                  <a:lnTo>
                    <a:pt x="1572" y="2"/>
                  </a:lnTo>
                  <a:close/>
                  <a:moveTo>
                    <a:pt x="1471" y="171"/>
                  </a:moveTo>
                  <a:lnTo>
                    <a:pt x="1473" y="176"/>
                  </a:lnTo>
                  <a:lnTo>
                    <a:pt x="1474" y="180"/>
                  </a:lnTo>
                  <a:lnTo>
                    <a:pt x="1474" y="183"/>
                  </a:lnTo>
                  <a:lnTo>
                    <a:pt x="1475" y="185"/>
                  </a:lnTo>
                  <a:lnTo>
                    <a:pt x="1477" y="187"/>
                  </a:lnTo>
                  <a:lnTo>
                    <a:pt x="1479" y="189"/>
                  </a:lnTo>
                  <a:lnTo>
                    <a:pt x="1482" y="191"/>
                  </a:lnTo>
                  <a:lnTo>
                    <a:pt x="1486" y="192"/>
                  </a:lnTo>
                  <a:lnTo>
                    <a:pt x="1489" y="192"/>
                  </a:lnTo>
                  <a:lnTo>
                    <a:pt x="1494" y="192"/>
                  </a:lnTo>
                  <a:lnTo>
                    <a:pt x="1497" y="191"/>
                  </a:lnTo>
                  <a:lnTo>
                    <a:pt x="1500" y="189"/>
                  </a:lnTo>
                  <a:lnTo>
                    <a:pt x="1503" y="187"/>
                  </a:lnTo>
                  <a:lnTo>
                    <a:pt x="1505" y="185"/>
                  </a:lnTo>
                  <a:lnTo>
                    <a:pt x="1506" y="180"/>
                  </a:lnTo>
                  <a:lnTo>
                    <a:pt x="1507" y="176"/>
                  </a:lnTo>
                  <a:lnTo>
                    <a:pt x="1507" y="171"/>
                  </a:lnTo>
                  <a:lnTo>
                    <a:pt x="1507" y="52"/>
                  </a:lnTo>
                  <a:lnTo>
                    <a:pt x="1507" y="46"/>
                  </a:lnTo>
                  <a:lnTo>
                    <a:pt x="1506" y="42"/>
                  </a:lnTo>
                  <a:lnTo>
                    <a:pt x="1505" y="40"/>
                  </a:lnTo>
                  <a:lnTo>
                    <a:pt x="1505" y="39"/>
                  </a:lnTo>
                  <a:lnTo>
                    <a:pt x="1503" y="36"/>
                  </a:lnTo>
                  <a:lnTo>
                    <a:pt x="1500" y="33"/>
                  </a:lnTo>
                  <a:lnTo>
                    <a:pt x="1497" y="31"/>
                  </a:lnTo>
                  <a:lnTo>
                    <a:pt x="1494" y="30"/>
                  </a:lnTo>
                  <a:lnTo>
                    <a:pt x="1489" y="30"/>
                  </a:lnTo>
                  <a:lnTo>
                    <a:pt x="1486" y="30"/>
                  </a:lnTo>
                  <a:lnTo>
                    <a:pt x="1482" y="31"/>
                  </a:lnTo>
                  <a:lnTo>
                    <a:pt x="1479" y="33"/>
                  </a:lnTo>
                  <a:lnTo>
                    <a:pt x="1477" y="36"/>
                  </a:lnTo>
                  <a:lnTo>
                    <a:pt x="1475" y="39"/>
                  </a:lnTo>
                  <a:lnTo>
                    <a:pt x="1474" y="42"/>
                  </a:lnTo>
                  <a:lnTo>
                    <a:pt x="1473" y="46"/>
                  </a:lnTo>
                  <a:lnTo>
                    <a:pt x="1471" y="52"/>
                  </a:lnTo>
                  <a:lnTo>
                    <a:pt x="1471" y="171"/>
                  </a:lnTo>
                  <a:close/>
                  <a:moveTo>
                    <a:pt x="1438" y="55"/>
                  </a:moveTo>
                  <a:lnTo>
                    <a:pt x="1438" y="48"/>
                  </a:lnTo>
                  <a:lnTo>
                    <a:pt x="1439" y="42"/>
                  </a:lnTo>
                  <a:lnTo>
                    <a:pt x="1440" y="37"/>
                  </a:lnTo>
                  <a:lnTo>
                    <a:pt x="1440" y="33"/>
                  </a:lnTo>
                  <a:lnTo>
                    <a:pt x="1441" y="31"/>
                  </a:lnTo>
                  <a:lnTo>
                    <a:pt x="1443" y="26"/>
                  </a:lnTo>
                  <a:lnTo>
                    <a:pt x="1445" y="22"/>
                  </a:lnTo>
                  <a:lnTo>
                    <a:pt x="1448" y="18"/>
                  </a:lnTo>
                  <a:lnTo>
                    <a:pt x="1451" y="13"/>
                  </a:lnTo>
                  <a:lnTo>
                    <a:pt x="1455" y="10"/>
                  </a:lnTo>
                  <a:lnTo>
                    <a:pt x="1459" y="7"/>
                  </a:lnTo>
                  <a:lnTo>
                    <a:pt x="1463" y="5"/>
                  </a:lnTo>
                  <a:lnTo>
                    <a:pt x="1467" y="3"/>
                  </a:lnTo>
                  <a:lnTo>
                    <a:pt x="1473" y="1"/>
                  </a:lnTo>
                  <a:lnTo>
                    <a:pt x="1478" y="0"/>
                  </a:lnTo>
                  <a:lnTo>
                    <a:pt x="1484" y="0"/>
                  </a:lnTo>
                  <a:lnTo>
                    <a:pt x="1489" y="0"/>
                  </a:lnTo>
                  <a:lnTo>
                    <a:pt x="1496" y="0"/>
                  </a:lnTo>
                  <a:lnTo>
                    <a:pt x="1502" y="0"/>
                  </a:lnTo>
                  <a:lnTo>
                    <a:pt x="1507" y="1"/>
                  </a:lnTo>
                  <a:lnTo>
                    <a:pt x="1513" y="3"/>
                  </a:lnTo>
                  <a:lnTo>
                    <a:pt x="1517" y="5"/>
                  </a:lnTo>
                  <a:lnTo>
                    <a:pt x="1521" y="7"/>
                  </a:lnTo>
                  <a:lnTo>
                    <a:pt x="1525" y="10"/>
                  </a:lnTo>
                  <a:lnTo>
                    <a:pt x="1529" y="13"/>
                  </a:lnTo>
                  <a:lnTo>
                    <a:pt x="1532" y="18"/>
                  </a:lnTo>
                  <a:lnTo>
                    <a:pt x="1535" y="22"/>
                  </a:lnTo>
                  <a:lnTo>
                    <a:pt x="1537" y="26"/>
                  </a:lnTo>
                  <a:lnTo>
                    <a:pt x="1539" y="31"/>
                  </a:lnTo>
                  <a:lnTo>
                    <a:pt x="1540" y="37"/>
                  </a:lnTo>
                  <a:lnTo>
                    <a:pt x="1541" y="42"/>
                  </a:lnTo>
                  <a:lnTo>
                    <a:pt x="1542" y="48"/>
                  </a:lnTo>
                  <a:lnTo>
                    <a:pt x="1542" y="55"/>
                  </a:lnTo>
                  <a:lnTo>
                    <a:pt x="1542" y="168"/>
                  </a:lnTo>
                  <a:lnTo>
                    <a:pt x="1542" y="175"/>
                  </a:lnTo>
                  <a:lnTo>
                    <a:pt x="1541" y="180"/>
                  </a:lnTo>
                  <a:lnTo>
                    <a:pt x="1540" y="187"/>
                  </a:lnTo>
                  <a:lnTo>
                    <a:pt x="1539" y="189"/>
                  </a:lnTo>
                  <a:lnTo>
                    <a:pt x="1539" y="192"/>
                  </a:lnTo>
                  <a:lnTo>
                    <a:pt x="1537" y="196"/>
                  </a:lnTo>
                  <a:lnTo>
                    <a:pt x="1535" y="202"/>
                  </a:lnTo>
                  <a:lnTo>
                    <a:pt x="1532" y="205"/>
                  </a:lnTo>
                  <a:lnTo>
                    <a:pt x="1529" y="209"/>
                  </a:lnTo>
                  <a:lnTo>
                    <a:pt x="1525" y="212"/>
                  </a:lnTo>
                  <a:lnTo>
                    <a:pt x="1521" y="215"/>
                  </a:lnTo>
                  <a:lnTo>
                    <a:pt x="1517" y="217"/>
                  </a:lnTo>
                  <a:lnTo>
                    <a:pt x="1513" y="220"/>
                  </a:lnTo>
                  <a:lnTo>
                    <a:pt x="1507" y="222"/>
                  </a:lnTo>
                  <a:lnTo>
                    <a:pt x="1502" y="223"/>
                  </a:lnTo>
                  <a:lnTo>
                    <a:pt x="1496" y="223"/>
                  </a:lnTo>
                  <a:lnTo>
                    <a:pt x="1489" y="224"/>
                  </a:lnTo>
                  <a:lnTo>
                    <a:pt x="1484" y="223"/>
                  </a:lnTo>
                  <a:lnTo>
                    <a:pt x="1478" y="223"/>
                  </a:lnTo>
                  <a:lnTo>
                    <a:pt x="1473" y="222"/>
                  </a:lnTo>
                  <a:lnTo>
                    <a:pt x="1467" y="220"/>
                  </a:lnTo>
                  <a:lnTo>
                    <a:pt x="1463" y="217"/>
                  </a:lnTo>
                  <a:lnTo>
                    <a:pt x="1459" y="215"/>
                  </a:lnTo>
                  <a:lnTo>
                    <a:pt x="1455" y="212"/>
                  </a:lnTo>
                  <a:lnTo>
                    <a:pt x="1451" y="209"/>
                  </a:lnTo>
                  <a:lnTo>
                    <a:pt x="1448" y="205"/>
                  </a:lnTo>
                  <a:lnTo>
                    <a:pt x="1445" y="202"/>
                  </a:lnTo>
                  <a:lnTo>
                    <a:pt x="1443" y="196"/>
                  </a:lnTo>
                  <a:lnTo>
                    <a:pt x="1441" y="192"/>
                  </a:lnTo>
                  <a:lnTo>
                    <a:pt x="1440" y="187"/>
                  </a:lnTo>
                  <a:lnTo>
                    <a:pt x="1439" y="180"/>
                  </a:lnTo>
                  <a:lnTo>
                    <a:pt x="1438" y="175"/>
                  </a:lnTo>
                  <a:lnTo>
                    <a:pt x="1438" y="168"/>
                  </a:lnTo>
                  <a:lnTo>
                    <a:pt x="1438" y="55"/>
                  </a:lnTo>
                  <a:close/>
                  <a:moveTo>
                    <a:pt x="1311" y="2"/>
                  </a:moveTo>
                  <a:lnTo>
                    <a:pt x="1418" y="2"/>
                  </a:lnTo>
                  <a:lnTo>
                    <a:pt x="1418" y="33"/>
                  </a:lnTo>
                  <a:lnTo>
                    <a:pt x="1382" y="33"/>
                  </a:lnTo>
                  <a:lnTo>
                    <a:pt x="1382" y="221"/>
                  </a:lnTo>
                  <a:lnTo>
                    <a:pt x="1347" y="221"/>
                  </a:lnTo>
                  <a:lnTo>
                    <a:pt x="1347" y="33"/>
                  </a:lnTo>
                  <a:lnTo>
                    <a:pt x="1311" y="33"/>
                  </a:lnTo>
                  <a:lnTo>
                    <a:pt x="1311" y="2"/>
                  </a:lnTo>
                  <a:close/>
                  <a:moveTo>
                    <a:pt x="1232" y="94"/>
                  </a:moveTo>
                  <a:lnTo>
                    <a:pt x="1280" y="94"/>
                  </a:lnTo>
                  <a:lnTo>
                    <a:pt x="1280" y="125"/>
                  </a:lnTo>
                  <a:lnTo>
                    <a:pt x="1232" y="125"/>
                  </a:lnTo>
                  <a:lnTo>
                    <a:pt x="1232" y="190"/>
                  </a:lnTo>
                  <a:lnTo>
                    <a:pt x="1292" y="190"/>
                  </a:lnTo>
                  <a:lnTo>
                    <a:pt x="1292" y="221"/>
                  </a:lnTo>
                  <a:lnTo>
                    <a:pt x="1198" y="221"/>
                  </a:lnTo>
                  <a:lnTo>
                    <a:pt x="1198" y="2"/>
                  </a:lnTo>
                  <a:lnTo>
                    <a:pt x="1292" y="2"/>
                  </a:lnTo>
                  <a:lnTo>
                    <a:pt x="1292" y="33"/>
                  </a:lnTo>
                  <a:lnTo>
                    <a:pt x="1232" y="33"/>
                  </a:lnTo>
                  <a:lnTo>
                    <a:pt x="1232" y="94"/>
                  </a:lnTo>
                  <a:close/>
                  <a:moveTo>
                    <a:pt x="1106" y="134"/>
                  </a:moveTo>
                  <a:lnTo>
                    <a:pt x="1095" y="154"/>
                  </a:lnTo>
                  <a:lnTo>
                    <a:pt x="1095" y="221"/>
                  </a:lnTo>
                  <a:lnTo>
                    <a:pt x="1060" y="221"/>
                  </a:lnTo>
                  <a:lnTo>
                    <a:pt x="1060" y="2"/>
                  </a:lnTo>
                  <a:lnTo>
                    <a:pt x="1095" y="2"/>
                  </a:lnTo>
                  <a:lnTo>
                    <a:pt x="1095" y="97"/>
                  </a:lnTo>
                  <a:lnTo>
                    <a:pt x="1140" y="2"/>
                  </a:lnTo>
                  <a:lnTo>
                    <a:pt x="1174" y="2"/>
                  </a:lnTo>
                  <a:lnTo>
                    <a:pt x="1127" y="99"/>
                  </a:lnTo>
                  <a:lnTo>
                    <a:pt x="1174" y="221"/>
                  </a:lnTo>
                  <a:lnTo>
                    <a:pt x="1139" y="221"/>
                  </a:lnTo>
                  <a:lnTo>
                    <a:pt x="1106" y="134"/>
                  </a:lnTo>
                  <a:close/>
                  <a:moveTo>
                    <a:pt x="993" y="2"/>
                  </a:moveTo>
                  <a:lnTo>
                    <a:pt x="1027" y="2"/>
                  </a:lnTo>
                  <a:lnTo>
                    <a:pt x="1027" y="221"/>
                  </a:lnTo>
                  <a:lnTo>
                    <a:pt x="993" y="221"/>
                  </a:lnTo>
                  <a:lnTo>
                    <a:pt x="993" y="2"/>
                  </a:lnTo>
                  <a:close/>
                  <a:moveTo>
                    <a:pt x="926" y="2"/>
                  </a:moveTo>
                  <a:lnTo>
                    <a:pt x="961" y="2"/>
                  </a:lnTo>
                  <a:lnTo>
                    <a:pt x="961" y="221"/>
                  </a:lnTo>
                  <a:lnTo>
                    <a:pt x="926" y="221"/>
                  </a:lnTo>
                  <a:lnTo>
                    <a:pt x="926" y="2"/>
                  </a:lnTo>
                  <a:close/>
                  <a:moveTo>
                    <a:pt x="812" y="2"/>
                  </a:moveTo>
                  <a:lnTo>
                    <a:pt x="846" y="2"/>
                  </a:lnTo>
                  <a:lnTo>
                    <a:pt x="846" y="190"/>
                  </a:lnTo>
                  <a:lnTo>
                    <a:pt x="903" y="190"/>
                  </a:lnTo>
                  <a:lnTo>
                    <a:pt x="903" y="221"/>
                  </a:lnTo>
                  <a:lnTo>
                    <a:pt x="812" y="221"/>
                  </a:lnTo>
                  <a:lnTo>
                    <a:pt x="812" y="2"/>
                  </a:lnTo>
                  <a:close/>
                  <a:moveTo>
                    <a:pt x="744" y="2"/>
                  </a:moveTo>
                  <a:lnTo>
                    <a:pt x="779" y="2"/>
                  </a:lnTo>
                  <a:lnTo>
                    <a:pt x="779" y="221"/>
                  </a:lnTo>
                  <a:lnTo>
                    <a:pt x="744" y="221"/>
                  </a:lnTo>
                  <a:lnTo>
                    <a:pt x="744" y="2"/>
                  </a:lnTo>
                  <a:close/>
                  <a:moveTo>
                    <a:pt x="631" y="2"/>
                  </a:moveTo>
                  <a:lnTo>
                    <a:pt x="665" y="2"/>
                  </a:lnTo>
                  <a:lnTo>
                    <a:pt x="665" y="190"/>
                  </a:lnTo>
                  <a:lnTo>
                    <a:pt x="722" y="190"/>
                  </a:lnTo>
                  <a:lnTo>
                    <a:pt x="722" y="221"/>
                  </a:lnTo>
                  <a:lnTo>
                    <a:pt x="631" y="221"/>
                  </a:lnTo>
                  <a:lnTo>
                    <a:pt x="631" y="2"/>
                  </a:lnTo>
                  <a:close/>
                  <a:moveTo>
                    <a:pt x="517" y="2"/>
                  </a:moveTo>
                  <a:lnTo>
                    <a:pt x="550" y="2"/>
                  </a:lnTo>
                  <a:lnTo>
                    <a:pt x="550" y="190"/>
                  </a:lnTo>
                  <a:lnTo>
                    <a:pt x="607" y="190"/>
                  </a:lnTo>
                  <a:lnTo>
                    <a:pt x="607" y="221"/>
                  </a:lnTo>
                  <a:lnTo>
                    <a:pt x="517" y="221"/>
                  </a:lnTo>
                  <a:lnTo>
                    <a:pt x="517" y="2"/>
                  </a:lnTo>
                  <a:close/>
                  <a:moveTo>
                    <a:pt x="428" y="94"/>
                  </a:moveTo>
                  <a:lnTo>
                    <a:pt x="475" y="94"/>
                  </a:lnTo>
                  <a:lnTo>
                    <a:pt x="475" y="125"/>
                  </a:lnTo>
                  <a:lnTo>
                    <a:pt x="428" y="125"/>
                  </a:lnTo>
                  <a:lnTo>
                    <a:pt x="428" y="190"/>
                  </a:lnTo>
                  <a:lnTo>
                    <a:pt x="487" y="190"/>
                  </a:lnTo>
                  <a:lnTo>
                    <a:pt x="487" y="221"/>
                  </a:lnTo>
                  <a:lnTo>
                    <a:pt x="394" y="221"/>
                  </a:lnTo>
                  <a:lnTo>
                    <a:pt x="394" y="2"/>
                  </a:lnTo>
                  <a:lnTo>
                    <a:pt x="487" y="2"/>
                  </a:lnTo>
                  <a:lnTo>
                    <a:pt x="487" y="33"/>
                  </a:lnTo>
                  <a:lnTo>
                    <a:pt x="428" y="33"/>
                  </a:lnTo>
                  <a:lnTo>
                    <a:pt x="428" y="94"/>
                  </a:lnTo>
                  <a:close/>
                  <a:moveTo>
                    <a:pt x="264" y="2"/>
                  </a:moveTo>
                  <a:lnTo>
                    <a:pt x="371" y="2"/>
                  </a:lnTo>
                  <a:lnTo>
                    <a:pt x="371" y="33"/>
                  </a:lnTo>
                  <a:lnTo>
                    <a:pt x="335" y="33"/>
                  </a:lnTo>
                  <a:lnTo>
                    <a:pt x="335" y="221"/>
                  </a:lnTo>
                  <a:lnTo>
                    <a:pt x="300" y="221"/>
                  </a:lnTo>
                  <a:lnTo>
                    <a:pt x="300" y="33"/>
                  </a:lnTo>
                  <a:lnTo>
                    <a:pt x="264" y="33"/>
                  </a:lnTo>
                  <a:lnTo>
                    <a:pt x="264" y="2"/>
                  </a:lnTo>
                  <a:close/>
                  <a:moveTo>
                    <a:pt x="174" y="171"/>
                  </a:moveTo>
                  <a:lnTo>
                    <a:pt x="174" y="176"/>
                  </a:lnTo>
                  <a:lnTo>
                    <a:pt x="175" y="180"/>
                  </a:lnTo>
                  <a:lnTo>
                    <a:pt x="176" y="183"/>
                  </a:lnTo>
                  <a:lnTo>
                    <a:pt x="177" y="185"/>
                  </a:lnTo>
                  <a:lnTo>
                    <a:pt x="178" y="187"/>
                  </a:lnTo>
                  <a:lnTo>
                    <a:pt x="181" y="189"/>
                  </a:lnTo>
                  <a:lnTo>
                    <a:pt x="184" y="191"/>
                  </a:lnTo>
                  <a:lnTo>
                    <a:pt x="188" y="192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9" y="191"/>
                  </a:lnTo>
                  <a:lnTo>
                    <a:pt x="202" y="189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6"/>
                  </a:lnTo>
                  <a:lnTo>
                    <a:pt x="210" y="171"/>
                  </a:lnTo>
                  <a:lnTo>
                    <a:pt x="210" y="52"/>
                  </a:lnTo>
                  <a:lnTo>
                    <a:pt x="209" y="46"/>
                  </a:lnTo>
                  <a:lnTo>
                    <a:pt x="209" y="42"/>
                  </a:lnTo>
                  <a:lnTo>
                    <a:pt x="208" y="40"/>
                  </a:lnTo>
                  <a:lnTo>
                    <a:pt x="207" y="39"/>
                  </a:lnTo>
                  <a:lnTo>
                    <a:pt x="205" y="36"/>
                  </a:lnTo>
                  <a:lnTo>
                    <a:pt x="202" y="33"/>
                  </a:lnTo>
                  <a:lnTo>
                    <a:pt x="199" y="31"/>
                  </a:lnTo>
                  <a:lnTo>
                    <a:pt x="196" y="30"/>
                  </a:lnTo>
                  <a:lnTo>
                    <a:pt x="192" y="30"/>
                  </a:lnTo>
                  <a:lnTo>
                    <a:pt x="188" y="30"/>
                  </a:lnTo>
                  <a:lnTo>
                    <a:pt x="184" y="31"/>
                  </a:lnTo>
                  <a:lnTo>
                    <a:pt x="181" y="33"/>
                  </a:lnTo>
                  <a:lnTo>
                    <a:pt x="178" y="36"/>
                  </a:lnTo>
                  <a:lnTo>
                    <a:pt x="177" y="39"/>
                  </a:lnTo>
                  <a:lnTo>
                    <a:pt x="175" y="42"/>
                  </a:lnTo>
                  <a:lnTo>
                    <a:pt x="174" y="46"/>
                  </a:lnTo>
                  <a:lnTo>
                    <a:pt x="174" y="52"/>
                  </a:lnTo>
                  <a:lnTo>
                    <a:pt x="174" y="171"/>
                  </a:lnTo>
                  <a:close/>
                  <a:moveTo>
                    <a:pt x="139" y="55"/>
                  </a:moveTo>
                  <a:lnTo>
                    <a:pt x="140" y="48"/>
                  </a:lnTo>
                  <a:lnTo>
                    <a:pt x="140" y="42"/>
                  </a:lnTo>
                  <a:lnTo>
                    <a:pt x="141" y="37"/>
                  </a:lnTo>
                  <a:lnTo>
                    <a:pt x="142" y="33"/>
                  </a:lnTo>
                  <a:lnTo>
                    <a:pt x="143" y="31"/>
                  </a:lnTo>
                  <a:lnTo>
                    <a:pt x="144" y="26"/>
                  </a:lnTo>
                  <a:lnTo>
                    <a:pt x="147" y="22"/>
                  </a:lnTo>
                  <a:lnTo>
                    <a:pt x="150" y="18"/>
                  </a:lnTo>
                  <a:lnTo>
                    <a:pt x="153" y="13"/>
                  </a:lnTo>
                  <a:lnTo>
                    <a:pt x="156" y="10"/>
                  </a:lnTo>
                  <a:lnTo>
                    <a:pt x="160" y="7"/>
                  </a:lnTo>
                  <a:lnTo>
                    <a:pt x="164" y="5"/>
                  </a:lnTo>
                  <a:lnTo>
                    <a:pt x="170" y="3"/>
                  </a:lnTo>
                  <a:lnTo>
                    <a:pt x="174" y="1"/>
                  </a:lnTo>
                  <a:lnTo>
                    <a:pt x="179" y="0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0"/>
                  </a:lnTo>
                  <a:lnTo>
                    <a:pt x="203" y="0"/>
                  </a:lnTo>
                  <a:lnTo>
                    <a:pt x="209" y="1"/>
                  </a:lnTo>
                  <a:lnTo>
                    <a:pt x="214" y="3"/>
                  </a:lnTo>
                  <a:lnTo>
                    <a:pt x="218" y="5"/>
                  </a:lnTo>
                  <a:lnTo>
                    <a:pt x="224" y="7"/>
                  </a:lnTo>
                  <a:lnTo>
                    <a:pt x="227" y="10"/>
                  </a:lnTo>
                  <a:lnTo>
                    <a:pt x="231" y="13"/>
                  </a:lnTo>
                  <a:lnTo>
                    <a:pt x="233" y="18"/>
                  </a:lnTo>
                  <a:lnTo>
                    <a:pt x="236" y="22"/>
                  </a:lnTo>
                  <a:lnTo>
                    <a:pt x="238" y="26"/>
                  </a:lnTo>
                  <a:lnTo>
                    <a:pt x="240" y="31"/>
                  </a:lnTo>
                  <a:lnTo>
                    <a:pt x="242" y="37"/>
                  </a:lnTo>
                  <a:lnTo>
                    <a:pt x="243" y="42"/>
                  </a:lnTo>
                  <a:lnTo>
                    <a:pt x="244" y="48"/>
                  </a:lnTo>
                  <a:lnTo>
                    <a:pt x="244" y="55"/>
                  </a:lnTo>
                  <a:lnTo>
                    <a:pt x="244" y="168"/>
                  </a:lnTo>
                  <a:lnTo>
                    <a:pt x="244" y="175"/>
                  </a:lnTo>
                  <a:lnTo>
                    <a:pt x="243" y="180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0" y="192"/>
                  </a:lnTo>
                  <a:lnTo>
                    <a:pt x="238" y="196"/>
                  </a:lnTo>
                  <a:lnTo>
                    <a:pt x="236" y="202"/>
                  </a:lnTo>
                  <a:lnTo>
                    <a:pt x="233" y="205"/>
                  </a:lnTo>
                  <a:lnTo>
                    <a:pt x="231" y="209"/>
                  </a:lnTo>
                  <a:lnTo>
                    <a:pt x="227" y="212"/>
                  </a:lnTo>
                  <a:lnTo>
                    <a:pt x="224" y="215"/>
                  </a:lnTo>
                  <a:lnTo>
                    <a:pt x="218" y="217"/>
                  </a:lnTo>
                  <a:lnTo>
                    <a:pt x="214" y="220"/>
                  </a:lnTo>
                  <a:lnTo>
                    <a:pt x="209" y="222"/>
                  </a:lnTo>
                  <a:lnTo>
                    <a:pt x="203" y="223"/>
                  </a:lnTo>
                  <a:lnTo>
                    <a:pt x="198" y="223"/>
                  </a:lnTo>
                  <a:lnTo>
                    <a:pt x="192" y="224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4" y="222"/>
                  </a:lnTo>
                  <a:lnTo>
                    <a:pt x="170" y="220"/>
                  </a:lnTo>
                  <a:lnTo>
                    <a:pt x="164" y="217"/>
                  </a:lnTo>
                  <a:lnTo>
                    <a:pt x="160" y="215"/>
                  </a:lnTo>
                  <a:lnTo>
                    <a:pt x="156" y="212"/>
                  </a:lnTo>
                  <a:lnTo>
                    <a:pt x="153" y="209"/>
                  </a:lnTo>
                  <a:lnTo>
                    <a:pt x="150" y="205"/>
                  </a:lnTo>
                  <a:lnTo>
                    <a:pt x="147" y="202"/>
                  </a:lnTo>
                  <a:lnTo>
                    <a:pt x="144" y="196"/>
                  </a:lnTo>
                  <a:lnTo>
                    <a:pt x="143" y="192"/>
                  </a:lnTo>
                  <a:lnTo>
                    <a:pt x="141" y="187"/>
                  </a:lnTo>
                  <a:lnTo>
                    <a:pt x="140" y="180"/>
                  </a:lnTo>
                  <a:lnTo>
                    <a:pt x="140" y="175"/>
                  </a:lnTo>
                  <a:lnTo>
                    <a:pt x="139" y="168"/>
                  </a:lnTo>
                  <a:lnTo>
                    <a:pt x="139" y="55"/>
                  </a:lnTo>
                  <a:close/>
                  <a:moveTo>
                    <a:pt x="35" y="221"/>
                  </a:moveTo>
                  <a:lnTo>
                    <a:pt x="0" y="221"/>
                  </a:lnTo>
                  <a:lnTo>
                    <a:pt x="0" y="2"/>
                  </a:lnTo>
                  <a:lnTo>
                    <a:pt x="35" y="2"/>
                  </a:lnTo>
                  <a:lnTo>
                    <a:pt x="35" y="96"/>
                  </a:lnTo>
                  <a:lnTo>
                    <a:pt x="74" y="96"/>
                  </a:lnTo>
                  <a:lnTo>
                    <a:pt x="74" y="2"/>
                  </a:lnTo>
                  <a:lnTo>
                    <a:pt x="109" y="2"/>
                  </a:lnTo>
                  <a:lnTo>
                    <a:pt x="109" y="221"/>
                  </a:lnTo>
                  <a:lnTo>
                    <a:pt x="74" y="221"/>
                  </a:lnTo>
                  <a:lnTo>
                    <a:pt x="74" y="126"/>
                  </a:lnTo>
                  <a:lnTo>
                    <a:pt x="35" y="126"/>
                  </a:lnTo>
                  <a:lnTo>
                    <a:pt x="35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13810997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B4C5A43-C528-46F6-9CB9-0F0D14616682}" type="datetime1">
              <a:rPr lang="fi-FI" smtClean="0"/>
              <a:t>28.2.2018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40"/>
            <p:cNvSpPr>
              <a:spLocks noEditPoints="1"/>
            </p:cNvSpPr>
            <p:nvPr userDrawn="1"/>
          </p:nvSpPr>
          <p:spPr bwMode="auto">
            <a:xfrm>
              <a:off x="8786797" y="6473684"/>
              <a:ext cx="2115771" cy="211200"/>
            </a:xfrm>
            <a:custGeom>
              <a:avLst/>
              <a:gdLst>
                <a:gd name="T0" fmla="*/ 2210 w 2245"/>
                <a:gd name="T1" fmla="*/ 221 h 224"/>
                <a:gd name="T2" fmla="*/ 2210 w 2245"/>
                <a:gd name="T3" fmla="*/ 2 h 224"/>
                <a:gd name="T4" fmla="*/ 2086 w 2245"/>
                <a:gd name="T5" fmla="*/ 221 h 224"/>
                <a:gd name="T6" fmla="*/ 1915 w 2245"/>
                <a:gd name="T7" fmla="*/ 221 h 224"/>
                <a:gd name="T8" fmla="*/ 1993 w 2245"/>
                <a:gd name="T9" fmla="*/ 2 h 224"/>
                <a:gd name="T10" fmla="*/ 1851 w 2245"/>
                <a:gd name="T11" fmla="*/ 221 h 224"/>
                <a:gd name="T12" fmla="*/ 1783 w 2245"/>
                <a:gd name="T13" fmla="*/ 221 h 224"/>
                <a:gd name="T14" fmla="*/ 1669 w 2245"/>
                <a:gd name="T15" fmla="*/ 221 h 224"/>
                <a:gd name="T16" fmla="*/ 1607 w 2245"/>
                <a:gd name="T17" fmla="*/ 2 h 224"/>
                <a:gd name="T18" fmla="*/ 1474 w 2245"/>
                <a:gd name="T19" fmla="*/ 180 h 224"/>
                <a:gd name="T20" fmla="*/ 1486 w 2245"/>
                <a:gd name="T21" fmla="*/ 192 h 224"/>
                <a:gd name="T22" fmla="*/ 1505 w 2245"/>
                <a:gd name="T23" fmla="*/ 185 h 224"/>
                <a:gd name="T24" fmla="*/ 1506 w 2245"/>
                <a:gd name="T25" fmla="*/ 42 h 224"/>
                <a:gd name="T26" fmla="*/ 1494 w 2245"/>
                <a:gd name="T27" fmla="*/ 30 h 224"/>
                <a:gd name="T28" fmla="*/ 1475 w 2245"/>
                <a:gd name="T29" fmla="*/ 39 h 224"/>
                <a:gd name="T30" fmla="*/ 1438 w 2245"/>
                <a:gd name="T31" fmla="*/ 48 h 224"/>
                <a:gd name="T32" fmla="*/ 1445 w 2245"/>
                <a:gd name="T33" fmla="*/ 22 h 224"/>
                <a:gd name="T34" fmla="*/ 1467 w 2245"/>
                <a:gd name="T35" fmla="*/ 3 h 224"/>
                <a:gd name="T36" fmla="*/ 1502 w 2245"/>
                <a:gd name="T37" fmla="*/ 0 h 224"/>
                <a:gd name="T38" fmla="*/ 1529 w 2245"/>
                <a:gd name="T39" fmla="*/ 13 h 224"/>
                <a:gd name="T40" fmla="*/ 1541 w 2245"/>
                <a:gd name="T41" fmla="*/ 42 h 224"/>
                <a:gd name="T42" fmla="*/ 1540 w 2245"/>
                <a:gd name="T43" fmla="*/ 187 h 224"/>
                <a:gd name="T44" fmla="*/ 1529 w 2245"/>
                <a:gd name="T45" fmla="*/ 209 h 224"/>
                <a:gd name="T46" fmla="*/ 1502 w 2245"/>
                <a:gd name="T47" fmla="*/ 223 h 224"/>
                <a:gd name="T48" fmla="*/ 1467 w 2245"/>
                <a:gd name="T49" fmla="*/ 220 h 224"/>
                <a:gd name="T50" fmla="*/ 1445 w 2245"/>
                <a:gd name="T51" fmla="*/ 202 h 224"/>
                <a:gd name="T52" fmla="*/ 1438 w 2245"/>
                <a:gd name="T53" fmla="*/ 168 h 224"/>
                <a:gd name="T54" fmla="*/ 1382 w 2245"/>
                <a:gd name="T55" fmla="*/ 221 h 224"/>
                <a:gd name="T56" fmla="*/ 1280 w 2245"/>
                <a:gd name="T57" fmla="*/ 94 h 224"/>
                <a:gd name="T58" fmla="*/ 1198 w 2245"/>
                <a:gd name="T59" fmla="*/ 221 h 224"/>
                <a:gd name="T60" fmla="*/ 1106 w 2245"/>
                <a:gd name="T61" fmla="*/ 134 h 224"/>
                <a:gd name="T62" fmla="*/ 1095 w 2245"/>
                <a:gd name="T63" fmla="*/ 97 h 224"/>
                <a:gd name="T64" fmla="*/ 1106 w 2245"/>
                <a:gd name="T65" fmla="*/ 134 h 224"/>
                <a:gd name="T66" fmla="*/ 926 w 2245"/>
                <a:gd name="T67" fmla="*/ 2 h 224"/>
                <a:gd name="T68" fmla="*/ 846 w 2245"/>
                <a:gd name="T69" fmla="*/ 2 h 224"/>
                <a:gd name="T70" fmla="*/ 744 w 2245"/>
                <a:gd name="T71" fmla="*/ 2 h 224"/>
                <a:gd name="T72" fmla="*/ 665 w 2245"/>
                <a:gd name="T73" fmla="*/ 2 h 224"/>
                <a:gd name="T74" fmla="*/ 517 w 2245"/>
                <a:gd name="T75" fmla="*/ 2 h 224"/>
                <a:gd name="T76" fmla="*/ 517 w 2245"/>
                <a:gd name="T77" fmla="*/ 2 h 224"/>
                <a:gd name="T78" fmla="*/ 487 w 2245"/>
                <a:gd name="T79" fmla="*/ 190 h 224"/>
                <a:gd name="T80" fmla="*/ 428 w 2245"/>
                <a:gd name="T81" fmla="*/ 33 h 224"/>
                <a:gd name="T82" fmla="*/ 335 w 2245"/>
                <a:gd name="T83" fmla="*/ 221 h 224"/>
                <a:gd name="T84" fmla="*/ 174 w 2245"/>
                <a:gd name="T85" fmla="*/ 176 h 224"/>
                <a:gd name="T86" fmla="*/ 184 w 2245"/>
                <a:gd name="T87" fmla="*/ 191 h 224"/>
                <a:gd name="T88" fmla="*/ 205 w 2245"/>
                <a:gd name="T89" fmla="*/ 187 h 224"/>
                <a:gd name="T90" fmla="*/ 209 w 2245"/>
                <a:gd name="T91" fmla="*/ 46 h 224"/>
                <a:gd name="T92" fmla="*/ 199 w 2245"/>
                <a:gd name="T93" fmla="*/ 31 h 224"/>
                <a:gd name="T94" fmla="*/ 178 w 2245"/>
                <a:gd name="T95" fmla="*/ 36 h 224"/>
                <a:gd name="T96" fmla="*/ 139 w 2245"/>
                <a:gd name="T97" fmla="*/ 55 h 224"/>
                <a:gd name="T98" fmla="*/ 144 w 2245"/>
                <a:gd name="T99" fmla="*/ 26 h 224"/>
                <a:gd name="T100" fmla="*/ 164 w 2245"/>
                <a:gd name="T101" fmla="*/ 5 h 224"/>
                <a:gd name="T102" fmla="*/ 198 w 2245"/>
                <a:gd name="T103" fmla="*/ 0 h 224"/>
                <a:gd name="T104" fmla="*/ 227 w 2245"/>
                <a:gd name="T105" fmla="*/ 10 h 224"/>
                <a:gd name="T106" fmla="*/ 242 w 2245"/>
                <a:gd name="T107" fmla="*/ 37 h 224"/>
                <a:gd name="T108" fmla="*/ 243 w 2245"/>
                <a:gd name="T109" fmla="*/ 180 h 224"/>
                <a:gd name="T110" fmla="*/ 233 w 2245"/>
                <a:gd name="T111" fmla="*/ 205 h 224"/>
                <a:gd name="T112" fmla="*/ 209 w 2245"/>
                <a:gd name="T113" fmla="*/ 222 h 224"/>
                <a:gd name="T114" fmla="*/ 174 w 2245"/>
                <a:gd name="T115" fmla="*/ 222 h 224"/>
                <a:gd name="T116" fmla="*/ 150 w 2245"/>
                <a:gd name="T117" fmla="*/ 205 h 224"/>
                <a:gd name="T118" fmla="*/ 140 w 2245"/>
                <a:gd name="T119" fmla="*/ 175 h 224"/>
                <a:gd name="T120" fmla="*/ 35 w 2245"/>
                <a:gd name="T121" fmla="*/ 2 h 224"/>
                <a:gd name="T122" fmla="*/ 74 w 2245"/>
                <a:gd name="T123" fmla="*/ 2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5" h="224">
                  <a:moveTo>
                    <a:pt x="2166" y="152"/>
                  </a:moveTo>
                  <a:lnTo>
                    <a:pt x="2199" y="152"/>
                  </a:lnTo>
                  <a:lnTo>
                    <a:pt x="2182" y="41"/>
                  </a:lnTo>
                  <a:lnTo>
                    <a:pt x="2166" y="152"/>
                  </a:lnTo>
                  <a:close/>
                  <a:moveTo>
                    <a:pt x="2245" y="221"/>
                  </a:moveTo>
                  <a:lnTo>
                    <a:pt x="2210" y="221"/>
                  </a:lnTo>
                  <a:lnTo>
                    <a:pt x="2204" y="181"/>
                  </a:lnTo>
                  <a:lnTo>
                    <a:pt x="2162" y="181"/>
                  </a:lnTo>
                  <a:lnTo>
                    <a:pt x="2156" y="221"/>
                  </a:lnTo>
                  <a:lnTo>
                    <a:pt x="2124" y="221"/>
                  </a:lnTo>
                  <a:lnTo>
                    <a:pt x="2159" y="2"/>
                  </a:lnTo>
                  <a:lnTo>
                    <a:pt x="2210" y="2"/>
                  </a:lnTo>
                  <a:lnTo>
                    <a:pt x="2245" y="221"/>
                  </a:lnTo>
                  <a:close/>
                  <a:moveTo>
                    <a:pt x="2016" y="2"/>
                  </a:moveTo>
                  <a:lnTo>
                    <a:pt x="2122" y="2"/>
                  </a:lnTo>
                  <a:lnTo>
                    <a:pt x="2122" y="33"/>
                  </a:lnTo>
                  <a:lnTo>
                    <a:pt x="2086" y="33"/>
                  </a:lnTo>
                  <a:lnTo>
                    <a:pt x="2086" y="221"/>
                  </a:lnTo>
                  <a:lnTo>
                    <a:pt x="2052" y="221"/>
                  </a:lnTo>
                  <a:lnTo>
                    <a:pt x="2052" y="33"/>
                  </a:lnTo>
                  <a:lnTo>
                    <a:pt x="2016" y="33"/>
                  </a:lnTo>
                  <a:lnTo>
                    <a:pt x="2016" y="2"/>
                  </a:lnTo>
                  <a:close/>
                  <a:moveTo>
                    <a:pt x="1915" y="62"/>
                  </a:moveTo>
                  <a:lnTo>
                    <a:pt x="1915" y="221"/>
                  </a:lnTo>
                  <a:lnTo>
                    <a:pt x="1884" y="221"/>
                  </a:lnTo>
                  <a:lnTo>
                    <a:pt x="1884" y="2"/>
                  </a:lnTo>
                  <a:lnTo>
                    <a:pt x="1927" y="2"/>
                  </a:lnTo>
                  <a:lnTo>
                    <a:pt x="1962" y="133"/>
                  </a:lnTo>
                  <a:lnTo>
                    <a:pt x="1962" y="2"/>
                  </a:lnTo>
                  <a:lnTo>
                    <a:pt x="1993" y="2"/>
                  </a:lnTo>
                  <a:lnTo>
                    <a:pt x="1993" y="221"/>
                  </a:lnTo>
                  <a:lnTo>
                    <a:pt x="1958" y="221"/>
                  </a:lnTo>
                  <a:lnTo>
                    <a:pt x="1915" y="62"/>
                  </a:lnTo>
                  <a:close/>
                  <a:moveTo>
                    <a:pt x="1817" y="2"/>
                  </a:moveTo>
                  <a:lnTo>
                    <a:pt x="1851" y="2"/>
                  </a:lnTo>
                  <a:lnTo>
                    <a:pt x="1851" y="221"/>
                  </a:lnTo>
                  <a:lnTo>
                    <a:pt x="1817" y="221"/>
                  </a:lnTo>
                  <a:lnTo>
                    <a:pt x="1817" y="2"/>
                  </a:lnTo>
                  <a:close/>
                  <a:moveTo>
                    <a:pt x="1713" y="157"/>
                  </a:moveTo>
                  <a:lnTo>
                    <a:pt x="1736" y="2"/>
                  </a:lnTo>
                  <a:lnTo>
                    <a:pt x="1783" y="2"/>
                  </a:lnTo>
                  <a:lnTo>
                    <a:pt x="1783" y="221"/>
                  </a:lnTo>
                  <a:lnTo>
                    <a:pt x="1752" y="221"/>
                  </a:lnTo>
                  <a:lnTo>
                    <a:pt x="1752" y="64"/>
                  </a:lnTo>
                  <a:lnTo>
                    <a:pt x="1727" y="221"/>
                  </a:lnTo>
                  <a:lnTo>
                    <a:pt x="1695" y="221"/>
                  </a:lnTo>
                  <a:lnTo>
                    <a:pt x="1669" y="66"/>
                  </a:lnTo>
                  <a:lnTo>
                    <a:pt x="1669" y="221"/>
                  </a:lnTo>
                  <a:lnTo>
                    <a:pt x="1640" y="221"/>
                  </a:lnTo>
                  <a:lnTo>
                    <a:pt x="1640" y="2"/>
                  </a:lnTo>
                  <a:lnTo>
                    <a:pt x="1687" y="2"/>
                  </a:lnTo>
                  <a:lnTo>
                    <a:pt x="1713" y="157"/>
                  </a:lnTo>
                  <a:close/>
                  <a:moveTo>
                    <a:pt x="1572" y="2"/>
                  </a:moveTo>
                  <a:lnTo>
                    <a:pt x="1607" y="2"/>
                  </a:lnTo>
                  <a:lnTo>
                    <a:pt x="1607" y="221"/>
                  </a:lnTo>
                  <a:lnTo>
                    <a:pt x="1572" y="221"/>
                  </a:lnTo>
                  <a:lnTo>
                    <a:pt x="1572" y="2"/>
                  </a:lnTo>
                  <a:close/>
                  <a:moveTo>
                    <a:pt x="1471" y="171"/>
                  </a:moveTo>
                  <a:lnTo>
                    <a:pt x="1473" y="176"/>
                  </a:lnTo>
                  <a:lnTo>
                    <a:pt x="1474" y="180"/>
                  </a:lnTo>
                  <a:lnTo>
                    <a:pt x="1474" y="183"/>
                  </a:lnTo>
                  <a:lnTo>
                    <a:pt x="1475" y="185"/>
                  </a:lnTo>
                  <a:lnTo>
                    <a:pt x="1477" y="187"/>
                  </a:lnTo>
                  <a:lnTo>
                    <a:pt x="1479" y="189"/>
                  </a:lnTo>
                  <a:lnTo>
                    <a:pt x="1482" y="191"/>
                  </a:lnTo>
                  <a:lnTo>
                    <a:pt x="1486" y="192"/>
                  </a:lnTo>
                  <a:lnTo>
                    <a:pt x="1489" y="192"/>
                  </a:lnTo>
                  <a:lnTo>
                    <a:pt x="1494" y="192"/>
                  </a:lnTo>
                  <a:lnTo>
                    <a:pt x="1497" y="191"/>
                  </a:lnTo>
                  <a:lnTo>
                    <a:pt x="1500" y="189"/>
                  </a:lnTo>
                  <a:lnTo>
                    <a:pt x="1503" y="187"/>
                  </a:lnTo>
                  <a:lnTo>
                    <a:pt x="1505" y="185"/>
                  </a:lnTo>
                  <a:lnTo>
                    <a:pt x="1506" y="180"/>
                  </a:lnTo>
                  <a:lnTo>
                    <a:pt x="1507" y="176"/>
                  </a:lnTo>
                  <a:lnTo>
                    <a:pt x="1507" y="171"/>
                  </a:lnTo>
                  <a:lnTo>
                    <a:pt x="1507" y="52"/>
                  </a:lnTo>
                  <a:lnTo>
                    <a:pt x="1507" y="46"/>
                  </a:lnTo>
                  <a:lnTo>
                    <a:pt x="1506" y="42"/>
                  </a:lnTo>
                  <a:lnTo>
                    <a:pt x="1505" y="40"/>
                  </a:lnTo>
                  <a:lnTo>
                    <a:pt x="1505" y="39"/>
                  </a:lnTo>
                  <a:lnTo>
                    <a:pt x="1503" y="36"/>
                  </a:lnTo>
                  <a:lnTo>
                    <a:pt x="1500" y="33"/>
                  </a:lnTo>
                  <a:lnTo>
                    <a:pt x="1497" y="31"/>
                  </a:lnTo>
                  <a:lnTo>
                    <a:pt x="1494" y="30"/>
                  </a:lnTo>
                  <a:lnTo>
                    <a:pt x="1489" y="30"/>
                  </a:lnTo>
                  <a:lnTo>
                    <a:pt x="1486" y="30"/>
                  </a:lnTo>
                  <a:lnTo>
                    <a:pt x="1482" y="31"/>
                  </a:lnTo>
                  <a:lnTo>
                    <a:pt x="1479" y="33"/>
                  </a:lnTo>
                  <a:lnTo>
                    <a:pt x="1477" y="36"/>
                  </a:lnTo>
                  <a:lnTo>
                    <a:pt x="1475" y="39"/>
                  </a:lnTo>
                  <a:lnTo>
                    <a:pt x="1474" y="42"/>
                  </a:lnTo>
                  <a:lnTo>
                    <a:pt x="1473" y="46"/>
                  </a:lnTo>
                  <a:lnTo>
                    <a:pt x="1471" y="52"/>
                  </a:lnTo>
                  <a:lnTo>
                    <a:pt x="1471" y="171"/>
                  </a:lnTo>
                  <a:close/>
                  <a:moveTo>
                    <a:pt x="1438" y="55"/>
                  </a:moveTo>
                  <a:lnTo>
                    <a:pt x="1438" y="48"/>
                  </a:lnTo>
                  <a:lnTo>
                    <a:pt x="1439" y="42"/>
                  </a:lnTo>
                  <a:lnTo>
                    <a:pt x="1440" y="37"/>
                  </a:lnTo>
                  <a:lnTo>
                    <a:pt x="1440" y="33"/>
                  </a:lnTo>
                  <a:lnTo>
                    <a:pt x="1441" y="31"/>
                  </a:lnTo>
                  <a:lnTo>
                    <a:pt x="1443" y="26"/>
                  </a:lnTo>
                  <a:lnTo>
                    <a:pt x="1445" y="22"/>
                  </a:lnTo>
                  <a:lnTo>
                    <a:pt x="1448" y="18"/>
                  </a:lnTo>
                  <a:lnTo>
                    <a:pt x="1451" y="13"/>
                  </a:lnTo>
                  <a:lnTo>
                    <a:pt x="1455" y="10"/>
                  </a:lnTo>
                  <a:lnTo>
                    <a:pt x="1459" y="7"/>
                  </a:lnTo>
                  <a:lnTo>
                    <a:pt x="1463" y="5"/>
                  </a:lnTo>
                  <a:lnTo>
                    <a:pt x="1467" y="3"/>
                  </a:lnTo>
                  <a:lnTo>
                    <a:pt x="1473" y="1"/>
                  </a:lnTo>
                  <a:lnTo>
                    <a:pt x="1478" y="0"/>
                  </a:lnTo>
                  <a:lnTo>
                    <a:pt x="1484" y="0"/>
                  </a:lnTo>
                  <a:lnTo>
                    <a:pt x="1489" y="0"/>
                  </a:lnTo>
                  <a:lnTo>
                    <a:pt x="1496" y="0"/>
                  </a:lnTo>
                  <a:lnTo>
                    <a:pt x="1502" y="0"/>
                  </a:lnTo>
                  <a:lnTo>
                    <a:pt x="1507" y="1"/>
                  </a:lnTo>
                  <a:lnTo>
                    <a:pt x="1513" y="3"/>
                  </a:lnTo>
                  <a:lnTo>
                    <a:pt x="1517" y="5"/>
                  </a:lnTo>
                  <a:lnTo>
                    <a:pt x="1521" y="7"/>
                  </a:lnTo>
                  <a:lnTo>
                    <a:pt x="1525" y="10"/>
                  </a:lnTo>
                  <a:lnTo>
                    <a:pt x="1529" y="13"/>
                  </a:lnTo>
                  <a:lnTo>
                    <a:pt x="1532" y="18"/>
                  </a:lnTo>
                  <a:lnTo>
                    <a:pt x="1535" y="22"/>
                  </a:lnTo>
                  <a:lnTo>
                    <a:pt x="1537" y="26"/>
                  </a:lnTo>
                  <a:lnTo>
                    <a:pt x="1539" y="31"/>
                  </a:lnTo>
                  <a:lnTo>
                    <a:pt x="1540" y="37"/>
                  </a:lnTo>
                  <a:lnTo>
                    <a:pt x="1541" y="42"/>
                  </a:lnTo>
                  <a:lnTo>
                    <a:pt x="1542" y="48"/>
                  </a:lnTo>
                  <a:lnTo>
                    <a:pt x="1542" y="55"/>
                  </a:lnTo>
                  <a:lnTo>
                    <a:pt x="1542" y="168"/>
                  </a:lnTo>
                  <a:lnTo>
                    <a:pt x="1542" y="175"/>
                  </a:lnTo>
                  <a:lnTo>
                    <a:pt x="1541" y="180"/>
                  </a:lnTo>
                  <a:lnTo>
                    <a:pt x="1540" y="187"/>
                  </a:lnTo>
                  <a:lnTo>
                    <a:pt x="1539" y="189"/>
                  </a:lnTo>
                  <a:lnTo>
                    <a:pt x="1539" y="192"/>
                  </a:lnTo>
                  <a:lnTo>
                    <a:pt x="1537" y="196"/>
                  </a:lnTo>
                  <a:lnTo>
                    <a:pt x="1535" y="202"/>
                  </a:lnTo>
                  <a:lnTo>
                    <a:pt x="1532" y="205"/>
                  </a:lnTo>
                  <a:lnTo>
                    <a:pt x="1529" y="209"/>
                  </a:lnTo>
                  <a:lnTo>
                    <a:pt x="1525" y="212"/>
                  </a:lnTo>
                  <a:lnTo>
                    <a:pt x="1521" y="215"/>
                  </a:lnTo>
                  <a:lnTo>
                    <a:pt x="1517" y="217"/>
                  </a:lnTo>
                  <a:lnTo>
                    <a:pt x="1513" y="220"/>
                  </a:lnTo>
                  <a:lnTo>
                    <a:pt x="1507" y="222"/>
                  </a:lnTo>
                  <a:lnTo>
                    <a:pt x="1502" y="223"/>
                  </a:lnTo>
                  <a:lnTo>
                    <a:pt x="1496" y="223"/>
                  </a:lnTo>
                  <a:lnTo>
                    <a:pt x="1489" y="224"/>
                  </a:lnTo>
                  <a:lnTo>
                    <a:pt x="1484" y="223"/>
                  </a:lnTo>
                  <a:lnTo>
                    <a:pt x="1478" y="223"/>
                  </a:lnTo>
                  <a:lnTo>
                    <a:pt x="1473" y="222"/>
                  </a:lnTo>
                  <a:lnTo>
                    <a:pt x="1467" y="220"/>
                  </a:lnTo>
                  <a:lnTo>
                    <a:pt x="1463" y="217"/>
                  </a:lnTo>
                  <a:lnTo>
                    <a:pt x="1459" y="215"/>
                  </a:lnTo>
                  <a:lnTo>
                    <a:pt x="1455" y="212"/>
                  </a:lnTo>
                  <a:lnTo>
                    <a:pt x="1451" y="209"/>
                  </a:lnTo>
                  <a:lnTo>
                    <a:pt x="1448" y="205"/>
                  </a:lnTo>
                  <a:lnTo>
                    <a:pt x="1445" y="202"/>
                  </a:lnTo>
                  <a:lnTo>
                    <a:pt x="1443" y="196"/>
                  </a:lnTo>
                  <a:lnTo>
                    <a:pt x="1441" y="192"/>
                  </a:lnTo>
                  <a:lnTo>
                    <a:pt x="1440" y="187"/>
                  </a:lnTo>
                  <a:lnTo>
                    <a:pt x="1439" y="180"/>
                  </a:lnTo>
                  <a:lnTo>
                    <a:pt x="1438" y="175"/>
                  </a:lnTo>
                  <a:lnTo>
                    <a:pt x="1438" y="168"/>
                  </a:lnTo>
                  <a:lnTo>
                    <a:pt x="1438" y="55"/>
                  </a:lnTo>
                  <a:close/>
                  <a:moveTo>
                    <a:pt x="1311" y="2"/>
                  </a:moveTo>
                  <a:lnTo>
                    <a:pt x="1418" y="2"/>
                  </a:lnTo>
                  <a:lnTo>
                    <a:pt x="1418" y="33"/>
                  </a:lnTo>
                  <a:lnTo>
                    <a:pt x="1382" y="33"/>
                  </a:lnTo>
                  <a:lnTo>
                    <a:pt x="1382" y="221"/>
                  </a:lnTo>
                  <a:lnTo>
                    <a:pt x="1347" y="221"/>
                  </a:lnTo>
                  <a:lnTo>
                    <a:pt x="1347" y="33"/>
                  </a:lnTo>
                  <a:lnTo>
                    <a:pt x="1311" y="33"/>
                  </a:lnTo>
                  <a:lnTo>
                    <a:pt x="1311" y="2"/>
                  </a:lnTo>
                  <a:close/>
                  <a:moveTo>
                    <a:pt x="1232" y="94"/>
                  </a:moveTo>
                  <a:lnTo>
                    <a:pt x="1280" y="94"/>
                  </a:lnTo>
                  <a:lnTo>
                    <a:pt x="1280" y="125"/>
                  </a:lnTo>
                  <a:lnTo>
                    <a:pt x="1232" y="125"/>
                  </a:lnTo>
                  <a:lnTo>
                    <a:pt x="1232" y="190"/>
                  </a:lnTo>
                  <a:lnTo>
                    <a:pt x="1292" y="190"/>
                  </a:lnTo>
                  <a:lnTo>
                    <a:pt x="1292" y="221"/>
                  </a:lnTo>
                  <a:lnTo>
                    <a:pt x="1198" y="221"/>
                  </a:lnTo>
                  <a:lnTo>
                    <a:pt x="1198" y="2"/>
                  </a:lnTo>
                  <a:lnTo>
                    <a:pt x="1292" y="2"/>
                  </a:lnTo>
                  <a:lnTo>
                    <a:pt x="1292" y="33"/>
                  </a:lnTo>
                  <a:lnTo>
                    <a:pt x="1232" y="33"/>
                  </a:lnTo>
                  <a:lnTo>
                    <a:pt x="1232" y="94"/>
                  </a:lnTo>
                  <a:close/>
                  <a:moveTo>
                    <a:pt x="1106" y="134"/>
                  </a:moveTo>
                  <a:lnTo>
                    <a:pt x="1095" y="154"/>
                  </a:lnTo>
                  <a:lnTo>
                    <a:pt x="1095" y="221"/>
                  </a:lnTo>
                  <a:lnTo>
                    <a:pt x="1060" y="221"/>
                  </a:lnTo>
                  <a:lnTo>
                    <a:pt x="1060" y="2"/>
                  </a:lnTo>
                  <a:lnTo>
                    <a:pt x="1095" y="2"/>
                  </a:lnTo>
                  <a:lnTo>
                    <a:pt x="1095" y="97"/>
                  </a:lnTo>
                  <a:lnTo>
                    <a:pt x="1140" y="2"/>
                  </a:lnTo>
                  <a:lnTo>
                    <a:pt x="1174" y="2"/>
                  </a:lnTo>
                  <a:lnTo>
                    <a:pt x="1127" y="99"/>
                  </a:lnTo>
                  <a:lnTo>
                    <a:pt x="1174" y="221"/>
                  </a:lnTo>
                  <a:lnTo>
                    <a:pt x="1139" y="221"/>
                  </a:lnTo>
                  <a:lnTo>
                    <a:pt x="1106" y="134"/>
                  </a:lnTo>
                  <a:close/>
                  <a:moveTo>
                    <a:pt x="993" y="2"/>
                  </a:moveTo>
                  <a:lnTo>
                    <a:pt x="1027" y="2"/>
                  </a:lnTo>
                  <a:lnTo>
                    <a:pt x="1027" y="221"/>
                  </a:lnTo>
                  <a:lnTo>
                    <a:pt x="993" y="221"/>
                  </a:lnTo>
                  <a:lnTo>
                    <a:pt x="993" y="2"/>
                  </a:lnTo>
                  <a:close/>
                  <a:moveTo>
                    <a:pt x="926" y="2"/>
                  </a:moveTo>
                  <a:lnTo>
                    <a:pt x="961" y="2"/>
                  </a:lnTo>
                  <a:lnTo>
                    <a:pt x="961" y="221"/>
                  </a:lnTo>
                  <a:lnTo>
                    <a:pt x="926" y="221"/>
                  </a:lnTo>
                  <a:lnTo>
                    <a:pt x="926" y="2"/>
                  </a:lnTo>
                  <a:close/>
                  <a:moveTo>
                    <a:pt x="812" y="2"/>
                  </a:moveTo>
                  <a:lnTo>
                    <a:pt x="846" y="2"/>
                  </a:lnTo>
                  <a:lnTo>
                    <a:pt x="846" y="190"/>
                  </a:lnTo>
                  <a:lnTo>
                    <a:pt x="903" y="190"/>
                  </a:lnTo>
                  <a:lnTo>
                    <a:pt x="903" y="221"/>
                  </a:lnTo>
                  <a:lnTo>
                    <a:pt x="812" y="221"/>
                  </a:lnTo>
                  <a:lnTo>
                    <a:pt x="812" y="2"/>
                  </a:lnTo>
                  <a:close/>
                  <a:moveTo>
                    <a:pt x="744" y="2"/>
                  </a:moveTo>
                  <a:lnTo>
                    <a:pt x="779" y="2"/>
                  </a:lnTo>
                  <a:lnTo>
                    <a:pt x="779" y="221"/>
                  </a:lnTo>
                  <a:lnTo>
                    <a:pt x="744" y="221"/>
                  </a:lnTo>
                  <a:lnTo>
                    <a:pt x="744" y="2"/>
                  </a:lnTo>
                  <a:close/>
                  <a:moveTo>
                    <a:pt x="631" y="2"/>
                  </a:moveTo>
                  <a:lnTo>
                    <a:pt x="665" y="2"/>
                  </a:lnTo>
                  <a:lnTo>
                    <a:pt x="665" y="190"/>
                  </a:lnTo>
                  <a:lnTo>
                    <a:pt x="722" y="190"/>
                  </a:lnTo>
                  <a:lnTo>
                    <a:pt x="722" y="221"/>
                  </a:lnTo>
                  <a:lnTo>
                    <a:pt x="631" y="221"/>
                  </a:lnTo>
                  <a:lnTo>
                    <a:pt x="631" y="2"/>
                  </a:lnTo>
                  <a:close/>
                  <a:moveTo>
                    <a:pt x="517" y="2"/>
                  </a:moveTo>
                  <a:lnTo>
                    <a:pt x="550" y="2"/>
                  </a:lnTo>
                  <a:lnTo>
                    <a:pt x="550" y="190"/>
                  </a:lnTo>
                  <a:lnTo>
                    <a:pt x="607" y="190"/>
                  </a:lnTo>
                  <a:lnTo>
                    <a:pt x="607" y="221"/>
                  </a:lnTo>
                  <a:lnTo>
                    <a:pt x="517" y="221"/>
                  </a:lnTo>
                  <a:lnTo>
                    <a:pt x="517" y="2"/>
                  </a:lnTo>
                  <a:close/>
                  <a:moveTo>
                    <a:pt x="428" y="94"/>
                  </a:moveTo>
                  <a:lnTo>
                    <a:pt x="475" y="94"/>
                  </a:lnTo>
                  <a:lnTo>
                    <a:pt x="475" y="125"/>
                  </a:lnTo>
                  <a:lnTo>
                    <a:pt x="428" y="125"/>
                  </a:lnTo>
                  <a:lnTo>
                    <a:pt x="428" y="190"/>
                  </a:lnTo>
                  <a:lnTo>
                    <a:pt x="487" y="190"/>
                  </a:lnTo>
                  <a:lnTo>
                    <a:pt x="487" y="221"/>
                  </a:lnTo>
                  <a:lnTo>
                    <a:pt x="394" y="221"/>
                  </a:lnTo>
                  <a:lnTo>
                    <a:pt x="394" y="2"/>
                  </a:lnTo>
                  <a:lnTo>
                    <a:pt x="487" y="2"/>
                  </a:lnTo>
                  <a:lnTo>
                    <a:pt x="487" y="33"/>
                  </a:lnTo>
                  <a:lnTo>
                    <a:pt x="428" y="33"/>
                  </a:lnTo>
                  <a:lnTo>
                    <a:pt x="428" y="94"/>
                  </a:lnTo>
                  <a:close/>
                  <a:moveTo>
                    <a:pt x="264" y="2"/>
                  </a:moveTo>
                  <a:lnTo>
                    <a:pt x="371" y="2"/>
                  </a:lnTo>
                  <a:lnTo>
                    <a:pt x="371" y="33"/>
                  </a:lnTo>
                  <a:lnTo>
                    <a:pt x="335" y="33"/>
                  </a:lnTo>
                  <a:lnTo>
                    <a:pt x="335" y="221"/>
                  </a:lnTo>
                  <a:lnTo>
                    <a:pt x="300" y="221"/>
                  </a:lnTo>
                  <a:lnTo>
                    <a:pt x="300" y="33"/>
                  </a:lnTo>
                  <a:lnTo>
                    <a:pt x="264" y="33"/>
                  </a:lnTo>
                  <a:lnTo>
                    <a:pt x="264" y="2"/>
                  </a:lnTo>
                  <a:close/>
                  <a:moveTo>
                    <a:pt x="174" y="171"/>
                  </a:moveTo>
                  <a:lnTo>
                    <a:pt x="174" y="176"/>
                  </a:lnTo>
                  <a:lnTo>
                    <a:pt x="175" y="180"/>
                  </a:lnTo>
                  <a:lnTo>
                    <a:pt x="176" y="183"/>
                  </a:lnTo>
                  <a:lnTo>
                    <a:pt x="177" y="185"/>
                  </a:lnTo>
                  <a:lnTo>
                    <a:pt x="178" y="187"/>
                  </a:lnTo>
                  <a:lnTo>
                    <a:pt x="181" y="189"/>
                  </a:lnTo>
                  <a:lnTo>
                    <a:pt x="184" y="191"/>
                  </a:lnTo>
                  <a:lnTo>
                    <a:pt x="188" y="192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9" y="191"/>
                  </a:lnTo>
                  <a:lnTo>
                    <a:pt x="202" y="189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6"/>
                  </a:lnTo>
                  <a:lnTo>
                    <a:pt x="210" y="171"/>
                  </a:lnTo>
                  <a:lnTo>
                    <a:pt x="210" y="52"/>
                  </a:lnTo>
                  <a:lnTo>
                    <a:pt x="209" y="46"/>
                  </a:lnTo>
                  <a:lnTo>
                    <a:pt x="209" y="42"/>
                  </a:lnTo>
                  <a:lnTo>
                    <a:pt x="208" y="40"/>
                  </a:lnTo>
                  <a:lnTo>
                    <a:pt x="207" y="39"/>
                  </a:lnTo>
                  <a:lnTo>
                    <a:pt x="205" y="36"/>
                  </a:lnTo>
                  <a:lnTo>
                    <a:pt x="202" y="33"/>
                  </a:lnTo>
                  <a:lnTo>
                    <a:pt x="199" y="31"/>
                  </a:lnTo>
                  <a:lnTo>
                    <a:pt x="196" y="30"/>
                  </a:lnTo>
                  <a:lnTo>
                    <a:pt x="192" y="30"/>
                  </a:lnTo>
                  <a:lnTo>
                    <a:pt x="188" y="30"/>
                  </a:lnTo>
                  <a:lnTo>
                    <a:pt x="184" y="31"/>
                  </a:lnTo>
                  <a:lnTo>
                    <a:pt x="181" y="33"/>
                  </a:lnTo>
                  <a:lnTo>
                    <a:pt x="178" y="36"/>
                  </a:lnTo>
                  <a:lnTo>
                    <a:pt x="177" y="39"/>
                  </a:lnTo>
                  <a:lnTo>
                    <a:pt x="175" y="42"/>
                  </a:lnTo>
                  <a:lnTo>
                    <a:pt x="174" y="46"/>
                  </a:lnTo>
                  <a:lnTo>
                    <a:pt x="174" y="52"/>
                  </a:lnTo>
                  <a:lnTo>
                    <a:pt x="174" y="171"/>
                  </a:lnTo>
                  <a:close/>
                  <a:moveTo>
                    <a:pt x="139" y="55"/>
                  </a:moveTo>
                  <a:lnTo>
                    <a:pt x="140" y="48"/>
                  </a:lnTo>
                  <a:lnTo>
                    <a:pt x="140" y="42"/>
                  </a:lnTo>
                  <a:lnTo>
                    <a:pt x="141" y="37"/>
                  </a:lnTo>
                  <a:lnTo>
                    <a:pt x="142" y="33"/>
                  </a:lnTo>
                  <a:lnTo>
                    <a:pt x="143" y="31"/>
                  </a:lnTo>
                  <a:lnTo>
                    <a:pt x="144" y="26"/>
                  </a:lnTo>
                  <a:lnTo>
                    <a:pt x="147" y="22"/>
                  </a:lnTo>
                  <a:lnTo>
                    <a:pt x="150" y="18"/>
                  </a:lnTo>
                  <a:lnTo>
                    <a:pt x="153" y="13"/>
                  </a:lnTo>
                  <a:lnTo>
                    <a:pt x="156" y="10"/>
                  </a:lnTo>
                  <a:lnTo>
                    <a:pt x="160" y="7"/>
                  </a:lnTo>
                  <a:lnTo>
                    <a:pt x="164" y="5"/>
                  </a:lnTo>
                  <a:lnTo>
                    <a:pt x="170" y="3"/>
                  </a:lnTo>
                  <a:lnTo>
                    <a:pt x="174" y="1"/>
                  </a:lnTo>
                  <a:lnTo>
                    <a:pt x="179" y="0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0"/>
                  </a:lnTo>
                  <a:lnTo>
                    <a:pt x="203" y="0"/>
                  </a:lnTo>
                  <a:lnTo>
                    <a:pt x="209" y="1"/>
                  </a:lnTo>
                  <a:lnTo>
                    <a:pt x="214" y="3"/>
                  </a:lnTo>
                  <a:lnTo>
                    <a:pt x="218" y="5"/>
                  </a:lnTo>
                  <a:lnTo>
                    <a:pt x="224" y="7"/>
                  </a:lnTo>
                  <a:lnTo>
                    <a:pt x="227" y="10"/>
                  </a:lnTo>
                  <a:lnTo>
                    <a:pt x="231" y="13"/>
                  </a:lnTo>
                  <a:lnTo>
                    <a:pt x="233" y="18"/>
                  </a:lnTo>
                  <a:lnTo>
                    <a:pt x="236" y="22"/>
                  </a:lnTo>
                  <a:lnTo>
                    <a:pt x="238" y="26"/>
                  </a:lnTo>
                  <a:lnTo>
                    <a:pt x="240" y="31"/>
                  </a:lnTo>
                  <a:lnTo>
                    <a:pt x="242" y="37"/>
                  </a:lnTo>
                  <a:lnTo>
                    <a:pt x="243" y="42"/>
                  </a:lnTo>
                  <a:lnTo>
                    <a:pt x="244" y="48"/>
                  </a:lnTo>
                  <a:lnTo>
                    <a:pt x="244" y="55"/>
                  </a:lnTo>
                  <a:lnTo>
                    <a:pt x="244" y="168"/>
                  </a:lnTo>
                  <a:lnTo>
                    <a:pt x="244" y="175"/>
                  </a:lnTo>
                  <a:lnTo>
                    <a:pt x="243" y="180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0" y="192"/>
                  </a:lnTo>
                  <a:lnTo>
                    <a:pt x="238" y="196"/>
                  </a:lnTo>
                  <a:lnTo>
                    <a:pt x="236" y="202"/>
                  </a:lnTo>
                  <a:lnTo>
                    <a:pt x="233" y="205"/>
                  </a:lnTo>
                  <a:lnTo>
                    <a:pt x="231" y="209"/>
                  </a:lnTo>
                  <a:lnTo>
                    <a:pt x="227" y="212"/>
                  </a:lnTo>
                  <a:lnTo>
                    <a:pt x="224" y="215"/>
                  </a:lnTo>
                  <a:lnTo>
                    <a:pt x="218" y="217"/>
                  </a:lnTo>
                  <a:lnTo>
                    <a:pt x="214" y="220"/>
                  </a:lnTo>
                  <a:lnTo>
                    <a:pt x="209" y="222"/>
                  </a:lnTo>
                  <a:lnTo>
                    <a:pt x="203" y="223"/>
                  </a:lnTo>
                  <a:lnTo>
                    <a:pt x="198" y="223"/>
                  </a:lnTo>
                  <a:lnTo>
                    <a:pt x="192" y="224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4" y="222"/>
                  </a:lnTo>
                  <a:lnTo>
                    <a:pt x="170" y="220"/>
                  </a:lnTo>
                  <a:lnTo>
                    <a:pt x="164" y="217"/>
                  </a:lnTo>
                  <a:lnTo>
                    <a:pt x="160" y="215"/>
                  </a:lnTo>
                  <a:lnTo>
                    <a:pt x="156" y="212"/>
                  </a:lnTo>
                  <a:lnTo>
                    <a:pt x="153" y="209"/>
                  </a:lnTo>
                  <a:lnTo>
                    <a:pt x="150" y="205"/>
                  </a:lnTo>
                  <a:lnTo>
                    <a:pt x="147" y="202"/>
                  </a:lnTo>
                  <a:lnTo>
                    <a:pt x="144" y="196"/>
                  </a:lnTo>
                  <a:lnTo>
                    <a:pt x="143" y="192"/>
                  </a:lnTo>
                  <a:lnTo>
                    <a:pt x="141" y="187"/>
                  </a:lnTo>
                  <a:lnTo>
                    <a:pt x="140" y="180"/>
                  </a:lnTo>
                  <a:lnTo>
                    <a:pt x="140" y="175"/>
                  </a:lnTo>
                  <a:lnTo>
                    <a:pt x="139" y="168"/>
                  </a:lnTo>
                  <a:lnTo>
                    <a:pt x="139" y="55"/>
                  </a:lnTo>
                  <a:close/>
                  <a:moveTo>
                    <a:pt x="35" y="221"/>
                  </a:moveTo>
                  <a:lnTo>
                    <a:pt x="0" y="221"/>
                  </a:lnTo>
                  <a:lnTo>
                    <a:pt x="0" y="2"/>
                  </a:lnTo>
                  <a:lnTo>
                    <a:pt x="35" y="2"/>
                  </a:lnTo>
                  <a:lnTo>
                    <a:pt x="35" y="96"/>
                  </a:lnTo>
                  <a:lnTo>
                    <a:pt x="74" y="96"/>
                  </a:lnTo>
                  <a:lnTo>
                    <a:pt x="74" y="2"/>
                  </a:lnTo>
                  <a:lnTo>
                    <a:pt x="109" y="2"/>
                  </a:lnTo>
                  <a:lnTo>
                    <a:pt x="109" y="221"/>
                  </a:lnTo>
                  <a:lnTo>
                    <a:pt x="74" y="221"/>
                  </a:lnTo>
                  <a:lnTo>
                    <a:pt x="74" y="126"/>
                  </a:lnTo>
                  <a:lnTo>
                    <a:pt x="35" y="126"/>
                  </a:lnTo>
                  <a:lnTo>
                    <a:pt x="35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75498136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2F99C-9085-4FD6-9EF2-BCAF91D1464F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203057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233488-C6CE-4E54-9FAC-CCE8D6D53E20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514612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90085F-818C-418E-AC30-42E702F843B7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630445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D71FC8-CBD8-4481-8BBA-BD84451F6BC2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2027402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61FD7-7B1C-494A-9846-2584A074CDA4}" type="datetime1">
              <a:rPr lang="fi-FI" smtClean="0"/>
              <a:t>28.2.2018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637629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2DF890-1981-4507-9B45-4C1FE6BC84FB}" type="datetime1">
              <a:rPr lang="fi-FI" smtClean="0"/>
              <a:t>28.2.2018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281798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FEFC9-0531-4D1D-A0F4-DA36E593241A}" type="datetime1">
              <a:rPr lang="fi-FI" smtClean="0"/>
              <a:t>28.2.2018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1889749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2463E-EAAA-4281-B3F2-B06E08EA848D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61356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04E3A0C-EE89-40BF-86D1-4CD5365C02CD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2574699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71555D-5412-4209-B15A-B3CC76394D5B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8"/>
            <p:cNvSpPr>
              <a:spLocks noEditPoints="1"/>
            </p:cNvSpPr>
            <p:nvPr userDrawn="1"/>
          </p:nvSpPr>
          <p:spPr bwMode="auto">
            <a:xfrm>
              <a:off x="8873542" y="6476771"/>
              <a:ext cx="1942286" cy="211200"/>
            </a:xfrm>
            <a:custGeom>
              <a:avLst/>
              <a:gdLst>
                <a:gd name="T0" fmla="*/ 1940 w 2061"/>
                <a:gd name="T1" fmla="*/ 221 h 224"/>
                <a:gd name="T2" fmla="*/ 1890 w 2061"/>
                <a:gd name="T3" fmla="*/ 103 h 224"/>
                <a:gd name="T4" fmla="*/ 1886 w 2061"/>
                <a:gd name="T5" fmla="*/ 36 h 224"/>
                <a:gd name="T6" fmla="*/ 1924 w 2061"/>
                <a:gd name="T7" fmla="*/ 107 h 224"/>
                <a:gd name="T8" fmla="*/ 1888 w 2061"/>
                <a:gd name="T9" fmla="*/ 138 h 224"/>
                <a:gd name="T10" fmla="*/ 1894 w 2061"/>
                <a:gd name="T11" fmla="*/ 4 h 224"/>
                <a:gd name="T12" fmla="*/ 1927 w 2061"/>
                <a:gd name="T13" fmla="*/ 38 h 224"/>
                <a:gd name="T14" fmla="*/ 1762 w 2061"/>
                <a:gd name="T15" fmla="*/ 103 h 224"/>
                <a:gd name="T16" fmla="*/ 1759 w 2061"/>
                <a:gd name="T17" fmla="*/ 36 h 224"/>
                <a:gd name="T18" fmla="*/ 1798 w 2061"/>
                <a:gd name="T19" fmla="*/ 107 h 224"/>
                <a:gd name="T20" fmla="*/ 1762 w 2061"/>
                <a:gd name="T21" fmla="*/ 138 h 224"/>
                <a:gd name="T22" fmla="*/ 1767 w 2061"/>
                <a:gd name="T23" fmla="*/ 4 h 224"/>
                <a:gd name="T24" fmla="*/ 1799 w 2061"/>
                <a:gd name="T25" fmla="*/ 38 h 224"/>
                <a:gd name="T26" fmla="*/ 1604 w 2061"/>
                <a:gd name="T27" fmla="*/ 188 h 224"/>
                <a:gd name="T28" fmla="*/ 1634 w 2061"/>
                <a:gd name="T29" fmla="*/ 180 h 224"/>
                <a:gd name="T30" fmla="*/ 1662 w 2061"/>
                <a:gd name="T31" fmla="*/ 197 h 224"/>
                <a:gd name="T32" fmla="*/ 1627 w 2061"/>
                <a:gd name="T33" fmla="*/ 223 h 224"/>
                <a:gd name="T34" fmla="*/ 1578 w 2061"/>
                <a:gd name="T35" fmla="*/ 209 h 224"/>
                <a:gd name="T36" fmla="*/ 1599 w 2061"/>
                <a:gd name="T37" fmla="*/ 2 h 224"/>
                <a:gd name="T38" fmla="*/ 1421 w 2061"/>
                <a:gd name="T39" fmla="*/ 221 h 224"/>
                <a:gd name="T40" fmla="*/ 1328 w 2061"/>
                <a:gd name="T41" fmla="*/ 97 h 224"/>
                <a:gd name="T42" fmla="*/ 1204 w 2061"/>
                <a:gd name="T43" fmla="*/ 125 h 224"/>
                <a:gd name="T44" fmla="*/ 1077 w 2061"/>
                <a:gd name="T45" fmla="*/ 134 h 224"/>
                <a:gd name="T46" fmla="*/ 1146 w 2061"/>
                <a:gd name="T47" fmla="*/ 221 h 224"/>
                <a:gd name="T48" fmla="*/ 932 w 2061"/>
                <a:gd name="T49" fmla="*/ 221 h 224"/>
                <a:gd name="T50" fmla="*/ 705 w 2061"/>
                <a:gd name="T51" fmla="*/ 0 h 224"/>
                <a:gd name="T52" fmla="*/ 748 w 2061"/>
                <a:gd name="T53" fmla="*/ 22 h 224"/>
                <a:gd name="T54" fmla="*/ 723 w 2061"/>
                <a:gd name="T55" fmla="*/ 46 h 224"/>
                <a:gd name="T56" fmla="*/ 698 w 2061"/>
                <a:gd name="T57" fmla="*/ 32 h 224"/>
                <a:gd name="T58" fmla="*/ 693 w 2061"/>
                <a:gd name="T59" fmla="*/ 70 h 224"/>
                <a:gd name="T60" fmla="*/ 754 w 2061"/>
                <a:gd name="T61" fmla="*/ 148 h 224"/>
                <a:gd name="T62" fmla="*/ 746 w 2061"/>
                <a:gd name="T63" fmla="*/ 205 h 224"/>
                <a:gd name="T64" fmla="*/ 705 w 2061"/>
                <a:gd name="T65" fmla="*/ 224 h 224"/>
                <a:gd name="T66" fmla="*/ 661 w 2061"/>
                <a:gd name="T67" fmla="*/ 202 h 224"/>
                <a:gd name="T68" fmla="*/ 686 w 2061"/>
                <a:gd name="T69" fmla="*/ 176 h 224"/>
                <a:gd name="T70" fmla="*/ 711 w 2061"/>
                <a:gd name="T71" fmla="*/ 191 h 224"/>
                <a:gd name="T72" fmla="*/ 718 w 2061"/>
                <a:gd name="T73" fmla="*/ 152 h 224"/>
                <a:gd name="T74" fmla="*/ 658 w 2061"/>
                <a:gd name="T75" fmla="*/ 76 h 224"/>
                <a:gd name="T76" fmla="*/ 664 w 2061"/>
                <a:gd name="T77" fmla="*/ 18 h 224"/>
                <a:gd name="T78" fmla="*/ 705 w 2061"/>
                <a:gd name="T79" fmla="*/ 0 h 224"/>
                <a:gd name="T80" fmla="*/ 494 w 2061"/>
                <a:gd name="T81" fmla="*/ 185 h 224"/>
                <a:gd name="T82" fmla="*/ 524 w 2061"/>
                <a:gd name="T83" fmla="*/ 185 h 224"/>
                <a:gd name="T84" fmla="*/ 520 w 2061"/>
                <a:gd name="T85" fmla="*/ 33 h 224"/>
                <a:gd name="T86" fmla="*/ 491 w 2061"/>
                <a:gd name="T87" fmla="*/ 46 h 224"/>
                <a:gd name="T88" fmla="*/ 464 w 2061"/>
                <a:gd name="T89" fmla="*/ 22 h 224"/>
                <a:gd name="T90" fmla="*/ 509 w 2061"/>
                <a:gd name="T91" fmla="*/ 0 h 224"/>
                <a:gd name="T92" fmla="*/ 554 w 2061"/>
                <a:gd name="T93" fmla="*/ 22 h 224"/>
                <a:gd name="T94" fmla="*/ 559 w 2061"/>
                <a:gd name="T95" fmla="*/ 187 h 224"/>
                <a:gd name="T96" fmla="*/ 532 w 2061"/>
                <a:gd name="T97" fmla="*/ 220 h 224"/>
                <a:gd name="T98" fmla="*/ 478 w 2061"/>
                <a:gd name="T99" fmla="*/ 215 h 224"/>
                <a:gd name="T100" fmla="*/ 457 w 2061"/>
                <a:gd name="T101" fmla="*/ 168 h 224"/>
                <a:gd name="T102" fmla="*/ 439 w 2061"/>
                <a:gd name="T103" fmla="*/ 2 h 224"/>
                <a:gd name="T104" fmla="*/ 157 w 2061"/>
                <a:gd name="T105" fmla="*/ 33 h 224"/>
                <a:gd name="T106" fmla="*/ 191 w 2061"/>
                <a:gd name="T107" fmla="*/ 83 h 224"/>
                <a:gd name="T108" fmla="*/ 178 w 2061"/>
                <a:gd name="T109" fmla="*/ 33 h 224"/>
                <a:gd name="T110" fmla="*/ 189 w 2061"/>
                <a:gd name="T111" fmla="*/ 141 h 224"/>
                <a:gd name="T112" fmla="*/ 123 w 2061"/>
                <a:gd name="T113" fmla="*/ 2 h 224"/>
                <a:gd name="T114" fmla="*/ 218 w 2061"/>
                <a:gd name="T115" fmla="*/ 18 h 224"/>
                <a:gd name="T116" fmla="*/ 225 w 2061"/>
                <a:gd name="T117" fmla="*/ 85 h 224"/>
                <a:gd name="T118" fmla="*/ 210 w 2061"/>
                <a:gd name="T119" fmla="*/ 117 h 224"/>
                <a:gd name="T120" fmla="*/ 227 w 2061"/>
                <a:gd name="T121" fmla="*/ 194 h 224"/>
                <a:gd name="T122" fmla="*/ 35 w 2061"/>
                <a:gd name="T123" fmla="*/ 12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1" h="224">
                  <a:moveTo>
                    <a:pt x="1982" y="152"/>
                  </a:moveTo>
                  <a:lnTo>
                    <a:pt x="2015" y="152"/>
                  </a:lnTo>
                  <a:lnTo>
                    <a:pt x="1998" y="41"/>
                  </a:lnTo>
                  <a:lnTo>
                    <a:pt x="1982" y="152"/>
                  </a:lnTo>
                  <a:close/>
                  <a:moveTo>
                    <a:pt x="2061" y="221"/>
                  </a:moveTo>
                  <a:lnTo>
                    <a:pt x="2026" y="221"/>
                  </a:lnTo>
                  <a:lnTo>
                    <a:pt x="2020" y="181"/>
                  </a:lnTo>
                  <a:lnTo>
                    <a:pt x="1977" y="181"/>
                  </a:lnTo>
                  <a:lnTo>
                    <a:pt x="1972" y="221"/>
                  </a:lnTo>
                  <a:lnTo>
                    <a:pt x="1940" y="221"/>
                  </a:lnTo>
                  <a:lnTo>
                    <a:pt x="1975" y="2"/>
                  </a:lnTo>
                  <a:lnTo>
                    <a:pt x="2026" y="2"/>
                  </a:lnTo>
                  <a:lnTo>
                    <a:pt x="2061" y="221"/>
                  </a:lnTo>
                  <a:close/>
                  <a:moveTo>
                    <a:pt x="1860" y="33"/>
                  </a:moveTo>
                  <a:lnTo>
                    <a:pt x="1860" y="107"/>
                  </a:lnTo>
                  <a:lnTo>
                    <a:pt x="1877" y="107"/>
                  </a:lnTo>
                  <a:lnTo>
                    <a:pt x="1880" y="107"/>
                  </a:lnTo>
                  <a:lnTo>
                    <a:pt x="1884" y="106"/>
                  </a:lnTo>
                  <a:lnTo>
                    <a:pt x="1886" y="104"/>
                  </a:lnTo>
                  <a:lnTo>
                    <a:pt x="1890" y="103"/>
                  </a:lnTo>
                  <a:lnTo>
                    <a:pt x="1891" y="100"/>
                  </a:lnTo>
                  <a:lnTo>
                    <a:pt x="1893" y="96"/>
                  </a:lnTo>
                  <a:lnTo>
                    <a:pt x="1893" y="92"/>
                  </a:lnTo>
                  <a:lnTo>
                    <a:pt x="1894" y="86"/>
                  </a:lnTo>
                  <a:lnTo>
                    <a:pt x="1894" y="53"/>
                  </a:lnTo>
                  <a:lnTo>
                    <a:pt x="1893" y="48"/>
                  </a:lnTo>
                  <a:lnTo>
                    <a:pt x="1893" y="44"/>
                  </a:lnTo>
                  <a:lnTo>
                    <a:pt x="1891" y="40"/>
                  </a:lnTo>
                  <a:lnTo>
                    <a:pt x="1890" y="38"/>
                  </a:lnTo>
                  <a:lnTo>
                    <a:pt x="1886" y="36"/>
                  </a:lnTo>
                  <a:lnTo>
                    <a:pt x="1884" y="34"/>
                  </a:lnTo>
                  <a:lnTo>
                    <a:pt x="1880" y="33"/>
                  </a:lnTo>
                  <a:lnTo>
                    <a:pt x="1877" y="33"/>
                  </a:lnTo>
                  <a:lnTo>
                    <a:pt x="1860" y="33"/>
                  </a:lnTo>
                  <a:close/>
                  <a:moveTo>
                    <a:pt x="1928" y="56"/>
                  </a:moveTo>
                  <a:lnTo>
                    <a:pt x="1928" y="84"/>
                  </a:lnTo>
                  <a:lnTo>
                    <a:pt x="1928" y="91"/>
                  </a:lnTo>
                  <a:lnTo>
                    <a:pt x="1928" y="97"/>
                  </a:lnTo>
                  <a:lnTo>
                    <a:pt x="1927" y="102"/>
                  </a:lnTo>
                  <a:lnTo>
                    <a:pt x="1924" y="107"/>
                  </a:lnTo>
                  <a:lnTo>
                    <a:pt x="1923" y="113"/>
                  </a:lnTo>
                  <a:lnTo>
                    <a:pt x="1920" y="117"/>
                  </a:lnTo>
                  <a:lnTo>
                    <a:pt x="1918" y="121"/>
                  </a:lnTo>
                  <a:lnTo>
                    <a:pt x="1915" y="124"/>
                  </a:lnTo>
                  <a:lnTo>
                    <a:pt x="1912" y="128"/>
                  </a:lnTo>
                  <a:lnTo>
                    <a:pt x="1908" y="131"/>
                  </a:lnTo>
                  <a:lnTo>
                    <a:pt x="1903" y="133"/>
                  </a:lnTo>
                  <a:lnTo>
                    <a:pt x="1899" y="135"/>
                  </a:lnTo>
                  <a:lnTo>
                    <a:pt x="1894" y="136"/>
                  </a:lnTo>
                  <a:lnTo>
                    <a:pt x="1888" y="138"/>
                  </a:lnTo>
                  <a:lnTo>
                    <a:pt x="1883" y="138"/>
                  </a:lnTo>
                  <a:lnTo>
                    <a:pt x="1877" y="138"/>
                  </a:lnTo>
                  <a:lnTo>
                    <a:pt x="1860" y="138"/>
                  </a:lnTo>
                  <a:lnTo>
                    <a:pt x="1860" y="221"/>
                  </a:lnTo>
                  <a:lnTo>
                    <a:pt x="1826" y="221"/>
                  </a:lnTo>
                  <a:lnTo>
                    <a:pt x="1826" y="2"/>
                  </a:lnTo>
                  <a:lnTo>
                    <a:pt x="1877" y="2"/>
                  </a:lnTo>
                  <a:lnTo>
                    <a:pt x="1883" y="2"/>
                  </a:lnTo>
                  <a:lnTo>
                    <a:pt x="1888" y="3"/>
                  </a:lnTo>
                  <a:lnTo>
                    <a:pt x="1894" y="4"/>
                  </a:lnTo>
                  <a:lnTo>
                    <a:pt x="1899" y="5"/>
                  </a:lnTo>
                  <a:lnTo>
                    <a:pt x="1903" y="7"/>
                  </a:lnTo>
                  <a:lnTo>
                    <a:pt x="1908" y="9"/>
                  </a:lnTo>
                  <a:lnTo>
                    <a:pt x="1912" y="12"/>
                  </a:lnTo>
                  <a:lnTo>
                    <a:pt x="1915" y="15"/>
                  </a:lnTo>
                  <a:lnTo>
                    <a:pt x="1918" y="20"/>
                  </a:lnTo>
                  <a:lnTo>
                    <a:pt x="1920" y="23"/>
                  </a:lnTo>
                  <a:lnTo>
                    <a:pt x="1923" y="28"/>
                  </a:lnTo>
                  <a:lnTo>
                    <a:pt x="1924" y="32"/>
                  </a:lnTo>
                  <a:lnTo>
                    <a:pt x="1927" y="38"/>
                  </a:lnTo>
                  <a:lnTo>
                    <a:pt x="1928" y="43"/>
                  </a:lnTo>
                  <a:lnTo>
                    <a:pt x="1928" y="49"/>
                  </a:lnTo>
                  <a:lnTo>
                    <a:pt x="1928" y="56"/>
                  </a:lnTo>
                  <a:close/>
                  <a:moveTo>
                    <a:pt x="1733" y="33"/>
                  </a:moveTo>
                  <a:lnTo>
                    <a:pt x="1733" y="107"/>
                  </a:lnTo>
                  <a:lnTo>
                    <a:pt x="1749" y="107"/>
                  </a:lnTo>
                  <a:lnTo>
                    <a:pt x="1753" y="107"/>
                  </a:lnTo>
                  <a:lnTo>
                    <a:pt x="1756" y="106"/>
                  </a:lnTo>
                  <a:lnTo>
                    <a:pt x="1759" y="104"/>
                  </a:lnTo>
                  <a:lnTo>
                    <a:pt x="1762" y="103"/>
                  </a:lnTo>
                  <a:lnTo>
                    <a:pt x="1764" y="100"/>
                  </a:lnTo>
                  <a:lnTo>
                    <a:pt x="1765" y="96"/>
                  </a:lnTo>
                  <a:lnTo>
                    <a:pt x="1766" y="92"/>
                  </a:lnTo>
                  <a:lnTo>
                    <a:pt x="1766" y="86"/>
                  </a:lnTo>
                  <a:lnTo>
                    <a:pt x="1766" y="53"/>
                  </a:lnTo>
                  <a:lnTo>
                    <a:pt x="1766" y="48"/>
                  </a:lnTo>
                  <a:lnTo>
                    <a:pt x="1765" y="44"/>
                  </a:lnTo>
                  <a:lnTo>
                    <a:pt x="1764" y="40"/>
                  </a:lnTo>
                  <a:lnTo>
                    <a:pt x="1762" y="38"/>
                  </a:lnTo>
                  <a:lnTo>
                    <a:pt x="1759" y="36"/>
                  </a:lnTo>
                  <a:lnTo>
                    <a:pt x="1756" y="34"/>
                  </a:lnTo>
                  <a:lnTo>
                    <a:pt x="1753" y="33"/>
                  </a:lnTo>
                  <a:lnTo>
                    <a:pt x="1749" y="33"/>
                  </a:lnTo>
                  <a:lnTo>
                    <a:pt x="1733" y="33"/>
                  </a:lnTo>
                  <a:close/>
                  <a:moveTo>
                    <a:pt x="1801" y="56"/>
                  </a:moveTo>
                  <a:lnTo>
                    <a:pt x="1801" y="84"/>
                  </a:lnTo>
                  <a:lnTo>
                    <a:pt x="1801" y="91"/>
                  </a:lnTo>
                  <a:lnTo>
                    <a:pt x="1800" y="97"/>
                  </a:lnTo>
                  <a:lnTo>
                    <a:pt x="1799" y="102"/>
                  </a:lnTo>
                  <a:lnTo>
                    <a:pt x="1798" y="107"/>
                  </a:lnTo>
                  <a:lnTo>
                    <a:pt x="1795" y="113"/>
                  </a:lnTo>
                  <a:lnTo>
                    <a:pt x="1793" y="117"/>
                  </a:lnTo>
                  <a:lnTo>
                    <a:pt x="1790" y="121"/>
                  </a:lnTo>
                  <a:lnTo>
                    <a:pt x="1788" y="124"/>
                  </a:lnTo>
                  <a:lnTo>
                    <a:pt x="1784" y="128"/>
                  </a:lnTo>
                  <a:lnTo>
                    <a:pt x="1781" y="131"/>
                  </a:lnTo>
                  <a:lnTo>
                    <a:pt x="1776" y="133"/>
                  </a:lnTo>
                  <a:lnTo>
                    <a:pt x="1771" y="135"/>
                  </a:lnTo>
                  <a:lnTo>
                    <a:pt x="1767" y="136"/>
                  </a:lnTo>
                  <a:lnTo>
                    <a:pt x="1762" y="138"/>
                  </a:lnTo>
                  <a:lnTo>
                    <a:pt x="1755" y="138"/>
                  </a:lnTo>
                  <a:lnTo>
                    <a:pt x="1749" y="138"/>
                  </a:lnTo>
                  <a:lnTo>
                    <a:pt x="1733" y="138"/>
                  </a:lnTo>
                  <a:lnTo>
                    <a:pt x="1733" y="221"/>
                  </a:lnTo>
                  <a:lnTo>
                    <a:pt x="1698" y="221"/>
                  </a:lnTo>
                  <a:lnTo>
                    <a:pt x="1698" y="2"/>
                  </a:lnTo>
                  <a:lnTo>
                    <a:pt x="1749" y="2"/>
                  </a:lnTo>
                  <a:lnTo>
                    <a:pt x="1755" y="2"/>
                  </a:lnTo>
                  <a:lnTo>
                    <a:pt x="1762" y="3"/>
                  </a:lnTo>
                  <a:lnTo>
                    <a:pt x="1767" y="4"/>
                  </a:lnTo>
                  <a:lnTo>
                    <a:pt x="1771" y="5"/>
                  </a:lnTo>
                  <a:lnTo>
                    <a:pt x="1776" y="7"/>
                  </a:lnTo>
                  <a:lnTo>
                    <a:pt x="1781" y="9"/>
                  </a:lnTo>
                  <a:lnTo>
                    <a:pt x="1784" y="12"/>
                  </a:lnTo>
                  <a:lnTo>
                    <a:pt x="1788" y="15"/>
                  </a:lnTo>
                  <a:lnTo>
                    <a:pt x="1790" y="20"/>
                  </a:lnTo>
                  <a:lnTo>
                    <a:pt x="1793" y="23"/>
                  </a:lnTo>
                  <a:lnTo>
                    <a:pt x="1795" y="28"/>
                  </a:lnTo>
                  <a:lnTo>
                    <a:pt x="1798" y="32"/>
                  </a:lnTo>
                  <a:lnTo>
                    <a:pt x="1799" y="38"/>
                  </a:lnTo>
                  <a:lnTo>
                    <a:pt x="1800" y="43"/>
                  </a:lnTo>
                  <a:lnTo>
                    <a:pt x="1801" y="49"/>
                  </a:lnTo>
                  <a:lnTo>
                    <a:pt x="1801" y="56"/>
                  </a:lnTo>
                  <a:close/>
                  <a:moveTo>
                    <a:pt x="1599" y="2"/>
                  </a:moveTo>
                  <a:lnTo>
                    <a:pt x="1599" y="171"/>
                  </a:lnTo>
                  <a:lnTo>
                    <a:pt x="1599" y="176"/>
                  </a:lnTo>
                  <a:lnTo>
                    <a:pt x="1600" y="180"/>
                  </a:lnTo>
                  <a:lnTo>
                    <a:pt x="1601" y="183"/>
                  </a:lnTo>
                  <a:lnTo>
                    <a:pt x="1602" y="185"/>
                  </a:lnTo>
                  <a:lnTo>
                    <a:pt x="1604" y="188"/>
                  </a:lnTo>
                  <a:lnTo>
                    <a:pt x="1606" y="190"/>
                  </a:lnTo>
                  <a:lnTo>
                    <a:pt x="1609" y="191"/>
                  </a:lnTo>
                  <a:lnTo>
                    <a:pt x="1612" y="192"/>
                  </a:lnTo>
                  <a:lnTo>
                    <a:pt x="1617" y="192"/>
                  </a:lnTo>
                  <a:lnTo>
                    <a:pt x="1621" y="192"/>
                  </a:lnTo>
                  <a:lnTo>
                    <a:pt x="1624" y="191"/>
                  </a:lnTo>
                  <a:lnTo>
                    <a:pt x="1627" y="190"/>
                  </a:lnTo>
                  <a:lnTo>
                    <a:pt x="1629" y="188"/>
                  </a:lnTo>
                  <a:lnTo>
                    <a:pt x="1631" y="185"/>
                  </a:lnTo>
                  <a:lnTo>
                    <a:pt x="1634" y="180"/>
                  </a:lnTo>
                  <a:lnTo>
                    <a:pt x="1634" y="176"/>
                  </a:lnTo>
                  <a:lnTo>
                    <a:pt x="1635" y="171"/>
                  </a:lnTo>
                  <a:lnTo>
                    <a:pt x="1635" y="2"/>
                  </a:lnTo>
                  <a:lnTo>
                    <a:pt x="1667" y="2"/>
                  </a:lnTo>
                  <a:lnTo>
                    <a:pt x="1667" y="169"/>
                  </a:lnTo>
                  <a:lnTo>
                    <a:pt x="1666" y="175"/>
                  </a:lnTo>
                  <a:lnTo>
                    <a:pt x="1666" y="181"/>
                  </a:lnTo>
                  <a:lnTo>
                    <a:pt x="1665" y="187"/>
                  </a:lnTo>
                  <a:lnTo>
                    <a:pt x="1663" y="192"/>
                  </a:lnTo>
                  <a:lnTo>
                    <a:pt x="1662" y="197"/>
                  </a:lnTo>
                  <a:lnTo>
                    <a:pt x="1660" y="202"/>
                  </a:lnTo>
                  <a:lnTo>
                    <a:pt x="1657" y="206"/>
                  </a:lnTo>
                  <a:lnTo>
                    <a:pt x="1654" y="209"/>
                  </a:lnTo>
                  <a:lnTo>
                    <a:pt x="1651" y="212"/>
                  </a:lnTo>
                  <a:lnTo>
                    <a:pt x="1646" y="215"/>
                  </a:lnTo>
                  <a:lnTo>
                    <a:pt x="1644" y="216"/>
                  </a:lnTo>
                  <a:lnTo>
                    <a:pt x="1642" y="218"/>
                  </a:lnTo>
                  <a:lnTo>
                    <a:pt x="1638" y="220"/>
                  </a:lnTo>
                  <a:lnTo>
                    <a:pt x="1633" y="222"/>
                  </a:lnTo>
                  <a:lnTo>
                    <a:pt x="1627" y="223"/>
                  </a:lnTo>
                  <a:lnTo>
                    <a:pt x="1622" y="224"/>
                  </a:lnTo>
                  <a:lnTo>
                    <a:pt x="1616" y="224"/>
                  </a:lnTo>
                  <a:lnTo>
                    <a:pt x="1609" y="224"/>
                  </a:lnTo>
                  <a:lnTo>
                    <a:pt x="1604" y="223"/>
                  </a:lnTo>
                  <a:lnTo>
                    <a:pt x="1599" y="222"/>
                  </a:lnTo>
                  <a:lnTo>
                    <a:pt x="1593" y="220"/>
                  </a:lnTo>
                  <a:lnTo>
                    <a:pt x="1589" y="218"/>
                  </a:lnTo>
                  <a:lnTo>
                    <a:pt x="1585" y="215"/>
                  </a:lnTo>
                  <a:lnTo>
                    <a:pt x="1581" y="212"/>
                  </a:lnTo>
                  <a:lnTo>
                    <a:pt x="1578" y="209"/>
                  </a:lnTo>
                  <a:lnTo>
                    <a:pt x="1574" y="206"/>
                  </a:lnTo>
                  <a:lnTo>
                    <a:pt x="1571" y="202"/>
                  </a:lnTo>
                  <a:lnTo>
                    <a:pt x="1569" y="197"/>
                  </a:lnTo>
                  <a:lnTo>
                    <a:pt x="1567" y="192"/>
                  </a:lnTo>
                  <a:lnTo>
                    <a:pt x="1566" y="187"/>
                  </a:lnTo>
                  <a:lnTo>
                    <a:pt x="1565" y="181"/>
                  </a:lnTo>
                  <a:lnTo>
                    <a:pt x="1565" y="175"/>
                  </a:lnTo>
                  <a:lnTo>
                    <a:pt x="1564" y="169"/>
                  </a:lnTo>
                  <a:lnTo>
                    <a:pt x="1564" y="2"/>
                  </a:lnTo>
                  <a:lnTo>
                    <a:pt x="1599" y="2"/>
                  </a:lnTo>
                  <a:close/>
                  <a:moveTo>
                    <a:pt x="1463" y="152"/>
                  </a:moveTo>
                  <a:lnTo>
                    <a:pt x="1496" y="152"/>
                  </a:lnTo>
                  <a:lnTo>
                    <a:pt x="1480" y="41"/>
                  </a:lnTo>
                  <a:lnTo>
                    <a:pt x="1463" y="152"/>
                  </a:lnTo>
                  <a:close/>
                  <a:moveTo>
                    <a:pt x="1542" y="221"/>
                  </a:moveTo>
                  <a:lnTo>
                    <a:pt x="1508" y="221"/>
                  </a:lnTo>
                  <a:lnTo>
                    <a:pt x="1501" y="181"/>
                  </a:lnTo>
                  <a:lnTo>
                    <a:pt x="1459" y="181"/>
                  </a:lnTo>
                  <a:lnTo>
                    <a:pt x="1453" y="221"/>
                  </a:lnTo>
                  <a:lnTo>
                    <a:pt x="1421" y="221"/>
                  </a:lnTo>
                  <a:lnTo>
                    <a:pt x="1457" y="2"/>
                  </a:lnTo>
                  <a:lnTo>
                    <a:pt x="1507" y="2"/>
                  </a:lnTo>
                  <a:lnTo>
                    <a:pt x="1542" y="221"/>
                  </a:lnTo>
                  <a:close/>
                  <a:moveTo>
                    <a:pt x="1339" y="134"/>
                  </a:moveTo>
                  <a:lnTo>
                    <a:pt x="1328" y="154"/>
                  </a:lnTo>
                  <a:lnTo>
                    <a:pt x="1328" y="221"/>
                  </a:lnTo>
                  <a:lnTo>
                    <a:pt x="1293" y="221"/>
                  </a:lnTo>
                  <a:lnTo>
                    <a:pt x="1293" y="2"/>
                  </a:lnTo>
                  <a:lnTo>
                    <a:pt x="1328" y="2"/>
                  </a:lnTo>
                  <a:lnTo>
                    <a:pt x="1328" y="97"/>
                  </a:lnTo>
                  <a:lnTo>
                    <a:pt x="1372" y="2"/>
                  </a:lnTo>
                  <a:lnTo>
                    <a:pt x="1407" y="2"/>
                  </a:lnTo>
                  <a:lnTo>
                    <a:pt x="1359" y="99"/>
                  </a:lnTo>
                  <a:lnTo>
                    <a:pt x="1407" y="221"/>
                  </a:lnTo>
                  <a:lnTo>
                    <a:pt x="1371" y="221"/>
                  </a:lnTo>
                  <a:lnTo>
                    <a:pt x="1339" y="134"/>
                  </a:lnTo>
                  <a:close/>
                  <a:moveTo>
                    <a:pt x="1204" y="94"/>
                  </a:moveTo>
                  <a:lnTo>
                    <a:pt x="1252" y="94"/>
                  </a:lnTo>
                  <a:lnTo>
                    <a:pt x="1252" y="125"/>
                  </a:lnTo>
                  <a:lnTo>
                    <a:pt x="1204" y="125"/>
                  </a:lnTo>
                  <a:lnTo>
                    <a:pt x="1204" y="190"/>
                  </a:lnTo>
                  <a:lnTo>
                    <a:pt x="1263" y="190"/>
                  </a:lnTo>
                  <a:lnTo>
                    <a:pt x="1263" y="221"/>
                  </a:lnTo>
                  <a:lnTo>
                    <a:pt x="1170" y="221"/>
                  </a:lnTo>
                  <a:lnTo>
                    <a:pt x="1170" y="2"/>
                  </a:lnTo>
                  <a:lnTo>
                    <a:pt x="1263" y="2"/>
                  </a:lnTo>
                  <a:lnTo>
                    <a:pt x="1263" y="33"/>
                  </a:lnTo>
                  <a:lnTo>
                    <a:pt x="1204" y="33"/>
                  </a:lnTo>
                  <a:lnTo>
                    <a:pt x="1204" y="94"/>
                  </a:lnTo>
                  <a:close/>
                  <a:moveTo>
                    <a:pt x="1077" y="134"/>
                  </a:moveTo>
                  <a:lnTo>
                    <a:pt x="1067" y="154"/>
                  </a:lnTo>
                  <a:lnTo>
                    <a:pt x="1067" y="221"/>
                  </a:lnTo>
                  <a:lnTo>
                    <a:pt x="1033" y="221"/>
                  </a:lnTo>
                  <a:lnTo>
                    <a:pt x="1033" y="2"/>
                  </a:lnTo>
                  <a:lnTo>
                    <a:pt x="1067" y="2"/>
                  </a:lnTo>
                  <a:lnTo>
                    <a:pt x="1067" y="97"/>
                  </a:lnTo>
                  <a:lnTo>
                    <a:pt x="1112" y="2"/>
                  </a:lnTo>
                  <a:lnTo>
                    <a:pt x="1146" y="2"/>
                  </a:lnTo>
                  <a:lnTo>
                    <a:pt x="1098" y="99"/>
                  </a:lnTo>
                  <a:lnTo>
                    <a:pt x="1146" y="221"/>
                  </a:lnTo>
                  <a:lnTo>
                    <a:pt x="1111" y="221"/>
                  </a:lnTo>
                  <a:lnTo>
                    <a:pt x="1077" y="134"/>
                  </a:lnTo>
                  <a:close/>
                  <a:moveTo>
                    <a:pt x="965" y="2"/>
                  </a:moveTo>
                  <a:lnTo>
                    <a:pt x="999" y="2"/>
                  </a:lnTo>
                  <a:lnTo>
                    <a:pt x="999" y="221"/>
                  </a:lnTo>
                  <a:lnTo>
                    <a:pt x="965" y="221"/>
                  </a:lnTo>
                  <a:lnTo>
                    <a:pt x="965" y="2"/>
                  </a:lnTo>
                  <a:close/>
                  <a:moveTo>
                    <a:pt x="898" y="2"/>
                  </a:moveTo>
                  <a:lnTo>
                    <a:pt x="932" y="2"/>
                  </a:lnTo>
                  <a:lnTo>
                    <a:pt x="932" y="221"/>
                  </a:lnTo>
                  <a:lnTo>
                    <a:pt x="898" y="221"/>
                  </a:lnTo>
                  <a:lnTo>
                    <a:pt x="898" y="2"/>
                  </a:lnTo>
                  <a:close/>
                  <a:moveTo>
                    <a:pt x="783" y="2"/>
                  </a:moveTo>
                  <a:lnTo>
                    <a:pt x="818" y="2"/>
                  </a:lnTo>
                  <a:lnTo>
                    <a:pt x="818" y="190"/>
                  </a:lnTo>
                  <a:lnTo>
                    <a:pt x="875" y="190"/>
                  </a:lnTo>
                  <a:lnTo>
                    <a:pt x="875" y="221"/>
                  </a:lnTo>
                  <a:lnTo>
                    <a:pt x="783" y="221"/>
                  </a:lnTo>
                  <a:lnTo>
                    <a:pt x="783" y="2"/>
                  </a:lnTo>
                  <a:close/>
                  <a:moveTo>
                    <a:pt x="705" y="0"/>
                  </a:moveTo>
                  <a:lnTo>
                    <a:pt x="711" y="0"/>
                  </a:lnTo>
                  <a:lnTo>
                    <a:pt x="717" y="0"/>
                  </a:lnTo>
                  <a:lnTo>
                    <a:pt x="722" y="1"/>
                  </a:lnTo>
                  <a:lnTo>
                    <a:pt x="727" y="3"/>
                  </a:lnTo>
                  <a:lnTo>
                    <a:pt x="732" y="5"/>
                  </a:lnTo>
                  <a:lnTo>
                    <a:pt x="736" y="7"/>
                  </a:lnTo>
                  <a:lnTo>
                    <a:pt x="740" y="10"/>
                  </a:lnTo>
                  <a:lnTo>
                    <a:pt x="743" y="13"/>
                  </a:lnTo>
                  <a:lnTo>
                    <a:pt x="746" y="18"/>
                  </a:lnTo>
                  <a:lnTo>
                    <a:pt x="748" y="22"/>
                  </a:lnTo>
                  <a:lnTo>
                    <a:pt x="751" y="26"/>
                  </a:lnTo>
                  <a:lnTo>
                    <a:pt x="753" y="31"/>
                  </a:lnTo>
                  <a:lnTo>
                    <a:pt x="754" y="37"/>
                  </a:lnTo>
                  <a:lnTo>
                    <a:pt x="755" y="42"/>
                  </a:lnTo>
                  <a:lnTo>
                    <a:pt x="756" y="48"/>
                  </a:lnTo>
                  <a:lnTo>
                    <a:pt x="756" y="55"/>
                  </a:lnTo>
                  <a:lnTo>
                    <a:pt x="756" y="61"/>
                  </a:lnTo>
                  <a:lnTo>
                    <a:pt x="723" y="61"/>
                  </a:lnTo>
                  <a:lnTo>
                    <a:pt x="723" y="52"/>
                  </a:lnTo>
                  <a:lnTo>
                    <a:pt x="723" y="46"/>
                  </a:lnTo>
                  <a:lnTo>
                    <a:pt x="722" y="42"/>
                  </a:lnTo>
                  <a:lnTo>
                    <a:pt x="721" y="39"/>
                  </a:lnTo>
                  <a:lnTo>
                    <a:pt x="719" y="36"/>
                  </a:lnTo>
                  <a:lnTo>
                    <a:pt x="717" y="33"/>
                  </a:lnTo>
                  <a:lnTo>
                    <a:pt x="714" y="31"/>
                  </a:lnTo>
                  <a:lnTo>
                    <a:pt x="710" y="30"/>
                  </a:lnTo>
                  <a:lnTo>
                    <a:pt x="706" y="30"/>
                  </a:lnTo>
                  <a:lnTo>
                    <a:pt x="702" y="30"/>
                  </a:lnTo>
                  <a:lnTo>
                    <a:pt x="699" y="31"/>
                  </a:lnTo>
                  <a:lnTo>
                    <a:pt x="698" y="32"/>
                  </a:lnTo>
                  <a:lnTo>
                    <a:pt x="696" y="33"/>
                  </a:lnTo>
                  <a:lnTo>
                    <a:pt x="693" y="36"/>
                  </a:lnTo>
                  <a:lnTo>
                    <a:pt x="691" y="39"/>
                  </a:lnTo>
                  <a:lnTo>
                    <a:pt x="690" y="42"/>
                  </a:lnTo>
                  <a:lnTo>
                    <a:pt x="689" y="46"/>
                  </a:lnTo>
                  <a:lnTo>
                    <a:pt x="689" y="52"/>
                  </a:lnTo>
                  <a:lnTo>
                    <a:pt x="689" y="56"/>
                  </a:lnTo>
                  <a:lnTo>
                    <a:pt x="689" y="60"/>
                  </a:lnTo>
                  <a:lnTo>
                    <a:pt x="691" y="67"/>
                  </a:lnTo>
                  <a:lnTo>
                    <a:pt x="693" y="70"/>
                  </a:lnTo>
                  <a:lnTo>
                    <a:pt x="696" y="74"/>
                  </a:lnTo>
                  <a:lnTo>
                    <a:pt x="700" y="80"/>
                  </a:lnTo>
                  <a:lnTo>
                    <a:pt x="704" y="86"/>
                  </a:lnTo>
                  <a:lnTo>
                    <a:pt x="710" y="92"/>
                  </a:lnTo>
                  <a:lnTo>
                    <a:pt x="722" y="103"/>
                  </a:lnTo>
                  <a:lnTo>
                    <a:pt x="735" y="116"/>
                  </a:lnTo>
                  <a:lnTo>
                    <a:pt x="741" y="122"/>
                  </a:lnTo>
                  <a:lnTo>
                    <a:pt x="745" y="130"/>
                  </a:lnTo>
                  <a:lnTo>
                    <a:pt x="750" y="138"/>
                  </a:lnTo>
                  <a:lnTo>
                    <a:pt x="754" y="148"/>
                  </a:lnTo>
                  <a:lnTo>
                    <a:pt x="756" y="157"/>
                  </a:lnTo>
                  <a:lnTo>
                    <a:pt x="756" y="162"/>
                  </a:lnTo>
                  <a:lnTo>
                    <a:pt x="756" y="168"/>
                  </a:lnTo>
                  <a:lnTo>
                    <a:pt x="756" y="175"/>
                  </a:lnTo>
                  <a:lnTo>
                    <a:pt x="756" y="180"/>
                  </a:lnTo>
                  <a:lnTo>
                    <a:pt x="755" y="187"/>
                  </a:lnTo>
                  <a:lnTo>
                    <a:pt x="753" y="192"/>
                  </a:lnTo>
                  <a:lnTo>
                    <a:pt x="752" y="196"/>
                  </a:lnTo>
                  <a:lnTo>
                    <a:pt x="748" y="202"/>
                  </a:lnTo>
                  <a:lnTo>
                    <a:pt x="746" y="205"/>
                  </a:lnTo>
                  <a:lnTo>
                    <a:pt x="743" y="209"/>
                  </a:lnTo>
                  <a:lnTo>
                    <a:pt x="740" y="212"/>
                  </a:lnTo>
                  <a:lnTo>
                    <a:pt x="736" y="215"/>
                  </a:lnTo>
                  <a:lnTo>
                    <a:pt x="734" y="216"/>
                  </a:lnTo>
                  <a:lnTo>
                    <a:pt x="732" y="217"/>
                  </a:lnTo>
                  <a:lnTo>
                    <a:pt x="727" y="220"/>
                  </a:lnTo>
                  <a:lnTo>
                    <a:pt x="722" y="222"/>
                  </a:lnTo>
                  <a:lnTo>
                    <a:pt x="717" y="223"/>
                  </a:lnTo>
                  <a:lnTo>
                    <a:pt x="711" y="223"/>
                  </a:lnTo>
                  <a:lnTo>
                    <a:pt x="705" y="224"/>
                  </a:lnTo>
                  <a:lnTo>
                    <a:pt x="699" y="223"/>
                  </a:lnTo>
                  <a:lnTo>
                    <a:pt x="692" y="223"/>
                  </a:lnTo>
                  <a:lnTo>
                    <a:pt x="687" y="222"/>
                  </a:lnTo>
                  <a:lnTo>
                    <a:pt x="683" y="220"/>
                  </a:lnTo>
                  <a:lnTo>
                    <a:pt x="678" y="217"/>
                  </a:lnTo>
                  <a:lnTo>
                    <a:pt x="673" y="215"/>
                  </a:lnTo>
                  <a:lnTo>
                    <a:pt x="670" y="212"/>
                  </a:lnTo>
                  <a:lnTo>
                    <a:pt x="666" y="209"/>
                  </a:lnTo>
                  <a:lnTo>
                    <a:pt x="664" y="205"/>
                  </a:lnTo>
                  <a:lnTo>
                    <a:pt x="661" y="202"/>
                  </a:lnTo>
                  <a:lnTo>
                    <a:pt x="659" y="196"/>
                  </a:lnTo>
                  <a:lnTo>
                    <a:pt x="656" y="192"/>
                  </a:lnTo>
                  <a:lnTo>
                    <a:pt x="655" y="187"/>
                  </a:lnTo>
                  <a:lnTo>
                    <a:pt x="654" y="180"/>
                  </a:lnTo>
                  <a:lnTo>
                    <a:pt x="653" y="175"/>
                  </a:lnTo>
                  <a:lnTo>
                    <a:pt x="653" y="168"/>
                  </a:lnTo>
                  <a:lnTo>
                    <a:pt x="653" y="155"/>
                  </a:lnTo>
                  <a:lnTo>
                    <a:pt x="686" y="155"/>
                  </a:lnTo>
                  <a:lnTo>
                    <a:pt x="686" y="171"/>
                  </a:lnTo>
                  <a:lnTo>
                    <a:pt x="686" y="176"/>
                  </a:lnTo>
                  <a:lnTo>
                    <a:pt x="687" y="180"/>
                  </a:lnTo>
                  <a:lnTo>
                    <a:pt x="688" y="183"/>
                  </a:lnTo>
                  <a:lnTo>
                    <a:pt x="689" y="184"/>
                  </a:lnTo>
                  <a:lnTo>
                    <a:pt x="691" y="187"/>
                  </a:lnTo>
                  <a:lnTo>
                    <a:pt x="693" y="189"/>
                  </a:lnTo>
                  <a:lnTo>
                    <a:pt x="697" y="191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08" y="191"/>
                  </a:lnTo>
                  <a:lnTo>
                    <a:pt x="711" y="191"/>
                  </a:lnTo>
                  <a:lnTo>
                    <a:pt x="715" y="189"/>
                  </a:lnTo>
                  <a:lnTo>
                    <a:pt x="717" y="187"/>
                  </a:lnTo>
                  <a:lnTo>
                    <a:pt x="719" y="184"/>
                  </a:lnTo>
                  <a:lnTo>
                    <a:pt x="721" y="180"/>
                  </a:lnTo>
                  <a:lnTo>
                    <a:pt x="721" y="176"/>
                  </a:lnTo>
                  <a:lnTo>
                    <a:pt x="722" y="171"/>
                  </a:lnTo>
                  <a:lnTo>
                    <a:pt x="722" y="167"/>
                  </a:lnTo>
                  <a:lnTo>
                    <a:pt x="721" y="162"/>
                  </a:lnTo>
                  <a:lnTo>
                    <a:pt x="719" y="155"/>
                  </a:lnTo>
                  <a:lnTo>
                    <a:pt x="718" y="152"/>
                  </a:lnTo>
                  <a:lnTo>
                    <a:pt x="716" y="149"/>
                  </a:lnTo>
                  <a:lnTo>
                    <a:pt x="711" y="142"/>
                  </a:lnTo>
                  <a:lnTo>
                    <a:pt x="706" y="136"/>
                  </a:lnTo>
                  <a:lnTo>
                    <a:pt x="701" y="131"/>
                  </a:lnTo>
                  <a:lnTo>
                    <a:pt x="688" y="119"/>
                  </a:lnTo>
                  <a:lnTo>
                    <a:pt x="675" y="106"/>
                  </a:lnTo>
                  <a:lnTo>
                    <a:pt x="670" y="100"/>
                  </a:lnTo>
                  <a:lnTo>
                    <a:pt x="665" y="93"/>
                  </a:lnTo>
                  <a:lnTo>
                    <a:pt x="661" y="84"/>
                  </a:lnTo>
                  <a:lnTo>
                    <a:pt x="658" y="76"/>
                  </a:lnTo>
                  <a:lnTo>
                    <a:pt x="655" y="65"/>
                  </a:lnTo>
                  <a:lnTo>
                    <a:pt x="654" y="60"/>
                  </a:lnTo>
                  <a:lnTo>
                    <a:pt x="654" y="55"/>
                  </a:lnTo>
                  <a:lnTo>
                    <a:pt x="654" y="48"/>
                  </a:lnTo>
                  <a:lnTo>
                    <a:pt x="655" y="42"/>
                  </a:lnTo>
                  <a:lnTo>
                    <a:pt x="656" y="37"/>
                  </a:lnTo>
                  <a:lnTo>
                    <a:pt x="658" y="31"/>
                  </a:lnTo>
                  <a:lnTo>
                    <a:pt x="660" y="26"/>
                  </a:lnTo>
                  <a:lnTo>
                    <a:pt x="662" y="22"/>
                  </a:lnTo>
                  <a:lnTo>
                    <a:pt x="664" y="18"/>
                  </a:lnTo>
                  <a:lnTo>
                    <a:pt x="667" y="13"/>
                  </a:lnTo>
                  <a:lnTo>
                    <a:pt x="670" y="10"/>
                  </a:lnTo>
                  <a:lnTo>
                    <a:pt x="674" y="7"/>
                  </a:lnTo>
                  <a:lnTo>
                    <a:pt x="677" y="6"/>
                  </a:lnTo>
                  <a:lnTo>
                    <a:pt x="679" y="5"/>
                  </a:lnTo>
                  <a:lnTo>
                    <a:pt x="683" y="3"/>
                  </a:lnTo>
                  <a:lnTo>
                    <a:pt x="688" y="1"/>
                  </a:lnTo>
                  <a:lnTo>
                    <a:pt x="693" y="0"/>
                  </a:lnTo>
                  <a:lnTo>
                    <a:pt x="699" y="0"/>
                  </a:lnTo>
                  <a:lnTo>
                    <a:pt x="705" y="0"/>
                  </a:lnTo>
                  <a:close/>
                  <a:moveTo>
                    <a:pt x="592" y="2"/>
                  </a:moveTo>
                  <a:lnTo>
                    <a:pt x="626" y="2"/>
                  </a:lnTo>
                  <a:lnTo>
                    <a:pt x="626" y="221"/>
                  </a:lnTo>
                  <a:lnTo>
                    <a:pt x="592" y="221"/>
                  </a:lnTo>
                  <a:lnTo>
                    <a:pt x="592" y="2"/>
                  </a:lnTo>
                  <a:close/>
                  <a:moveTo>
                    <a:pt x="491" y="171"/>
                  </a:moveTo>
                  <a:lnTo>
                    <a:pt x="491" y="176"/>
                  </a:lnTo>
                  <a:lnTo>
                    <a:pt x="493" y="180"/>
                  </a:lnTo>
                  <a:lnTo>
                    <a:pt x="494" y="183"/>
                  </a:lnTo>
                  <a:lnTo>
                    <a:pt x="494" y="185"/>
                  </a:lnTo>
                  <a:lnTo>
                    <a:pt x="496" y="187"/>
                  </a:lnTo>
                  <a:lnTo>
                    <a:pt x="499" y="189"/>
                  </a:lnTo>
                  <a:lnTo>
                    <a:pt x="502" y="191"/>
                  </a:lnTo>
                  <a:lnTo>
                    <a:pt x="505" y="192"/>
                  </a:lnTo>
                  <a:lnTo>
                    <a:pt x="509" y="192"/>
                  </a:lnTo>
                  <a:lnTo>
                    <a:pt x="513" y="192"/>
                  </a:lnTo>
                  <a:lnTo>
                    <a:pt x="517" y="191"/>
                  </a:lnTo>
                  <a:lnTo>
                    <a:pt x="520" y="189"/>
                  </a:lnTo>
                  <a:lnTo>
                    <a:pt x="522" y="187"/>
                  </a:lnTo>
                  <a:lnTo>
                    <a:pt x="524" y="185"/>
                  </a:lnTo>
                  <a:lnTo>
                    <a:pt x="525" y="180"/>
                  </a:lnTo>
                  <a:lnTo>
                    <a:pt x="526" y="176"/>
                  </a:lnTo>
                  <a:lnTo>
                    <a:pt x="527" y="171"/>
                  </a:lnTo>
                  <a:lnTo>
                    <a:pt x="527" y="52"/>
                  </a:lnTo>
                  <a:lnTo>
                    <a:pt x="526" y="46"/>
                  </a:lnTo>
                  <a:lnTo>
                    <a:pt x="525" y="42"/>
                  </a:lnTo>
                  <a:lnTo>
                    <a:pt x="525" y="40"/>
                  </a:lnTo>
                  <a:lnTo>
                    <a:pt x="524" y="39"/>
                  </a:lnTo>
                  <a:lnTo>
                    <a:pt x="522" y="36"/>
                  </a:lnTo>
                  <a:lnTo>
                    <a:pt x="520" y="33"/>
                  </a:lnTo>
                  <a:lnTo>
                    <a:pt x="517" y="31"/>
                  </a:lnTo>
                  <a:lnTo>
                    <a:pt x="513" y="30"/>
                  </a:lnTo>
                  <a:lnTo>
                    <a:pt x="509" y="30"/>
                  </a:lnTo>
                  <a:lnTo>
                    <a:pt x="505" y="30"/>
                  </a:lnTo>
                  <a:lnTo>
                    <a:pt x="502" y="31"/>
                  </a:lnTo>
                  <a:lnTo>
                    <a:pt x="499" y="33"/>
                  </a:lnTo>
                  <a:lnTo>
                    <a:pt x="496" y="36"/>
                  </a:lnTo>
                  <a:lnTo>
                    <a:pt x="494" y="39"/>
                  </a:lnTo>
                  <a:lnTo>
                    <a:pt x="493" y="42"/>
                  </a:lnTo>
                  <a:lnTo>
                    <a:pt x="491" y="46"/>
                  </a:lnTo>
                  <a:lnTo>
                    <a:pt x="491" y="52"/>
                  </a:lnTo>
                  <a:lnTo>
                    <a:pt x="491" y="171"/>
                  </a:lnTo>
                  <a:close/>
                  <a:moveTo>
                    <a:pt x="457" y="55"/>
                  </a:moveTo>
                  <a:lnTo>
                    <a:pt x="457" y="48"/>
                  </a:lnTo>
                  <a:lnTo>
                    <a:pt x="458" y="42"/>
                  </a:lnTo>
                  <a:lnTo>
                    <a:pt x="459" y="37"/>
                  </a:lnTo>
                  <a:lnTo>
                    <a:pt x="460" y="33"/>
                  </a:lnTo>
                  <a:lnTo>
                    <a:pt x="460" y="31"/>
                  </a:lnTo>
                  <a:lnTo>
                    <a:pt x="462" y="26"/>
                  </a:lnTo>
                  <a:lnTo>
                    <a:pt x="464" y="22"/>
                  </a:lnTo>
                  <a:lnTo>
                    <a:pt x="467" y="18"/>
                  </a:lnTo>
                  <a:lnTo>
                    <a:pt x="470" y="13"/>
                  </a:lnTo>
                  <a:lnTo>
                    <a:pt x="473" y="10"/>
                  </a:lnTo>
                  <a:lnTo>
                    <a:pt x="478" y="7"/>
                  </a:lnTo>
                  <a:lnTo>
                    <a:pt x="482" y="5"/>
                  </a:lnTo>
                  <a:lnTo>
                    <a:pt x="486" y="3"/>
                  </a:lnTo>
                  <a:lnTo>
                    <a:pt x="491" y="1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0"/>
                  </a:lnTo>
                  <a:lnTo>
                    <a:pt x="515" y="0"/>
                  </a:lnTo>
                  <a:lnTo>
                    <a:pt x="521" y="0"/>
                  </a:lnTo>
                  <a:lnTo>
                    <a:pt x="526" y="1"/>
                  </a:lnTo>
                  <a:lnTo>
                    <a:pt x="532" y="3"/>
                  </a:lnTo>
                  <a:lnTo>
                    <a:pt x="536" y="5"/>
                  </a:lnTo>
                  <a:lnTo>
                    <a:pt x="540" y="7"/>
                  </a:lnTo>
                  <a:lnTo>
                    <a:pt x="544" y="10"/>
                  </a:lnTo>
                  <a:lnTo>
                    <a:pt x="548" y="13"/>
                  </a:lnTo>
                  <a:lnTo>
                    <a:pt x="551" y="18"/>
                  </a:lnTo>
                  <a:lnTo>
                    <a:pt x="554" y="22"/>
                  </a:lnTo>
                  <a:lnTo>
                    <a:pt x="556" y="26"/>
                  </a:lnTo>
                  <a:lnTo>
                    <a:pt x="558" y="31"/>
                  </a:lnTo>
                  <a:lnTo>
                    <a:pt x="559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1" y="168"/>
                  </a:lnTo>
                  <a:lnTo>
                    <a:pt x="561" y="175"/>
                  </a:lnTo>
                  <a:lnTo>
                    <a:pt x="560" y="180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8" y="192"/>
                  </a:lnTo>
                  <a:lnTo>
                    <a:pt x="556" y="196"/>
                  </a:lnTo>
                  <a:lnTo>
                    <a:pt x="554" y="202"/>
                  </a:lnTo>
                  <a:lnTo>
                    <a:pt x="551" y="205"/>
                  </a:lnTo>
                  <a:lnTo>
                    <a:pt x="548" y="209"/>
                  </a:lnTo>
                  <a:lnTo>
                    <a:pt x="544" y="212"/>
                  </a:lnTo>
                  <a:lnTo>
                    <a:pt x="540" y="215"/>
                  </a:lnTo>
                  <a:lnTo>
                    <a:pt x="536" y="217"/>
                  </a:lnTo>
                  <a:lnTo>
                    <a:pt x="532" y="220"/>
                  </a:lnTo>
                  <a:lnTo>
                    <a:pt x="526" y="222"/>
                  </a:lnTo>
                  <a:lnTo>
                    <a:pt x="521" y="223"/>
                  </a:lnTo>
                  <a:lnTo>
                    <a:pt x="515" y="223"/>
                  </a:lnTo>
                  <a:lnTo>
                    <a:pt x="509" y="224"/>
                  </a:lnTo>
                  <a:lnTo>
                    <a:pt x="503" y="223"/>
                  </a:lnTo>
                  <a:lnTo>
                    <a:pt x="497" y="223"/>
                  </a:lnTo>
                  <a:lnTo>
                    <a:pt x="491" y="222"/>
                  </a:lnTo>
                  <a:lnTo>
                    <a:pt x="486" y="220"/>
                  </a:lnTo>
                  <a:lnTo>
                    <a:pt x="482" y="217"/>
                  </a:lnTo>
                  <a:lnTo>
                    <a:pt x="478" y="215"/>
                  </a:lnTo>
                  <a:lnTo>
                    <a:pt x="473" y="212"/>
                  </a:lnTo>
                  <a:lnTo>
                    <a:pt x="470" y="209"/>
                  </a:lnTo>
                  <a:lnTo>
                    <a:pt x="467" y="205"/>
                  </a:lnTo>
                  <a:lnTo>
                    <a:pt x="464" y="202"/>
                  </a:lnTo>
                  <a:lnTo>
                    <a:pt x="462" y="196"/>
                  </a:lnTo>
                  <a:lnTo>
                    <a:pt x="460" y="192"/>
                  </a:lnTo>
                  <a:lnTo>
                    <a:pt x="459" y="187"/>
                  </a:lnTo>
                  <a:lnTo>
                    <a:pt x="458" y="180"/>
                  </a:lnTo>
                  <a:lnTo>
                    <a:pt x="457" y="175"/>
                  </a:lnTo>
                  <a:lnTo>
                    <a:pt x="457" y="168"/>
                  </a:lnTo>
                  <a:lnTo>
                    <a:pt x="457" y="55"/>
                  </a:lnTo>
                  <a:close/>
                  <a:moveTo>
                    <a:pt x="370" y="134"/>
                  </a:moveTo>
                  <a:lnTo>
                    <a:pt x="359" y="154"/>
                  </a:lnTo>
                  <a:lnTo>
                    <a:pt x="359" y="221"/>
                  </a:lnTo>
                  <a:lnTo>
                    <a:pt x="324" y="221"/>
                  </a:lnTo>
                  <a:lnTo>
                    <a:pt x="324" y="2"/>
                  </a:lnTo>
                  <a:lnTo>
                    <a:pt x="359" y="2"/>
                  </a:lnTo>
                  <a:lnTo>
                    <a:pt x="359" y="97"/>
                  </a:lnTo>
                  <a:lnTo>
                    <a:pt x="404" y="2"/>
                  </a:lnTo>
                  <a:lnTo>
                    <a:pt x="439" y="2"/>
                  </a:lnTo>
                  <a:lnTo>
                    <a:pt x="390" y="99"/>
                  </a:lnTo>
                  <a:lnTo>
                    <a:pt x="439" y="221"/>
                  </a:lnTo>
                  <a:lnTo>
                    <a:pt x="403" y="221"/>
                  </a:lnTo>
                  <a:lnTo>
                    <a:pt x="370" y="134"/>
                  </a:lnTo>
                  <a:close/>
                  <a:moveTo>
                    <a:pt x="257" y="2"/>
                  </a:moveTo>
                  <a:lnTo>
                    <a:pt x="292" y="2"/>
                  </a:lnTo>
                  <a:lnTo>
                    <a:pt x="292" y="221"/>
                  </a:lnTo>
                  <a:lnTo>
                    <a:pt x="257" y="221"/>
                  </a:lnTo>
                  <a:lnTo>
                    <a:pt x="257" y="2"/>
                  </a:lnTo>
                  <a:close/>
                  <a:moveTo>
                    <a:pt x="157" y="33"/>
                  </a:moveTo>
                  <a:lnTo>
                    <a:pt x="15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9" y="99"/>
                  </a:lnTo>
                  <a:lnTo>
                    <a:pt x="184" y="98"/>
                  </a:lnTo>
                  <a:lnTo>
                    <a:pt x="185" y="97"/>
                  </a:lnTo>
                  <a:lnTo>
                    <a:pt x="186" y="95"/>
                  </a:lnTo>
                  <a:lnTo>
                    <a:pt x="189" y="93"/>
                  </a:lnTo>
                  <a:lnTo>
                    <a:pt x="190" y="88"/>
                  </a:lnTo>
                  <a:lnTo>
                    <a:pt x="191" y="83"/>
                  </a:lnTo>
                  <a:lnTo>
                    <a:pt x="192" y="77"/>
                  </a:lnTo>
                  <a:lnTo>
                    <a:pt x="192" y="56"/>
                  </a:lnTo>
                  <a:lnTo>
                    <a:pt x="191" y="50"/>
                  </a:lnTo>
                  <a:lnTo>
                    <a:pt x="191" y="45"/>
                  </a:lnTo>
                  <a:lnTo>
                    <a:pt x="189" y="42"/>
                  </a:lnTo>
                  <a:lnTo>
                    <a:pt x="188" y="39"/>
                  </a:lnTo>
                  <a:lnTo>
                    <a:pt x="185" y="36"/>
                  </a:lnTo>
                  <a:lnTo>
                    <a:pt x="184" y="34"/>
                  </a:lnTo>
                  <a:lnTo>
                    <a:pt x="183" y="34"/>
                  </a:lnTo>
                  <a:lnTo>
                    <a:pt x="178" y="33"/>
                  </a:lnTo>
                  <a:lnTo>
                    <a:pt x="174" y="33"/>
                  </a:lnTo>
                  <a:lnTo>
                    <a:pt x="157" y="33"/>
                  </a:lnTo>
                  <a:close/>
                  <a:moveTo>
                    <a:pt x="195" y="221"/>
                  </a:moveTo>
                  <a:lnTo>
                    <a:pt x="193" y="212"/>
                  </a:lnTo>
                  <a:lnTo>
                    <a:pt x="192" y="205"/>
                  </a:lnTo>
                  <a:lnTo>
                    <a:pt x="192" y="194"/>
                  </a:lnTo>
                  <a:lnTo>
                    <a:pt x="192" y="159"/>
                  </a:lnTo>
                  <a:lnTo>
                    <a:pt x="192" y="153"/>
                  </a:lnTo>
                  <a:lnTo>
                    <a:pt x="191" y="147"/>
                  </a:lnTo>
                  <a:lnTo>
                    <a:pt x="189" y="141"/>
                  </a:lnTo>
                  <a:lnTo>
                    <a:pt x="187" y="138"/>
                  </a:lnTo>
                  <a:lnTo>
                    <a:pt x="185" y="136"/>
                  </a:lnTo>
                  <a:lnTo>
                    <a:pt x="184" y="135"/>
                  </a:lnTo>
                  <a:lnTo>
                    <a:pt x="179" y="133"/>
                  </a:lnTo>
                  <a:lnTo>
                    <a:pt x="175" y="132"/>
                  </a:lnTo>
                  <a:lnTo>
                    <a:pt x="170" y="132"/>
                  </a:lnTo>
                  <a:lnTo>
                    <a:pt x="157" y="132"/>
                  </a:lnTo>
                  <a:lnTo>
                    <a:pt x="157" y="221"/>
                  </a:lnTo>
                  <a:lnTo>
                    <a:pt x="123" y="221"/>
                  </a:lnTo>
                  <a:lnTo>
                    <a:pt x="123" y="2"/>
                  </a:lnTo>
                  <a:lnTo>
                    <a:pt x="175" y="2"/>
                  </a:lnTo>
                  <a:lnTo>
                    <a:pt x="182" y="2"/>
                  </a:lnTo>
                  <a:lnTo>
                    <a:pt x="188" y="3"/>
                  </a:lnTo>
                  <a:lnTo>
                    <a:pt x="193" y="4"/>
                  </a:lnTo>
                  <a:lnTo>
                    <a:pt x="199" y="5"/>
                  </a:lnTo>
                  <a:lnTo>
                    <a:pt x="203" y="7"/>
                  </a:lnTo>
                  <a:lnTo>
                    <a:pt x="207" y="9"/>
                  </a:lnTo>
                  <a:lnTo>
                    <a:pt x="211" y="11"/>
                  </a:lnTo>
                  <a:lnTo>
                    <a:pt x="214" y="14"/>
                  </a:lnTo>
                  <a:lnTo>
                    <a:pt x="218" y="18"/>
                  </a:lnTo>
                  <a:lnTo>
                    <a:pt x="220" y="21"/>
                  </a:lnTo>
                  <a:lnTo>
                    <a:pt x="222" y="25"/>
                  </a:lnTo>
                  <a:lnTo>
                    <a:pt x="223" y="30"/>
                  </a:lnTo>
                  <a:lnTo>
                    <a:pt x="225" y="34"/>
                  </a:lnTo>
                  <a:lnTo>
                    <a:pt x="226" y="40"/>
                  </a:lnTo>
                  <a:lnTo>
                    <a:pt x="226" y="46"/>
                  </a:lnTo>
                  <a:lnTo>
                    <a:pt x="226" y="52"/>
                  </a:lnTo>
                  <a:lnTo>
                    <a:pt x="226" y="69"/>
                  </a:lnTo>
                  <a:lnTo>
                    <a:pt x="226" y="78"/>
                  </a:lnTo>
                  <a:lnTo>
                    <a:pt x="225" y="85"/>
                  </a:lnTo>
                  <a:lnTo>
                    <a:pt x="223" y="92"/>
                  </a:lnTo>
                  <a:lnTo>
                    <a:pt x="221" y="97"/>
                  </a:lnTo>
                  <a:lnTo>
                    <a:pt x="220" y="100"/>
                  </a:lnTo>
                  <a:lnTo>
                    <a:pt x="218" y="102"/>
                  </a:lnTo>
                  <a:lnTo>
                    <a:pt x="215" y="104"/>
                  </a:lnTo>
                  <a:lnTo>
                    <a:pt x="213" y="107"/>
                  </a:lnTo>
                  <a:lnTo>
                    <a:pt x="209" y="111"/>
                  </a:lnTo>
                  <a:lnTo>
                    <a:pt x="204" y="114"/>
                  </a:lnTo>
                  <a:lnTo>
                    <a:pt x="207" y="115"/>
                  </a:lnTo>
                  <a:lnTo>
                    <a:pt x="210" y="117"/>
                  </a:lnTo>
                  <a:lnTo>
                    <a:pt x="212" y="119"/>
                  </a:lnTo>
                  <a:lnTo>
                    <a:pt x="214" y="121"/>
                  </a:lnTo>
                  <a:lnTo>
                    <a:pt x="219" y="125"/>
                  </a:lnTo>
                  <a:lnTo>
                    <a:pt x="222" y="131"/>
                  </a:lnTo>
                  <a:lnTo>
                    <a:pt x="224" y="137"/>
                  </a:lnTo>
                  <a:lnTo>
                    <a:pt x="225" y="144"/>
                  </a:lnTo>
                  <a:lnTo>
                    <a:pt x="226" y="149"/>
                  </a:lnTo>
                  <a:lnTo>
                    <a:pt x="226" y="152"/>
                  </a:lnTo>
                  <a:lnTo>
                    <a:pt x="227" y="160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9"/>
                  </a:lnTo>
                  <a:lnTo>
                    <a:pt x="228" y="215"/>
                  </a:lnTo>
                  <a:lnTo>
                    <a:pt x="229" y="217"/>
                  </a:lnTo>
                  <a:lnTo>
                    <a:pt x="230" y="221"/>
                  </a:lnTo>
                  <a:lnTo>
                    <a:pt x="195" y="221"/>
                  </a:lnTo>
                  <a:close/>
                  <a:moveTo>
                    <a:pt x="35" y="94"/>
                  </a:moveTo>
                  <a:lnTo>
                    <a:pt x="82" y="94"/>
                  </a:lnTo>
                  <a:lnTo>
                    <a:pt x="82" y="125"/>
                  </a:lnTo>
                  <a:lnTo>
                    <a:pt x="35" y="125"/>
                  </a:lnTo>
                  <a:lnTo>
                    <a:pt x="35" y="190"/>
                  </a:lnTo>
                  <a:lnTo>
                    <a:pt x="94" y="190"/>
                  </a:lnTo>
                  <a:lnTo>
                    <a:pt x="94" y="221"/>
                  </a:lnTo>
                  <a:lnTo>
                    <a:pt x="0" y="221"/>
                  </a:lnTo>
                  <a:lnTo>
                    <a:pt x="0" y="2"/>
                  </a:lnTo>
                  <a:lnTo>
                    <a:pt x="94" y="2"/>
                  </a:lnTo>
                  <a:lnTo>
                    <a:pt x="94" y="33"/>
                  </a:lnTo>
                  <a:lnTo>
                    <a:pt x="35" y="33"/>
                  </a:lnTo>
                  <a:lnTo>
                    <a:pt x="35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29804808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F6065-D776-41C3-978B-790DC1DBFD4E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8"/>
            <p:cNvSpPr>
              <a:spLocks noEditPoints="1"/>
            </p:cNvSpPr>
            <p:nvPr userDrawn="1"/>
          </p:nvSpPr>
          <p:spPr bwMode="auto">
            <a:xfrm>
              <a:off x="8873542" y="6476771"/>
              <a:ext cx="1942286" cy="211200"/>
            </a:xfrm>
            <a:custGeom>
              <a:avLst/>
              <a:gdLst>
                <a:gd name="T0" fmla="*/ 1940 w 2061"/>
                <a:gd name="T1" fmla="*/ 221 h 224"/>
                <a:gd name="T2" fmla="*/ 1890 w 2061"/>
                <a:gd name="T3" fmla="*/ 103 h 224"/>
                <a:gd name="T4" fmla="*/ 1886 w 2061"/>
                <a:gd name="T5" fmla="*/ 36 h 224"/>
                <a:gd name="T6" fmla="*/ 1924 w 2061"/>
                <a:gd name="T7" fmla="*/ 107 h 224"/>
                <a:gd name="T8" fmla="*/ 1888 w 2061"/>
                <a:gd name="T9" fmla="*/ 138 h 224"/>
                <a:gd name="T10" fmla="*/ 1894 w 2061"/>
                <a:gd name="T11" fmla="*/ 4 h 224"/>
                <a:gd name="T12" fmla="*/ 1927 w 2061"/>
                <a:gd name="T13" fmla="*/ 38 h 224"/>
                <a:gd name="T14" fmla="*/ 1762 w 2061"/>
                <a:gd name="T15" fmla="*/ 103 h 224"/>
                <a:gd name="T16" fmla="*/ 1759 w 2061"/>
                <a:gd name="T17" fmla="*/ 36 h 224"/>
                <a:gd name="T18" fmla="*/ 1798 w 2061"/>
                <a:gd name="T19" fmla="*/ 107 h 224"/>
                <a:gd name="T20" fmla="*/ 1762 w 2061"/>
                <a:gd name="T21" fmla="*/ 138 h 224"/>
                <a:gd name="T22" fmla="*/ 1767 w 2061"/>
                <a:gd name="T23" fmla="*/ 4 h 224"/>
                <a:gd name="T24" fmla="*/ 1799 w 2061"/>
                <a:gd name="T25" fmla="*/ 38 h 224"/>
                <a:gd name="T26" fmla="*/ 1604 w 2061"/>
                <a:gd name="T27" fmla="*/ 188 h 224"/>
                <a:gd name="T28" fmla="*/ 1634 w 2061"/>
                <a:gd name="T29" fmla="*/ 180 h 224"/>
                <a:gd name="T30" fmla="*/ 1662 w 2061"/>
                <a:gd name="T31" fmla="*/ 197 h 224"/>
                <a:gd name="T32" fmla="*/ 1627 w 2061"/>
                <a:gd name="T33" fmla="*/ 223 h 224"/>
                <a:gd name="T34" fmla="*/ 1578 w 2061"/>
                <a:gd name="T35" fmla="*/ 209 h 224"/>
                <a:gd name="T36" fmla="*/ 1599 w 2061"/>
                <a:gd name="T37" fmla="*/ 2 h 224"/>
                <a:gd name="T38" fmla="*/ 1421 w 2061"/>
                <a:gd name="T39" fmla="*/ 221 h 224"/>
                <a:gd name="T40" fmla="*/ 1328 w 2061"/>
                <a:gd name="T41" fmla="*/ 97 h 224"/>
                <a:gd name="T42" fmla="*/ 1204 w 2061"/>
                <a:gd name="T43" fmla="*/ 125 h 224"/>
                <a:gd name="T44" fmla="*/ 1077 w 2061"/>
                <a:gd name="T45" fmla="*/ 134 h 224"/>
                <a:gd name="T46" fmla="*/ 1146 w 2061"/>
                <a:gd name="T47" fmla="*/ 221 h 224"/>
                <a:gd name="T48" fmla="*/ 932 w 2061"/>
                <a:gd name="T49" fmla="*/ 221 h 224"/>
                <a:gd name="T50" fmla="*/ 705 w 2061"/>
                <a:gd name="T51" fmla="*/ 0 h 224"/>
                <a:gd name="T52" fmla="*/ 748 w 2061"/>
                <a:gd name="T53" fmla="*/ 22 h 224"/>
                <a:gd name="T54" fmla="*/ 723 w 2061"/>
                <a:gd name="T55" fmla="*/ 46 h 224"/>
                <a:gd name="T56" fmla="*/ 698 w 2061"/>
                <a:gd name="T57" fmla="*/ 32 h 224"/>
                <a:gd name="T58" fmla="*/ 693 w 2061"/>
                <a:gd name="T59" fmla="*/ 70 h 224"/>
                <a:gd name="T60" fmla="*/ 754 w 2061"/>
                <a:gd name="T61" fmla="*/ 148 h 224"/>
                <a:gd name="T62" fmla="*/ 746 w 2061"/>
                <a:gd name="T63" fmla="*/ 205 h 224"/>
                <a:gd name="T64" fmla="*/ 705 w 2061"/>
                <a:gd name="T65" fmla="*/ 224 h 224"/>
                <a:gd name="T66" fmla="*/ 661 w 2061"/>
                <a:gd name="T67" fmla="*/ 202 h 224"/>
                <a:gd name="T68" fmla="*/ 686 w 2061"/>
                <a:gd name="T69" fmla="*/ 176 h 224"/>
                <a:gd name="T70" fmla="*/ 711 w 2061"/>
                <a:gd name="T71" fmla="*/ 191 h 224"/>
                <a:gd name="T72" fmla="*/ 718 w 2061"/>
                <a:gd name="T73" fmla="*/ 152 h 224"/>
                <a:gd name="T74" fmla="*/ 658 w 2061"/>
                <a:gd name="T75" fmla="*/ 76 h 224"/>
                <a:gd name="T76" fmla="*/ 664 w 2061"/>
                <a:gd name="T77" fmla="*/ 18 h 224"/>
                <a:gd name="T78" fmla="*/ 705 w 2061"/>
                <a:gd name="T79" fmla="*/ 0 h 224"/>
                <a:gd name="T80" fmla="*/ 494 w 2061"/>
                <a:gd name="T81" fmla="*/ 185 h 224"/>
                <a:gd name="T82" fmla="*/ 524 w 2061"/>
                <a:gd name="T83" fmla="*/ 185 h 224"/>
                <a:gd name="T84" fmla="*/ 520 w 2061"/>
                <a:gd name="T85" fmla="*/ 33 h 224"/>
                <a:gd name="T86" fmla="*/ 491 w 2061"/>
                <a:gd name="T87" fmla="*/ 46 h 224"/>
                <a:gd name="T88" fmla="*/ 464 w 2061"/>
                <a:gd name="T89" fmla="*/ 22 h 224"/>
                <a:gd name="T90" fmla="*/ 509 w 2061"/>
                <a:gd name="T91" fmla="*/ 0 h 224"/>
                <a:gd name="T92" fmla="*/ 554 w 2061"/>
                <a:gd name="T93" fmla="*/ 22 h 224"/>
                <a:gd name="T94" fmla="*/ 559 w 2061"/>
                <a:gd name="T95" fmla="*/ 187 h 224"/>
                <a:gd name="T96" fmla="*/ 532 w 2061"/>
                <a:gd name="T97" fmla="*/ 220 h 224"/>
                <a:gd name="T98" fmla="*/ 478 w 2061"/>
                <a:gd name="T99" fmla="*/ 215 h 224"/>
                <a:gd name="T100" fmla="*/ 457 w 2061"/>
                <a:gd name="T101" fmla="*/ 168 h 224"/>
                <a:gd name="T102" fmla="*/ 439 w 2061"/>
                <a:gd name="T103" fmla="*/ 2 h 224"/>
                <a:gd name="T104" fmla="*/ 157 w 2061"/>
                <a:gd name="T105" fmla="*/ 33 h 224"/>
                <a:gd name="T106" fmla="*/ 191 w 2061"/>
                <a:gd name="T107" fmla="*/ 83 h 224"/>
                <a:gd name="T108" fmla="*/ 178 w 2061"/>
                <a:gd name="T109" fmla="*/ 33 h 224"/>
                <a:gd name="T110" fmla="*/ 189 w 2061"/>
                <a:gd name="T111" fmla="*/ 141 h 224"/>
                <a:gd name="T112" fmla="*/ 123 w 2061"/>
                <a:gd name="T113" fmla="*/ 2 h 224"/>
                <a:gd name="T114" fmla="*/ 218 w 2061"/>
                <a:gd name="T115" fmla="*/ 18 h 224"/>
                <a:gd name="T116" fmla="*/ 225 w 2061"/>
                <a:gd name="T117" fmla="*/ 85 h 224"/>
                <a:gd name="T118" fmla="*/ 210 w 2061"/>
                <a:gd name="T119" fmla="*/ 117 h 224"/>
                <a:gd name="T120" fmla="*/ 227 w 2061"/>
                <a:gd name="T121" fmla="*/ 194 h 224"/>
                <a:gd name="T122" fmla="*/ 35 w 2061"/>
                <a:gd name="T123" fmla="*/ 12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1" h="224">
                  <a:moveTo>
                    <a:pt x="1982" y="152"/>
                  </a:moveTo>
                  <a:lnTo>
                    <a:pt x="2015" y="152"/>
                  </a:lnTo>
                  <a:lnTo>
                    <a:pt x="1998" y="41"/>
                  </a:lnTo>
                  <a:lnTo>
                    <a:pt x="1982" y="152"/>
                  </a:lnTo>
                  <a:close/>
                  <a:moveTo>
                    <a:pt x="2061" y="221"/>
                  </a:moveTo>
                  <a:lnTo>
                    <a:pt x="2026" y="221"/>
                  </a:lnTo>
                  <a:lnTo>
                    <a:pt x="2020" y="181"/>
                  </a:lnTo>
                  <a:lnTo>
                    <a:pt x="1977" y="181"/>
                  </a:lnTo>
                  <a:lnTo>
                    <a:pt x="1972" y="221"/>
                  </a:lnTo>
                  <a:lnTo>
                    <a:pt x="1940" y="221"/>
                  </a:lnTo>
                  <a:lnTo>
                    <a:pt x="1975" y="2"/>
                  </a:lnTo>
                  <a:lnTo>
                    <a:pt x="2026" y="2"/>
                  </a:lnTo>
                  <a:lnTo>
                    <a:pt x="2061" y="221"/>
                  </a:lnTo>
                  <a:close/>
                  <a:moveTo>
                    <a:pt x="1860" y="33"/>
                  </a:moveTo>
                  <a:lnTo>
                    <a:pt x="1860" y="107"/>
                  </a:lnTo>
                  <a:lnTo>
                    <a:pt x="1877" y="107"/>
                  </a:lnTo>
                  <a:lnTo>
                    <a:pt x="1880" y="107"/>
                  </a:lnTo>
                  <a:lnTo>
                    <a:pt x="1884" y="106"/>
                  </a:lnTo>
                  <a:lnTo>
                    <a:pt x="1886" y="104"/>
                  </a:lnTo>
                  <a:lnTo>
                    <a:pt x="1890" y="103"/>
                  </a:lnTo>
                  <a:lnTo>
                    <a:pt x="1891" y="100"/>
                  </a:lnTo>
                  <a:lnTo>
                    <a:pt x="1893" y="96"/>
                  </a:lnTo>
                  <a:lnTo>
                    <a:pt x="1893" y="92"/>
                  </a:lnTo>
                  <a:lnTo>
                    <a:pt x="1894" y="86"/>
                  </a:lnTo>
                  <a:lnTo>
                    <a:pt x="1894" y="53"/>
                  </a:lnTo>
                  <a:lnTo>
                    <a:pt x="1893" y="48"/>
                  </a:lnTo>
                  <a:lnTo>
                    <a:pt x="1893" y="44"/>
                  </a:lnTo>
                  <a:lnTo>
                    <a:pt x="1891" y="40"/>
                  </a:lnTo>
                  <a:lnTo>
                    <a:pt x="1890" y="38"/>
                  </a:lnTo>
                  <a:lnTo>
                    <a:pt x="1886" y="36"/>
                  </a:lnTo>
                  <a:lnTo>
                    <a:pt x="1884" y="34"/>
                  </a:lnTo>
                  <a:lnTo>
                    <a:pt x="1880" y="33"/>
                  </a:lnTo>
                  <a:lnTo>
                    <a:pt x="1877" y="33"/>
                  </a:lnTo>
                  <a:lnTo>
                    <a:pt x="1860" y="33"/>
                  </a:lnTo>
                  <a:close/>
                  <a:moveTo>
                    <a:pt x="1928" y="56"/>
                  </a:moveTo>
                  <a:lnTo>
                    <a:pt x="1928" y="84"/>
                  </a:lnTo>
                  <a:lnTo>
                    <a:pt x="1928" y="91"/>
                  </a:lnTo>
                  <a:lnTo>
                    <a:pt x="1928" y="97"/>
                  </a:lnTo>
                  <a:lnTo>
                    <a:pt x="1927" y="102"/>
                  </a:lnTo>
                  <a:lnTo>
                    <a:pt x="1924" y="107"/>
                  </a:lnTo>
                  <a:lnTo>
                    <a:pt x="1923" y="113"/>
                  </a:lnTo>
                  <a:lnTo>
                    <a:pt x="1920" y="117"/>
                  </a:lnTo>
                  <a:lnTo>
                    <a:pt x="1918" y="121"/>
                  </a:lnTo>
                  <a:lnTo>
                    <a:pt x="1915" y="124"/>
                  </a:lnTo>
                  <a:lnTo>
                    <a:pt x="1912" y="128"/>
                  </a:lnTo>
                  <a:lnTo>
                    <a:pt x="1908" y="131"/>
                  </a:lnTo>
                  <a:lnTo>
                    <a:pt x="1903" y="133"/>
                  </a:lnTo>
                  <a:lnTo>
                    <a:pt x="1899" y="135"/>
                  </a:lnTo>
                  <a:lnTo>
                    <a:pt x="1894" y="136"/>
                  </a:lnTo>
                  <a:lnTo>
                    <a:pt x="1888" y="138"/>
                  </a:lnTo>
                  <a:lnTo>
                    <a:pt x="1883" y="138"/>
                  </a:lnTo>
                  <a:lnTo>
                    <a:pt x="1877" y="138"/>
                  </a:lnTo>
                  <a:lnTo>
                    <a:pt x="1860" y="138"/>
                  </a:lnTo>
                  <a:lnTo>
                    <a:pt x="1860" y="221"/>
                  </a:lnTo>
                  <a:lnTo>
                    <a:pt x="1826" y="221"/>
                  </a:lnTo>
                  <a:lnTo>
                    <a:pt x="1826" y="2"/>
                  </a:lnTo>
                  <a:lnTo>
                    <a:pt x="1877" y="2"/>
                  </a:lnTo>
                  <a:lnTo>
                    <a:pt x="1883" y="2"/>
                  </a:lnTo>
                  <a:lnTo>
                    <a:pt x="1888" y="3"/>
                  </a:lnTo>
                  <a:lnTo>
                    <a:pt x="1894" y="4"/>
                  </a:lnTo>
                  <a:lnTo>
                    <a:pt x="1899" y="5"/>
                  </a:lnTo>
                  <a:lnTo>
                    <a:pt x="1903" y="7"/>
                  </a:lnTo>
                  <a:lnTo>
                    <a:pt x="1908" y="9"/>
                  </a:lnTo>
                  <a:lnTo>
                    <a:pt x="1912" y="12"/>
                  </a:lnTo>
                  <a:lnTo>
                    <a:pt x="1915" y="15"/>
                  </a:lnTo>
                  <a:lnTo>
                    <a:pt x="1918" y="20"/>
                  </a:lnTo>
                  <a:lnTo>
                    <a:pt x="1920" y="23"/>
                  </a:lnTo>
                  <a:lnTo>
                    <a:pt x="1923" y="28"/>
                  </a:lnTo>
                  <a:lnTo>
                    <a:pt x="1924" y="32"/>
                  </a:lnTo>
                  <a:lnTo>
                    <a:pt x="1927" y="38"/>
                  </a:lnTo>
                  <a:lnTo>
                    <a:pt x="1928" y="43"/>
                  </a:lnTo>
                  <a:lnTo>
                    <a:pt x="1928" y="49"/>
                  </a:lnTo>
                  <a:lnTo>
                    <a:pt x="1928" y="56"/>
                  </a:lnTo>
                  <a:close/>
                  <a:moveTo>
                    <a:pt x="1733" y="33"/>
                  </a:moveTo>
                  <a:lnTo>
                    <a:pt x="1733" y="107"/>
                  </a:lnTo>
                  <a:lnTo>
                    <a:pt x="1749" y="107"/>
                  </a:lnTo>
                  <a:lnTo>
                    <a:pt x="1753" y="107"/>
                  </a:lnTo>
                  <a:lnTo>
                    <a:pt x="1756" y="106"/>
                  </a:lnTo>
                  <a:lnTo>
                    <a:pt x="1759" y="104"/>
                  </a:lnTo>
                  <a:lnTo>
                    <a:pt x="1762" y="103"/>
                  </a:lnTo>
                  <a:lnTo>
                    <a:pt x="1764" y="100"/>
                  </a:lnTo>
                  <a:lnTo>
                    <a:pt x="1765" y="96"/>
                  </a:lnTo>
                  <a:lnTo>
                    <a:pt x="1766" y="92"/>
                  </a:lnTo>
                  <a:lnTo>
                    <a:pt x="1766" y="86"/>
                  </a:lnTo>
                  <a:lnTo>
                    <a:pt x="1766" y="53"/>
                  </a:lnTo>
                  <a:lnTo>
                    <a:pt x="1766" y="48"/>
                  </a:lnTo>
                  <a:lnTo>
                    <a:pt x="1765" y="44"/>
                  </a:lnTo>
                  <a:lnTo>
                    <a:pt x="1764" y="40"/>
                  </a:lnTo>
                  <a:lnTo>
                    <a:pt x="1762" y="38"/>
                  </a:lnTo>
                  <a:lnTo>
                    <a:pt x="1759" y="36"/>
                  </a:lnTo>
                  <a:lnTo>
                    <a:pt x="1756" y="34"/>
                  </a:lnTo>
                  <a:lnTo>
                    <a:pt x="1753" y="33"/>
                  </a:lnTo>
                  <a:lnTo>
                    <a:pt x="1749" y="33"/>
                  </a:lnTo>
                  <a:lnTo>
                    <a:pt x="1733" y="33"/>
                  </a:lnTo>
                  <a:close/>
                  <a:moveTo>
                    <a:pt x="1801" y="56"/>
                  </a:moveTo>
                  <a:lnTo>
                    <a:pt x="1801" y="84"/>
                  </a:lnTo>
                  <a:lnTo>
                    <a:pt x="1801" y="91"/>
                  </a:lnTo>
                  <a:lnTo>
                    <a:pt x="1800" y="97"/>
                  </a:lnTo>
                  <a:lnTo>
                    <a:pt x="1799" y="102"/>
                  </a:lnTo>
                  <a:lnTo>
                    <a:pt x="1798" y="107"/>
                  </a:lnTo>
                  <a:lnTo>
                    <a:pt x="1795" y="113"/>
                  </a:lnTo>
                  <a:lnTo>
                    <a:pt x="1793" y="117"/>
                  </a:lnTo>
                  <a:lnTo>
                    <a:pt x="1790" y="121"/>
                  </a:lnTo>
                  <a:lnTo>
                    <a:pt x="1788" y="124"/>
                  </a:lnTo>
                  <a:lnTo>
                    <a:pt x="1784" y="128"/>
                  </a:lnTo>
                  <a:lnTo>
                    <a:pt x="1781" y="131"/>
                  </a:lnTo>
                  <a:lnTo>
                    <a:pt x="1776" y="133"/>
                  </a:lnTo>
                  <a:lnTo>
                    <a:pt x="1771" y="135"/>
                  </a:lnTo>
                  <a:lnTo>
                    <a:pt x="1767" y="136"/>
                  </a:lnTo>
                  <a:lnTo>
                    <a:pt x="1762" y="138"/>
                  </a:lnTo>
                  <a:lnTo>
                    <a:pt x="1755" y="138"/>
                  </a:lnTo>
                  <a:lnTo>
                    <a:pt x="1749" y="138"/>
                  </a:lnTo>
                  <a:lnTo>
                    <a:pt x="1733" y="138"/>
                  </a:lnTo>
                  <a:lnTo>
                    <a:pt x="1733" y="221"/>
                  </a:lnTo>
                  <a:lnTo>
                    <a:pt x="1698" y="221"/>
                  </a:lnTo>
                  <a:lnTo>
                    <a:pt x="1698" y="2"/>
                  </a:lnTo>
                  <a:lnTo>
                    <a:pt x="1749" y="2"/>
                  </a:lnTo>
                  <a:lnTo>
                    <a:pt x="1755" y="2"/>
                  </a:lnTo>
                  <a:lnTo>
                    <a:pt x="1762" y="3"/>
                  </a:lnTo>
                  <a:lnTo>
                    <a:pt x="1767" y="4"/>
                  </a:lnTo>
                  <a:lnTo>
                    <a:pt x="1771" y="5"/>
                  </a:lnTo>
                  <a:lnTo>
                    <a:pt x="1776" y="7"/>
                  </a:lnTo>
                  <a:lnTo>
                    <a:pt x="1781" y="9"/>
                  </a:lnTo>
                  <a:lnTo>
                    <a:pt x="1784" y="12"/>
                  </a:lnTo>
                  <a:lnTo>
                    <a:pt x="1788" y="15"/>
                  </a:lnTo>
                  <a:lnTo>
                    <a:pt x="1790" y="20"/>
                  </a:lnTo>
                  <a:lnTo>
                    <a:pt x="1793" y="23"/>
                  </a:lnTo>
                  <a:lnTo>
                    <a:pt x="1795" y="28"/>
                  </a:lnTo>
                  <a:lnTo>
                    <a:pt x="1798" y="32"/>
                  </a:lnTo>
                  <a:lnTo>
                    <a:pt x="1799" y="38"/>
                  </a:lnTo>
                  <a:lnTo>
                    <a:pt x="1800" y="43"/>
                  </a:lnTo>
                  <a:lnTo>
                    <a:pt x="1801" y="49"/>
                  </a:lnTo>
                  <a:lnTo>
                    <a:pt x="1801" y="56"/>
                  </a:lnTo>
                  <a:close/>
                  <a:moveTo>
                    <a:pt x="1599" y="2"/>
                  </a:moveTo>
                  <a:lnTo>
                    <a:pt x="1599" y="171"/>
                  </a:lnTo>
                  <a:lnTo>
                    <a:pt x="1599" y="176"/>
                  </a:lnTo>
                  <a:lnTo>
                    <a:pt x="1600" y="180"/>
                  </a:lnTo>
                  <a:lnTo>
                    <a:pt x="1601" y="183"/>
                  </a:lnTo>
                  <a:lnTo>
                    <a:pt x="1602" y="185"/>
                  </a:lnTo>
                  <a:lnTo>
                    <a:pt x="1604" y="188"/>
                  </a:lnTo>
                  <a:lnTo>
                    <a:pt x="1606" y="190"/>
                  </a:lnTo>
                  <a:lnTo>
                    <a:pt x="1609" y="191"/>
                  </a:lnTo>
                  <a:lnTo>
                    <a:pt x="1612" y="192"/>
                  </a:lnTo>
                  <a:lnTo>
                    <a:pt x="1617" y="192"/>
                  </a:lnTo>
                  <a:lnTo>
                    <a:pt x="1621" y="192"/>
                  </a:lnTo>
                  <a:lnTo>
                    <a:pt x="1624" y="191"/>
                  </a:lnTo>
                  <a:lnTo>
                    <a:pt x="1627" y="190"/>
                  </a:lnTo>
                  <a:lnTo>
                    <a:pt x="1629" y="188"/>
                  </a:lnTo>
                  <a:lnTo>
                    <a:pt x="1631" y="185"/>
                  </a:lnTo>
                  <a:lnTo>
                    <a:pt x="1634" y="180"/>
                  </a:lnTo>
                  <a:lnTo>
                    <a:pt x="1634" y="176"/>
                  </a:lnTo>
                  <a:lnTo>
                    <a:pt x="1635" y="171"/>
                  </a:lnTo>
                  <a:lnTo>
                    <a:pt x="1635" y="2"/>
                  </a:lnTo>
                  <a:lnTo>
                    <a:pt x="1667" y="2"/>
                  </a:lnTo>
                  <a:lnTo>
                    <a:pt x="1667" y="169"/>
                  </a:lnTo>
                  <a:lnTo>
                    <a:pt x="1666" y="175"/>
                  </a:lnTo>
                  <a:lnTo>
                    <a:pt x="1666" y="181"/>
                  </a:lnTo>
                  <a:lnTo>
                    <a:pt x="1665" y="187"/>
                  </a:lnTo>
                  <a:lnTo>
                    <a:pt x="1663" y="192"/>
                  </a:lnTo>
                  <a:lnTo>
                    <a:pt x="1662" y="197"/>
                  </a:lnTo>
                  <a:lnTo>
                    <a:pt x="1660" y="202"/>
                  </a:lnTo>
                  <a:lnTo>
                    <a:pt x="1657" y="206"/>
                  </a:lnTo>
                  <a:lnTo>
                    <a:pt x="1654" y="209"/>
                  </a:lnTo>
                  <a:lnTo>
                    <a:pt x="1651" y="212"/>
                  </a:lnTo>
                  <a:lnTo>
                    <a:pt x="1646" y="215"/>
                  </a:lnTo>
                  <a:lnTo>
                    <a:pt x="1644" y="216"/>
                  </a:lnTo>
                  <a:lnTo>
                    <a:pt x="1642" y="218"/>
                  </a:lnTo>
                  <a:lnTo>
                    <a:pt x="1638" y="220"/>
                  </a:lnTo>
                  <a:lnTo>
                    <a:pt x="1633" y="222"/>
                  </a:lnTo>
                  <a:lnTo>
                    <a:pt x="1627" y="223"/>
                  </a:lnTo>
                  <a:lnTo>
                    <a:pt x="1622" y="224"/>
                  </a:lnTo>
                  <a:lnTo>
                    <a:pt x="1616" y="224"/>
                  </a:lnTo>
                  <a:lnTo>
                    <a:pt x="1609" y="224"/>
                  </a:lnTo>
                  <a:lnTo>
                    <a:pt x="1604" y="223"/>
                  </a:lnTo>
                  <a:lnTo>
                    <a:pt x="1599" y="222"/>
                  </a:lnTo>
                  <a:lnTo>
                    <a:pt x="1593" y="220"/>
                  </a:lnTo>
                  <a:lnTo>
                    <a:pt x="1589" y="218"/>
                  </a:lnTo>
                  <a:lnTo>
                    <a:pt x="1585" y="215"/>
                  </a:lnTo>
                  <a:lnTo>
                    <a:pt x="1581" y="212"/>
                  </a:lnTo>
                  <a:lnTo>
                    <a:pt x="1578" y="209"/>
                  </a:lnTo>
                  <a:lnTo>
                    <a:pt x="1574" y="206"/>
                  </a:lnTo>
                  <a:lnTo>
                    <a:pt x="1571" y="202"/>
                  </a:lnTo>
                  <a:lnTo>
                    <a:pt x="1569" y="197"/>
                  </a:lnTo>
                  <a:lnTo>
                    <a:pt x="1567" y="192"/>
                  </a:lnTo>
                  <a:lnTo>
                    <a:pt x="1566" y="187"/>
                  </a:lnTo>
                  <a:lnTo>
                    <a:pt x="1565" y="181"/>
                  </a:lnTo>
                  <a:lnTo>
                    <a:pt x="1565" y="175"/>
                  </a:lnTo>
                  <a:lnTo>
                    <a:pt x="1564" y="169"/>
                  </a:lnTo>
                  <a:lnTo>
                    <a:pt x="1564" y="2"/>
                  </a:lnTo>
                  <a:lnTo>
                    <a:pt x="1599" y="2"/>
                  </a:lnTo>
                  <a:close/>
                  <a:moveTo>
                    <a:pt x="1463" y="152"/>
                  </a:moveTo>
                  <a:lnTo>
                    <a:pt x="1496" y="152"/>
                  </a:lnTo>
                  <a:lnTo>
                    <a:pt x="1480" y="41"/>
                  </a:lnTo>
                  <a:lnTo>
                    <a:pt x="1463" y="152"/>
                  </a:lnTo>
                  <a:close/>
                  <a:moveTo>
                    <a:pt x="1542" y="221"/>
                  </a:moveTo>
                  <a:lnTo>
                    <a:pt x="1508" y="221"/>
                  </a:lnTo>
                  <a:lnTo>
                    <a:pt x="1501" y="181"/>
                  </a:lnTo>
                  <a:lnTo>
                    <a:pt x="1459" y="181"/>
                  </a:lnTo>
                  <a:lnTo>
                    <a:pt x="1453" y="221"/>
                  </a:lnTo>
                  <a:lnTo>
                    <a:pt x="1421" y="221"/>
                  </a:lnTo>
                  <a:lnTo>
                    <a:pt x="1457" y="2"/>
                  </a:lnTo>
                  <a:lnTo>
                    <a:pt x="1507" y="2"/>
                  </a:lnTo>
                  <a:lnTo>
                    <a:pt x="1542" y="221"/>
                  </a:lnTo>
                  <a:close/>
                  <a:moveTo>
                    <a:pt x="1339" y="134"/>
                  </a:moveTo>
                  <a:lnTo>
                    <a:pt x="1328" y="154"/>
                  </a:lnTo>
                  <a:lnTo>
                    <a:pt x="1328" y="221"/>
                  </a:lnTo>
                  <a:lnTo>
                    <a:pt x="1293" y="221"/>
                  </a:lnTo>
                  <a:lnTo>
                    <a:pt x="1293" y="2"/>
                  </a:lnTo>
                  <a:lnTo>
                    <a:pt x="1328" y="2"/>
                  </a:lnTo>
                  <a:lnTo>
                    <a:pt x="1328" y="97"/>
                  </a:lnTo>
                  <a:lnTo>
                    <a:pt x="1372" y="2"/>
                  </a:lnTo>
                  <a:lnTo>
                    <a:pt x="1407" y="2"/>
                  </a:lnTo>
                  <a:lnTo>
                    <a:pt x="1359" y="99"/>
                  </a:lnTo>
                  <a:lnTo>
                    <a:pt x="1407" y="221"/>
                  </a:lnTo>
                  <a:lnTo>
                    <a:pt x="1371" y="221"/>
                  </a:lnTo>
                  <a:lnTo>
                    <a:pt x="1339" y="134"/>
                  </a:lnTo>
                  <a:close/>
                  <a:moveTo>
                    <a:pt x="1204" y="94"/>
                  </a:moveTo>
                  <a:lnTo>
                    <a:pt x="1252" y="94"/>
                  </a:lnTo>
                  <a:lnTo>
                    <a:pt x="1252" y="125"/>
                  </a:lnTo>
                  <a:lnTo>
                    <a:pt x="1204" y="125"/>
                  </a:lnTo>
                  <a:lnTo>
                    <a:pt x="1204" y="190"/>
                  </a:lnTo>
                  <a:lnTo>
                    <a:pt x="1263" y="190"/>
                  </a:lnTo>
                  <a:lnTo>
                    <a:pt x="1263" y="221"/>
                  </a:lnTo>
                  <a:lnTo>
                    <a:pt x="1170" y="221"/>
                  </a:lnTo>
                  <a:lnTo>
                    <a:pt x="1170" y="2"/>
                  </a:lnTo>
                  <a:lnTo>
                    <a:pt x="1263" y="2"/>
                  </a:lnTo>
                  <a:lnTo>
                    <a:pt x="1263" y="33"/>
                  </a:lnTo>
                  <a:lnTo>
                    <a:pt x="1204" y="33"/>
                  </a:lnTo>
                  <a:lnTo>
                    <a:pt x="1204" y="94"/>
                  </a:lnTo>
                  <a:close/>
                  <a:moveTo>
                    <a:pt x="1077" y="134"/>
                  </a:moveTo>
                  <a:lnTo>
                    <a:pt x="1067" y="154"/>
                  </a:lnTo>
                  <a:lnTo>
                    <a:pt x="1067" y="221"/>
                  </a:lnTo>
                  <a:lnTo>
                    <a:pt x="1033" y="221"/>
                  </a:lnTo>
                  <a:lnTo>
                    <a:pt x="1033" y="2"/>
                  </a:lnTo>
                  <a:lnTo>
                    <a:pt x="1067" y="2"/>
                  </a:lnTo>
                  <a:lnTo>
                    <a:pt x="1067" y="97"/>
                  </a:lnTo>
                  <a:lnTo>
                    <a:pt x="1112" y="2"/>
                  </a:lnTo>
                  <a:lnTo>
                    <a:pt x="1146" y="2"/>
                  </a:lnTo>
                  <a:lnTo>
                    <a:pt x="1098" y="99"/>
                  </a:lnTo>
                  <a:lnTo>
                    <a:pt x="1146" y="221"/>
                  </a:lnTo>
                  <a:lnTo>
                    <a:pt x="1111" y="221"/>
                  </a:lnTo>
                  <a:lnTo>
                    <a:pt x="1077" y="134"/>
                  </a:lnTo>
                  <a:close/>
                  <a:moveTo>
                    <a:pt x="965" y="2"/>
                  </a:moveTo>
                  <a:lnTo>
                    <a:pt x="999" y="2"/>
                  </a:lnTo>
                  <a:lnTo>
                    <a:pt x="999" y="221"/>
                  </a:lnTo>
                  <a:lnTo>
                    <a:pt x="965" y="221"/>
                  </a:lnTo>
                  <a:lnTo>
                    <a:pt x="965" y="2"/>
                  </a:lnTo>
                  <a:close/>
                  <a:moveTo>
                    <a:pt x="898" y="2"/>
                  </a:moveTo>
                  <a:lnTo>
                    <a:pt x="932" y="2"/>
                  </a:lnTo>
                  <a:lnTo>
                    <a:pt x="932" y="221"/>
                  </a:lnTo>
                  <a:lnTo>
                    <a:pt x="898" y="221"/>
                  </a:lnTo>
                  <a:lnTo>
                    <a:pt x="898" y="2"/>
                  </a:lnTo>
                  <a:close/>
                  <a:moveTo>
                    <a:pt x="783" y="2"/>
                  </a:moveTo>
                  <a:lnTo>
                    <a:pt x="818" y="2"/>
                  </a:lnTo>
                  <a:lnTo>
                    <a:pt x="818" y="190"/>
                  </a:lnTo>
                  <a:lnTo>
                    <a:pt x="875" y="190"/>
                  </a:lnTo>
                  <a:lnTo>
                    <a:pt x="875" y="221"/>
                  </a:lnTo>
                  <a:lnTo>
                    <a:pt x="783" y="221"/>
                  </a:lnTo>
                  <a:lnTo>
                    <a:pt x="783" y="2"/>
                  </a:lnTo>
                  <a:close/>
                  <a:moveTo>
                    <a:pt x="705" y="0"/>
                  </a:moveTo>
                  <a:lnTo>
                    <a:pt x="711" y="0"/>
                  </a:lnTo>
                  <a:lnTo>
                    <a:pt x="717" y="0"/>
                  </a:lnTo>
                  <a:lnTo>
                    <a:pt x="722" y="1"/>
                  </a:lnTo>
                  <a:lnTo>
                    <a:pt x="727" y="3"/>
                  </a:lnTo>
                  <a:lnTo>
                    <a:pt x="732" y="5"/>
                  </a:lnTo>
                  <a:lnTo>
                    <a:pt x="736" y="7"/>
                  </a:lnTo>
                  <a:lnTo>
                    <a:pt x="740" y="10"/>
                  </a:lnTo>
                  <a:lnTo>
                    <a:pt x="743" y="13"/>
                  </a:lnTo>
                  <a:lnTo>
                    <a:pt x="746" y="18"/>
                  </a:lnTo>
                  <a:lnTo>
                    <a:pt x="748" y="22"/>
                  </a:lnTo>
                  <a:lnTo>
                    <a:pt x="751" y="26"/>
                  </a:lnTo>
                  <a:lnTo>
                    <a:pt x="753" y="31"/>
                  </a:lnTo>
                  <a:lnTo>
                    <a:pt x="754" y="37"/>
                  </a:lnTo>
                  <a:lnTo>
                    <a:pt x="755" y="42"/>
                  </a:lnTo>
                  <a:lnTo>
                    <a:pt x="756" y="48"/>
                  </a:lnTo>
                  <a:lnTo>
                    <a:pt x="756" y="55"/>
                  </a:lnTo>
                  <a:lnTo>
                    <a:pt x="756" y="61"/>
                  </a:lnTo>
                  <a:lnTo>
                    <a:pt x="723" y="61"/>
                  </a:lnTo>
                  <a:lnTo>
                    <a:pt x="723" y="52"/>
                  </a:lnTo>
                  <a:lnTo>
                    <a:pt x="723" y="46"/>
                  </a:lnTo>
                  <a:lnTo>
                    <a:pt x="722" y="42"/>
                  </a:lnTo>
                  <a:lnTo>
                    <a:pt x="721" y="39"/>
                  </a:lnTo>
                  <a:lnTo>
                    <a:pt x="719" y="36"/>
                  </a:lnTo>
                  <a:lnTo>
                    <a:pt x="717" y="33"/>
                  </a:lnTo>
                  <a:lnTo>
                    <a:pt x="714" y="31"/>
                  </a:lnTo>
                  <a:lnTo>
                    <a:pt x="710" y="30"/>
                  </a:lnTo>
                  <a:lnTo>
                    <a:pt x="706" y="30"/>
                  </a:lnTo>
                  <a:lnTo>
                    <a:pt x="702" y="30"/>
                  </a:lnTo>
                  <a:lnTo>
                    <a:pt x="699" y="31"/>
                  </a:lnTo>
                  <a:lnTo>
                    <a:pt x="698" y="32"/>
                  </a:lnTo>
                  <a:lnTo>
                    <a:pt x="696" y="33"/>
                  </a:lnTo>
                  <a:lnTo>
                    <a:pt x="693" y="36"/>
                  </a:lnTo>
                  <a:lnTo>
                    <a:pt x="691" y="39"/>
                  </a:lnTo>
                  <a:lnTo>
                    <a:pt x="690" y="42"/>
                  </a:lnTo>
                  <a:lnTo>
                    <a:pt x="689" y="46"/>
                  </a:lnTo>
                  <a:lnTo>
                    <a:pt x="689" y="52"/>
                  </a:lnTo>
                  <a:lnTo>
                    <a:pt x="689" y="56"/>
                  </a:lnTo>
                  <a:lnTo>
                    <a:pt x="689" y="60"/>
                  </a:lnTo>
                  <a:lnTo>
                    <a:pt x="691" y="67"/>
                  </a:lnTo>
                  <a:lnTo>
                    <a:pt x="693" y="70"/>
                  </a:lnTo>
                  <a:lnTo>
                    <a:pt x="696" y="74"/>
                  </a:lnTo>
                  <a:lnTo>
                    <a:pt x="700" y="80"/>
                  </a:lnTo>
                  <a:lnTo>
                    <a:pt x="704" y="86"/>
                  </a:lnTo>
                  <a:lnTo>
                    <a:pt x="710" y="92"/>
                  </a:lnTo>
                  <a:lnTo>
                    <a:pt x="722" y="103"/>
                  </a:lnTo>
                  <a:lnTo>
                    <a:pt x="735" y="116"/>
                  </a:lnTo>
                  <a:lnTo>
                    <a:pt x="741" y="122"/>
                  </a:lnTo>
                  <a:lnTo>
                    <a:pt x="745" y="130"/>
                  </a:lnTo>
                  <a:lnTo>
                    <a:pt x="750" y="138"/>
                  </a:lnTo>
                  <a:lnTo>
                    <a:pt x="754" y="148"/>
                  </a:lnTo>
                  <a:lnTo>
                    <a:pt x="756" y="157"/>
                  </a:lnTo>
                  <a:lnTo>
                    <a:pt x="756" y="162"/>
                  </a:lnTo>
                  <a:lnTo>
                    <a:pt x="756" y="168"/>
                  </a:lnTo>
                  <a:lnTo>
                    <a:pt x="756" y="175"/>
                  </a:lnTo>
                  <a:lnTo>
                    <a:pt x="756" y="180"/>
                  </a:lnTo>
                  <a:lnTo>
                    <a:pt x="755" y="187"/>
                  </a:lnTo>
                  <a:lnTo>
                    <a:pt x="753" y="192"/>
                  </a:lnTo>
                  <a:lnTo>
                    <a:pt x="752" y="196"/>
                  </a:lnTo>
                  <a:lnTo>
                    <a:pt x="748" y="202"/>
                  </a:lnTo>
                  <a:lnTo>
                    <a:pt x="746" y="205"/>
                  </a:lnTo>
                  <a:lnTo>
                    <a:pt x="743" y="209"/>
                  </a:lnTo>
                  <a:lnTo>
                    <a:pt x="740" y="212"/>
                  </a:lnTo>
                  <a:lnTo>
                    <a:pt x="736" y="215"/>
                  </a:lnTo>
                  <a:lnTo>
                    <a:pt x="734" y="216"/>
                  </a:lnTo>
                  <a:lnTo>
                    <a:pt x="732" y="217"/>
                  </a:lnTo>
                  <a:lnTo>
                    <a:pt x="727" y="220"/>
                  </a:lnTo>
                  <a:lnTo>
                    <a:pt x="722" y="222"/>
                  </a:lnTo>
                  <a:lnTo>
                    <a:pt x="717" y="223"/>
                  </a:lnTo>
                  <a:lnTo>
                    <a:pt x="711" y="223"/>
                  </a:lnTo>
                  <a:lnTo>
                    <a:pt x="705" y="224"/>
                  </a:lnTo>
                  <a:lnTo>
                    <a:pt x="699" y="223"/>
                  </a:lnTo>
                  <a:lnTo>
                    <a:pt x="692" y="223"/>
                  </a:lnTo>
                  <a:lnTo>
                    <a:pt x="687" y="222"/>
                  </a:lnTo>
                  <a:lnTo>
                    <a:pt x="683" y="220"/>
                  </a:lnTo>
                  <a:lnTo>
                    <a:pt x="678" y="217"/>
                  </a:lnTo>
                  <a:lnTo>
                    <a:pt x="673" y="215"/>
                  </a:lnTo>
                  <a:lnTo>
                    <a:pt x="670" y="212"/>
                  </a:lnTo>
                  <a:lnTo>
                    <a:pt x="666" y="209"/>
                  </a:lnTo>
                  <a:lnTo>
                    <a:pt x="664" y="205"/>
                  </a:lnTo>
                  <a:lnTo>
                    <a:pt x="661" y="202"/>
                  </a:lnTo>
                  <a:lnTo>
                    <a:pt x="659" y="196"/>
                  </a:lnTo>
                  <a:lnTo>
                    <a:pt x="656" y="192"/>
                  </a:lnTo>
                  <a:lnTo>
                    <a:pt x="655" y="187"/>
                  </a:lnTo>
                  <a:lnTo>
                    <a:pt x="654" y="180"/>
                  </a:lnTo>
                  <a:lnTo>
                    <a:pt x="653" y="175"/>
                  </a:lnTo>
                  <a:lnTo>
                    <a:pt x="653" y="168"/>
                  </a:lnTo>
                  <a:lnTo>
                    <a:pt x="653" y="155"/>
                  </a:lnTo>
                  <a:lnTo>
                    <a:pt x="686" y="155"/>
                  </a:lnTo>
                  <a:lnTo>
                    <a:pt x="686" y="171"/>
                  </a:lnTo>
                  <a:lnTo>
                    <a:pt x="686" y="176"/>
                  </a:lnTo>
                  <a:lnTo>
                    <a:pt x="687" y="180"/>
                  </a:lnTo>
                  <a:lnTo>
                    <a:pt x="688" y="183"/>
                  </a:lnTo>
                  <a:lnTo>
                    <a:pt x="689" y="184"/>
                  </a:lnTo>
                  <a:lnTo>
                    <a:pt x="691" y="187"/>
                  </a:lnTo>
                  <a:lnTo>
                    <a:pt x="693" y="189"/>
                  </a:lnTo>
                  <a:lnTo>
                    <a:pt x="697" y="191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08" y="191"/>
                  </a:lnTo>
                  <a:lnTo>
                    <a:pt x="711" y="191"/>
                  </a:lnTo>
                  <a:lnTo>
                    <a:pt x="715" y="189"/>
                  </a:lnTo>
                  <a:lnTo>
                    <a:pt x="717" y="187"/>
                  </a:lnTo>
                  <a:lnTo>
                    <a:pt x="719" y="184"/>
                  </a:lnTo>
                  <a:lnTo>
                    <a:pt x="721" y="180"/>
                  </a:lnTo>
                  <a:lnTo>
                    <a:pt x="721" y="176"/>
                  </a:lnTo>
                  <a:lnTo>
                    <a:pt x="722" y="171"/>
                  </a:lnTo>
                  <a:lnTo>
                    <a:pt x="722" y="167"/>
                  </a:lnTo>
                  <a:lnTo>
                    <a:pt x="721" y="162"/>
                  </a:lnTo>
                  <a:lnTo>
                    <a:pt x="719" y="155"/>
                  </a:lnTo>
                  <a:lnTo>
                    <a:pt x="718" y="152"/>
                  </a:lnTo>
                  <a:lnTo>
                    <a:pt x="716" y="149"/>
                  </a:lnTo>
                  <a:lnTo>
                    <a:pt x="711" y="142"/>
                  </a:lnTo>
                  <a:lnTo>
                    <a:pt x="706" y="136"/>
                  </a:lnTo>
                  <a:lnTo>
                    <a:pt x="701" y="131"/>
                  </a:lnTo>
                  <a:lnTo>
                    <a:pt x="688" y="119"/>
                  </a:lnTo>
                  <a:lnTo>
                    <a:pt x="675" y="106"/>
                  </a:lnTo>
                  <a:lnTo>
                    <a:pt x="670" y="100"/>
                  </a:lnTo>
                  <a:lnTo>
                    <a:pt x="665" y="93"/>
                  </a:lnTo>
                  <a:lnTo>
                    <a:pt x="661" y="84"/>
                  </a:lnTo>
                  <a:lnTo>
                    <a:pt x="658" y="76"/>
                  </a:lnTo>
                  <a:lnTo>
                    <a:pt x="655" y="65"/>
                  </a:lnTo>
                  <a:lnTo>
                    <a:pt x="654" y="60"/>
                  </a:lnTo>
                  <a:lnTo>
                    <a:pt x="654" y="55"/>
                  </a:lnTo>
                  <a:lnTo>
                    <a:pt x="654" y="48"/>
                  </a:lnTo>
                  <a:lnTo>
                    <a:pt x="655" y="42"/>
                  </a:lnTo>
                  <a:lnTo>
                    <a:pt x="656" y="37"/>
                  </a:lnTo>
                  <a:lnTo>
                    <a:pt x="658" y="31"/>
                  </a:lnTo>
                  <a:lnTo>
                    <a:pt x="660" y="26"/>
                  </a:lnTo>
                  <a:lnTo>
                    <a:pt x="662" y="22"/>
                  </a:lnTo>
                  <a:lnTo>
                    <a:pt x="664" y="18"/>
                  </a:lnTo>
                  <a:lnTo>
                    <a:pt x="667" y="13"/>
                  </a:lnTo>
                  <a:lnTo>
                    <a:pt x="670" y="10"/>
                  </a:lnTo>
                  <a:lnTo>
                    <a:pt x="674" y="7"/>
                  </a:lnTo>
                  <a:lnTo>
                    <a:pt x="677" y="6"/>
                  </a:lnTo>
                  <a:lnTo>
                    <a:pt x="679" y="5"/>
                  </a:lnTo>
                  <a:lnTo>
                    <a:pt x="683" y="3"/>
                  </a:lnTo>
                  <a:lnTo>
                    <a:pt x="688" y="1"/>
                  </a:lnTo>
                  <a:lnTo>
                    <a:pt x="693" y="0"/>
                  </a:lnTo>
                  <a:lnTo>
                    <a:pt x="699" y="0"/>
                  </a:lnTo>
                  <a:lnTo>
                    <a:pt x="705" y="0"/>
                  </a:lnTo>
                  <a:close/>
                  <a:moveTo>
                    <a:pt x="592" y="2"/>
                  </a:moveTo>
                  <a:lnTo>
                    <a:pt x="626" y="2"/>
                  </a:lnTo>
                  <a:lnTo>
                    <a:pt x="626" y="221"/>
                  </a:lnTo>
                  <a:lnTo>
                    <a:pt x="592" y="221"/>
                  </a:lnTo>
                  <a:lnTo>
                    <a:pt x="592" y="2"/>
                  </a:lnTo>
                  <a:close/>
                  <a:moveTo>
                    <a:pt x="491" y="171"/>
                  </a:moveTo>
                  <a:lnTo>
                    <a:pt x="491" y="176"/>
                  </a:lnTo>
                  <a:lnTo>
                    <a:pt x="493" y="180"/>
                  </a:lnTo>
                  <a:lnTo>
                    <a:pt x="494" y="183"/>
                  </a:lnTo>
                  <a:lnTo>
                    <a:pt x="494" y="185"/>
                  </a:lnTo>
                  <a:lnTo>
                    <a:pt x="496" y="187"/>
                  </a:lnTo>
                  <a:lnTo>
                    <a:pt x="499" y="189"/>
                  </a:lnTo>
                  <a:lnTo>
                    <a:pt x="502" y="191"/>
                  </a:lnTo>
                  <a:lnTo>
                    <a:pt x="505" y="192"/>
                  </a:lnTo>
                  <a:lnTo>
                    <a:pt x="509" y="192"/>
                  </a:lnTo>
                  <a:lnTo>
                    <a:pt x="513" y="192"/>
                  </a:lnTo>
                  <a:lnTo>
                    <a:pt x="517" y="191"/>
                  </a:lnTo>
                  <a:lnTo>
                    <a:pt x="520" y="189"/>
                  </a:lnTo>
                  <a:lnTo>
                    <a:pt x="522" y="187"/>
                  </a:lnTo>
                  <a:lnTo>
                    <a:pt x="524" y="185"/>
                  </a:lnTo>
                  <a:lnTo>
                    <a:pt x="525" y="180"/>
                  </a:lnTo>
                  <a:lnTo>
                    <a:pt x="526" y="176"/>
                  </a:lnTo>
                  <a:lnTo>
                    <a:pt x="527" y="171"/>
                  </a:lnTo>
                  <a:lnTo>
                    <a:pt x="527" y="52"/>
                  </a:lnTo>
                  <a:lnTo>
                    <a:pt x="526" y="46"/>
                  </a:lnTo>
                  <a:lnTo>
                    <a:pt x="525" y="42"/>
                  </a:lnTo>
                  <a:lnTo>
                    <a:pt x="525" y="40"/>
                  </a:lnTo>
                  <a:lnTo>
                    <a:pt x="524" y="39"/>
                  </a:lnTo>
                  <a:lnTo>
                    <a:pt x="522" y="36"/>
                  </a:lnTo>
                  <a:lnTo>
                    <a:pt x="520" y="33"/>
                  </a:lnTo>
                  <a:lnTo>
                    <a:pt x="517" y="31"/>
                  </a:lnTo>
                  <a:lnTo>
                    <a:pt x="513" y="30"/>
                  </a:lnTo>
                  <a:lnTo>
                    <a:pt x="509" y="30"/>
                  </a:lnTo>
                  <a:lnTo>
                    <a:pt x="505" y="30"/>
                  </a:lnTo>
                  <a:lnTo>
                    <a:pt x="502" y="31"/>
                  </a:lnTo>
                  <a:lnTo>
                    <a:pt x="499" y="33"/>
                  </a:lnTo>
                  <a:lnTo>
                    <a:pt x="496" y="36"/>
                  </a:lnTo>
                  <a:lnTo>
                    <a:pt x="494" y="39"/>
                  </a:lnTo>
                  <a:lnTo>
                    <a:pt x="493" y="42"/>
                  </a:lnTo>
                  <a:lnTo>
                    <a:pt x="491" y="46"/>
                  </a:lnTo>
                  <a:lnTo>
                    <a:pt x="491" y="52"/>
                  </a:lnTo>
                  <a:lnTo>
                    <a:pt x="491" y="171"/>
                  </a:lnTo>
                  <a:close/>
                  <a:moveTo>
                    <a:pt x="457" y="55"/>
                  </a:moveTo>
                  <a:lnTo>
                    <a:pt x="457" y="48"/>
                  </a:lnTo>
                  <a:lnTo>
                    <a:pt x="458" y="42"/>
                  </a:lnTo>
                  <a:lnTo>
                    <a:pt x="459" y="37"/>
                  </a:lnTo>
                  <a:lnTo>
                    <a:pt x="460" y="33"/>
                  </a:lnTo>
                  <a:lnTo>
                    <a:pt x="460" y="31"/>
                  </a:lnTo>
                  <a:lnTo>
                    <a:pt x="462" y="26"/>
                  </a:lnTo>
                  <a:lnTo>
                    <a:pt x="464" y="22"/>
                  </a:lnTo>
                  <a:lnTo>
                    <a:pt x="467" y="18"/>
                  </a:lnTo>
                  <a:lnTo>
                    <a:pt x="470" y="13"/>
                  </a:lnTo>
                  <a:lnTo>
                    <a:pt x="473" y="10"/>
                  </a:lnTo>
                  <a:lnTo>
                    <a:pt x="478" y="7"/>
                  </a:lnTo>
                  <a:lnTo>
                    <a:pt x="482" y="5"/>
                  </a:lnTo>
                  <a:lnTo>
                    <a:pt x="486" y="3"/>
                  </a:lnTo>
                  <a:lnTo>
                    <a:pt x="491" y="1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0"/>
                  </a:lnTo>
                  <a:lnTo>
                    <a:pt x="515" y="0"/>
                  </a:lnTo>
                  <a:lnTo>
                    <a:pt x="521" y="0"/>
                  </a:lnTo>
                  <a:lnTo>
                    <a:pt x="526" y="1"/>
                  </a:lnTo>
                  <a:lnTo>
                    <a:pt x="532" y="3"/>
                  </a:lnTo>
                  <a:lnTo>
                    <a:pt x="536" y="5"/>
                  </a:lnTo>
                  <a:lnTo>
                    <a:pt x="540" y="7"/>
                  </a:lnTo>
                  <a:lnTo>
                    <a:pt x="544" y="10"/>
                  </a:lnTo>
                  <a:lnTo>
                    <a:pt x="548" y="13"/>
                  </a:lnTo>
                  <a:lnTo>
                    <a:pt x="551" y="18"/>
                  </a:lnTo>
                  <a:lnTo>
                    <a:pt x="554" y="22"/>
                  </a:lnTo>
                  <a:lnTo>
                    <a:pt x="556" y="26"/>
                  </a:lnTo>
                  <a:lnTo>
                    <a:pt x="558" y="31"/>
                  </a:lnTo>
                  <a:lnTo>
                    <a:pt x="559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1" y="168"/>
                  </a:lnTo>
                  <a:lnTo>
                    <a:pt x="561" y="175"/>
                  </a:lnTo>
                  <a:lnTo>
                    <a:pt x="560" y="180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8" y="192"/>
                  </a:lnTo>
                  <a:lnTo>
                    <a:pt x="556" y="196"/>
                  </a:lnTo>
                  <a:lnTo>
                    <a:pt x="554" y="202"/>
                  </a:lnTo>
                  <a:lnTo>
                    <a:pt x="551" y="205"/>
                  </a:lnTo>
                  <a:lnTo>
                    <a:pt x="548" y="209"/>
                  </a:lnTo>
                  <a:lnTo>
                    <a:pt x="544" y="212"/>
                  </a:lnTo>
                  <a:lnTo>
                    <a:pt x="540" y="215"/>
                  </a:lnTo>
                  <a:lnTo>
                    <a:pt x="536" y="217"/>
                  </a:lnTo>
                  <a:lnTo>
                    <a:pt x="532" y="220"/>
                  </a:lnTo>
                  <a:lnTo>
                    <a:pt x="526" y="222"/>
                  </a:lnTo>
                  <a:lnTo>
                    <a:pt x="521" y="223"/>
                  </a:lnTo>
                  <a:lnTo>
                    <a:pt x="515" y="223"/>
                  </a:lnTo>
                  <a:lnTo>
                    <a:pt x="509" y="224"/>
                  </a:lnTo>
                  <a:lnTo>
                    <a:pt x="503" y="223"/>
                  </a:lnTo>
                  <a:lnTo>
                    <a:pt x="497" y="223"/>
                  </a:lnTo>
                  <a:lnTo>
                    <a:pt x="491" y="222"/>
                  </a:lnTo>
                  <a:lnTo>
                    <a:pt x="486" y="220"/>
                  </a:lnTo>
                  <a:lnTo>
                    <a:pt x="482" y="217"/>
                  </a:lnTo>
                  <a:lnTo>
                    <a:pt x="478" y="215"/>
                  </a:lnTo>
                  <a:lnTo>
                    <a:pt x="473" y="212"/>
                  </a:lnTo>
                  <a:lnTo>
                    <a:pt x="470" y="209"/>
                  </a:lnTo>
                  <a:lnTo>
                    <a:pt x="467" y="205"/>
                  </a:lnTo>
                  <a:lnTo>
                    <a:pt x="464" y="202"/>
                  </a:lnTo>
                  <a:lnTo>
                    <a:pt x="462" y="196"/>
                  </a:lnTo>
                  <a:lnTo>
                    <a:pt x="460" y="192"/>
                  </a:lnTo>
                  <a:lnTo>
                    <a:pt x="459" y="187"/>
                  </a:lnTo>
                  <a:lnTo>
                    <a:pt x="458" y="180"/>
                  </a:lnTo>
                  <a:lnTo>
                    <a:pt x="457" y="175"/>
                  </a:lnTo>
                  <a:lnTo>
                    <a:pt x="457" y="168"/>
                  </a:lnTo>
                  <a:lnTo>
                    <a:pt x="457" y="55"/>
                  </a:lnTo>
                  <a:close/>
                  <a:moveTo>
                    <a:pt x="370" y="134"/>
                  </a:moveTo>
                  <a:lnTo>
                    <a:pt x="359" y="154"/>
                  </a:lnTo>
                  <a:lnTo>
                    <a:pt x="359" y="221"/>
                  </a:lnTo>
                  <a:lnTo>
                    <a:pt x="324" y="221"/>
                  </a:lnTo>
                  <a:lnTo>
                    <a:pt x="324" y="2"/>
                  </a:lnTo>
                  <a:lnTo>
                    <a:pt x="359" y="2"/>
                  </a:lnTo>
                  <a:lnTo>
                    <a:pt x="359" y="97"/>
                  </a:lnTo>
                  <a:lnTo>
                    <a:pt x="404" y="2"/>
                  </a:lnTo>
                  <a:lnTo>
                    <a:pt x="439" y="2"/>
                  </a:lnTo>
                  <a:lnTo>
                    <a:pt x="390" y="99"/>
                  </a:lnTo>
                  <a:lnTo>
                    <a:pt x="439" y="221"/>
                  </a:lnTo>
                  <a:lnTo>
                    <a:pt x="403" y="221"/>
                  </a:lnTo>
                  <a:lnTo>
                    <a:pt x="370" y="134"/>
                  </a:lnTo>
                  <a:close/>
                  <a:moveTo>
                    <a:pt x="257" y="2"/>
                  </a:moveTo>
                  <a:lnTo>
                    <a:pt x="292" y="2"/>
                  </a:lnTo>
                  <a:lnTo>
                    <a:pt x="292" y="221"/>
                  </a:lnTo>
                  <a:lnTo>
                    <a:pt x="257" y="221"/>
                  </a:lnTo>
                  <a:lnTo>
                    <a:pt x="257" y="2"/>
                  </a:lnTo>
                  <a:close/>
                  <a:moveTo>
                    <a:pt x="157" y="33"/>
                  </a:moveTo>
                  <a:lnTo>
                    <a:pt x="15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9" y="99"/>
                  </a:lnTo>
                  <a:lnTo>
                    <a:pt x="184" y="98"/>
                  </a:lnTo>
                  <a:lnTo>
                    <a:pt x="185" y="97"/>
                  </a:lnTo>
                  <a:lnTo>
                    <a:pt x="186" y="95"/>
                  </a:lnTo>
                  <a:lnTo>
                    <a:pt x="189" y="93"/>
                  </a:lnTo>
                  <a:lnTo>
                    <a:pt x="190" y="88"/>
                  </a:lnTo>
                  <a:lnTo>
                    <a:pt x="191" y="83"/>
                  </a:lnTo>
                  <a:lnTo>
                    <a:pt x="192" y="77"/>
                  </a:lnTo>
                  <a:lnTo>
                    <a:pt x="192" y="56"/>
                  </a:lnTo>
                  <a:lnTo>
                    <a:pt x="191" y="50"/>
                  </a:lnTo>
                  <a:lnTo>
                    <a:pt x="191" y="45"/>
                  </a:lnTo>
                  <a:lnTo>
                    <a:pt x="189" y="42"/>
                  </a:lnTo>
                  <a:lnTo>
                    <a:pt x="188" y="39"/>
                  </a:lnTo>
                  <a:lnTo>
                    <a:pt x="185" y="36"/>
                  </a:lnTo>
                  <a:lnTo>
                    <a:pt x="184" y="34"/>
                  </a:lnTo>
                  <a:lnTo>
                    <a:pt x="183" y="34"/>
                  </a:lnTo>
                  <a:lnTo>
                    <a:pt x="178" y="33"/>
                  </a:lnTo>
                  <a:lnTo>
                    <a:pt x="174" y="33"/>
                  </a:lnTo>
                  <a:lnTo>
                    <a:pt x="157" y="33"/>
                  </a:lnTo>
                  <a:close/>
                  <a:moveTo>
                    <a:pt x="195" y="221"/>
                  </a:moveTo>
                  <a:lnTo>
                    <a:pt x="193" y="212"/>
                  </a:lnTo>
                  <a:lnTo>
                    <a:pt x="192" y="205"/>
                  </a:lnTo>
                  <a:lnTo>
                    <a:pt x="192" y="194"/>
                  </a:lnTo>
                  <a:lnTo>
                    <a:pt x="192" y="159"/>
                  </a:lnTo>
                  <a:lnTo>
                    <a:pt x="192" y="153"/>
                  </a:lnTo>
                  <a:lnTo>
                    <a:pt x="191" y="147"/>
                  </a:lnTo>
                  <a:lnTo>
                    <a:pt x="189" y="141"/>
                  </a:lnTo>
                  <a:lnTo>
                    <a:pt x="187" y="138"/>
                  </a:lnTo>
                  <a:lnTo>
                    <a:pt x="185" y="136"/>
                  </a:lnTo>
                  <a:lnTo>
                    <a:pt x="184" y="135"/>
                  </a:lnTo>
                  <a:lnTo>
                    <a:pt x="179" y="133"/>
                  </a:lnTo>
                  <a:lnTo>
                    <a:pt x="175" y="132"/>
                  </a:lnTo>
                  <a:lnTo>
                    <a:pt x="170" y="132"/>
                  </a:lnTo>
                  <a:lnTo>
                    <a:pt x="157" y="132"/>
                  </a:lnTo>
                  <a:lnTo>
                    <a:pt x="157" y="221"/>
                  </a:lnTo>
                  <a:lnTo>
                    <a:pt x="123" y="221"/>
                  </a:lnTo>
                  <a:lnTo>
                    <a:pt x="123" y="2"/>
                  </a:lnTo>
                  <a:lnTo>
                    <a:pt x="175" y="2"/>
                  </a:lnTo>
                  <a:lnTo>
                    <a:pt x="182" y="2"/>
                  </a:lnTo>
                  <a:lnTo>
                    <a:pt x="188" y="3"/>
                  </a:lnTo>
                  <a:lnTo>
                    <a:pt x="193" y="4"/>
                  </a:lnTo>
                  <a:lnTo>
                    <a:pt x="199" y="5"/>
                  </a:lnTo>
                  <a:lnTo>
                    <a:pt x="203" y="7"/>
                  </a:lnTo>
                  <a:lnTo>
                    <a:pt x="207" y="9"/>
                  </a:lnTo>
                  <a:lnTo>
                    <a:pt x="211" y="11"/>
                  </a:lnTo>
                  <a:lnTo>
                    <a:pt x="214" y="14"/>
                  </a:lnTo>
                  <a:lnTo>
                    <a:pt x="218" y="18"/>
                  </a:lnTo>
                  <a:lnTo>
                    <a:pt x="220" y="21"/>
                  </a:lnTo>
                  <a:lnTo>
                    <a:pt x="222" y="25"/>
                  </a:lnTo>
                  <a:lnTo>
                    <a:pt x="223" y="30"/>
                  </a:lnTo>
                  <a:lnTo>
                    <a:pt x="225" y="34"/>
                  </a:lnTo>
                  <a:lnTo>
                    <a:pt x="226" y="40"/>
                  </a:lnTo>
                  <a:lnTo>
                    <a:pt x="226" y="46"/>
                  </a:lnTo>
                  <a:lnTo>
                    <a:pt x="226" y="52"/>
                  </a:lnTo>
                  <a:lnTo>
                    <a:pt x="226" y="69"/>
                  </a:lnTo>
                  <a:lnTo>
                    <a:pt x="226" y="78"/>
                  </a:lnTo>
                  <a:lnTo>
                    <a:pt x="225" y="85"/>
                  </a:lnTo>
                  <a:lnTo>
                    <a:pt x="223" y="92"/>
                  </a:lnTo>
                  <a:lnTo>
                    <a:pt x="221" y="97"/>
                  </a:lnTo>
                  <a:lnTo>
                    <a:pt x="220" y="100"/>
                  </a:lnTo>
                  <a:lnTo>
                    <a:pt x="218" y="102"/>
                  </a:lnTo>
                  <a:lnTo>
                    <a:pt x="215" y="104"/>
                  </a:lnTo>
                  <a:lnTo>
                    <a:pt x="213" y="107"/>
                  </a:lnTo>
                  <a:lnTo>
                    <a:pt x="209" y="111"/>
                  </a:lnTo>
                  <a:lnTo>
                    <a:pt x="204" y="114"/>
                  </a:lnTo>
                  <a:lnTo>
                    <a:pt x="207" y="115"/>
                  </a:lnTo>
                  <a:lnTo>
                    <a:pt x="210" y="117"/>
                  </a:lnTo>
                  <a:lnTo>
                    <a:pt x="212" y="119"/>
                  </a:lnTo>
                  <a:lnTo>
                    <a:pt x="214" y="121"/>
                  </a:lnTo>
                  <a:lnTo>
                    <a:pt x="219" y="125"/>
                  </a:lnTo>
                  <a:lnTo>
                    <a:pt x="222" y="131"/>
                  </a:lnTo>
                  <a:lnTo>
                    <a:pt x="224" y="137"/>
                  </a:lnTo>
                  <a:lnTo>
                    <a:pt x="225" y="144"/>
                  </a:lnTo>
                  <a:lnTo>
                    <a:pt x="226" y="149"/>
                  </a:lnTo>
                  <a:lnTo>
                    <a:pt x="226" y="152"/>
                  </a:lnTo>
                  <a:lnTo>
                    <a:pt x="227" y="160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9"/>
                  </a:lnTo>
                  <a:lnTo>
                    <a:pt x="228" y="215"/>
                  </a:lnTo>
                  <a:lnTo>
                    <a:pt x="229" y="217"/>
                  </a:lnTo>
                  <a:lnTo>
                    <a:pt x="230" y="221"/>
                  </a:lnTo>
                  <a:lnTo>
                    <a:pt x="195" y="221"/>
                  </a:lnTo>
                  <a:close/>
                  <a:moveTo>
                    <a:pt x="35" y="94"/>
                  </a:moveTo>
                  <a:lnTo>
                    <a:pt x="82" y="94"/>
                  </a:lnTo>
                  <a:lnTo>
                    <a:pt x="82" y="125"/>
                  </a:lnTo>
                  <a:lnTo>
                    <a:pt x="35" y="125"/>
                  </a:lnTo>
                  <a:lnTo>
                    <a:pt x="35" y="190"/>
                  </a:lnTo>
                  <a:lnTo>
                    <a:pt x="94" y="190"/>
                  </a:lnTo>
                  <a:lnTo>
                    <a:pt x="94" y="221"/>
                  </a:lnTo>
                  <a:lnTo>
                    <a:pt x="0" y="221"/>
                  </a:lnTo>
                  <a:lnTo>
                    <a:pt x="0" y="2"/>
                  </a:lnTo>
                  <a:lnTo>
                    <a:pt x="94" y="2"/>
                  </a:lnTo>
                  <a:lnTo>
                    <a:pt x="94" y="33"/>
                  </a:lnTo>
                  <a:lnTo>
                    <a:pt x="35" y="33"/>
                  </a:lnTo>
                  <a:lnTo>
                    <a:pt x="35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67041668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D60B35-D387-44C2-82D6-9A1EECE6B073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8"/>
            <p:cNvSpPr>
              <a:spLocks noEditPoints="1"/>
            </p:cNvSpPr>
            <p:nvPr userDrawn="1"/>
          </p:nvSpPr>
          <p:spPr bwMode="auto">
            <a:xfrm>
              <a:off x="8873542" y="6476771"/>
              <a:ext cx="1942286" cy="211200"/>
            </a:xfrm>
            <a:custGeom>
              <a:avLst/>
              <a:gdLst>
                <a:gd name="T0" fmla="*/ 1940 w 2061"/>
                <a:gd name="T1" fmla="*/ 221 h 224"/>
                <a:gd name="T2" fmla="*/ 1890 w 2061"/>
                <a:gd name="T3" fmla="*/ 103 h 224"/>
                <a:gd name="T4" fmla="*/ 1886 w 2061"/>
                <a:gd name="T5" fmla="*/ 36 h 224"/>
                <a:gd name="T6" fmla="*/ 1924 w 2061"/>
                <a:gd name="T7" fmla="*/ 107 h 224"/>
                <a:gd name="T8" fmla="*/ 1888 w 2061"/>
                <a:gd name="T9" fmla="*/ 138 h 224"/>
                <a:gd name="T10" fmla="*/ 1894 w 2061"/>
                <a:gd name="T11" fmla="*/ 4 h 224"/>
                <a:gd name="T12" fmla="*/ 1927 w 2061"/>
                <a:gd name="T13" fmla="*/ 38 h 224"/>
                <a:gd name="T14" fmla="*/ 1762 w 2061"/>
                <a:gd name="T15" fmla="*/ 103 h 224"/>
                <a:gd name="T16" fmla="*/ 1759 w 2061"/>
                <a:gd name="T17" fmla="*/ 36 h 224"/>
                <a:gd name="T18" fmla="*/ 1798 w 2061"/>
                <a:gd name="T19" fmla="*/ 107 h 224"/>
                <a:gd name="T20" fmla="*/ 1762 w 2061"/>
                <a:gd name="T21" fmla="*/ 138 h 224"/>
                <a:gd name="T22" fmla="*/ 1767 w 2061"/>
                <a:gd name="T23" fmla="*/ 4 h 224"/>
                <a:gd name="T24" fmla="*/ 1799 w 2061"/>
                <a:gd name="T25" fmla="*/ 38 h 224"/>
                <a:gd name="T26" fmla="*/ 1604 w 2061"/>
                <a:gd name="T27" fmla="*/ 188 h 224"/>
                <a:gd name="T28" fmla="*/ 1634 w 2061"/>
                <a:gd name="T29" fmla="*/ 180 h 224"/>
                <a:gd name="T30" fmla="*/ 1662 w 2061"/>
                <a:gd name="T31" fmla="*/ 197 h 224"/>
                <a:gd name="T32" fmla="*/ 1627 w 2061"/>
                <a:gd name="T33" fmla="*/ 223 h 224"/>
                <a:gd name="T34" fmla="*/ 1578 w 2061"/>
                <a:gd name="T35" fmla="*/ 209 h 224"/>
                <a:gd name="T36" fmla="*/ 1599 w 2061"/>
                <a:gd name="T37" fmla="*/ 2 h 224"/>
                <a:gd name="T38" fmla="*/ 1421 w 2061"/>
                <a:gd name="T39" fmla="*/ 221 h 224"/>
                <a:gd name="T40" fmla="*/ 1328 w 2061"/>
                <a:gd name="T41" fmla="*/ 97 h 224"/>
                <a:gd name="T42" fmla="*/ 1204 w 2061"/>
                <a:gd name="T43" fmla="*/ 125 h 224"/>
                <a:gd name="T44" fmla="*/ 1077 w 2061"/>
                <a:gd name="T45" fmla="*/ 134 h 224"/>
                <a:gd name="T46" fmla="*/ 1146 w 2061"/>
                <a:gd name="T47" fmla="*/ 221 h 224"/>
                <a:gd name="T48" fmla="*/ 932 w 2061"/>
                <a:gd name="T49" fmla="*/ 221 h 224"/>
                <a:gd name="T50" fmla="*/ 705 w 2061"/>
                <a:gd name="T51" fmla="*/ 0 h 224"/>
                <a:gd name="T52" fmla="*/ 748 w 2061"/>
                <a:gd name="T53" fmla="*/ 22 h 224"/>
                <a:gd name="T54" fmla="*/ 723 w 2061"/>
                <a:gd name="T55" fmla="*/ 46 h 224"/>
                <a:gd name="T56" fmla="*/ 698 w 2061"/>
                <a:gd name="T57" fmla="*/ 32 h 224"/>
                <a:gd name="T58" fmla="*/ 693 w 2061"/>
                <a:gd name="T59" fmla="*/ 70 h 224"/>
                <a:gd name="T60" fmla="*/ 754 w 2061"/>
                <a:gd name="T61" fmla="*/ 148 h 224"/>
                <a:gd name="T62" fmla="*/ 746 w 2061"/>
                <a:gd name="T63" fmla="*/ 205 h 224"/>
                <a:gd name="T64" fmla="*/ 705 w 2061"/>
                <a:gd name="T65" fmla="*/ 224 h 224"/>
                <a:gd name="T66" fmla="*/ 661 w 2061"/>
                <a:gd name="T67" fmla="*/ 202 h 224"/>
                <a:gd name="T68" fmla="*/ 686 w 2061"/>
                <a:gd name="T69" fmla="*/ 176 h 224"/>
                <a:gd name="T70" fmla="*/ 711 w 2061"/>
                <a:gd name="T71" fmla="*/ 191 h 224"/>
                <a:gd name="T72" fmla="*/ 718 w 2061"/>
                <a:gd name="T73" fmla="*/ 152 h 224"/>
                <a:gd name="T74" fmla="*/ 658 w 2061"/>
                <a:gd name="T75" fmla="*/ 76 h 224"/>
                <a:gd name="T76" fmla="*/ 664 w 2061"/>
                <a:gd name="T77" fmla="*/ 18 h 224"/>
                <a:gd name="T78" fmla="*/ 705 w 2061"/>
                <a:gd name="T79" fmla="*/ 0 h 224"/>
                <a:gd name="T80" fmla="*/ 494 w 2061"/>
                <a:gd name="T81" fmla="*/ 185 h 224"/>
                <a:gd name="T82" fmla="*/ 524 w 2061"/>
                <a:gd name="T83" fmla="*/ 185 h 224"/>
                <a:gd name="T84" fmla="*/ 520 w 2061"/>
                <a:gd name="T85" fmla="*/ 33 h 224"/>
                <a:gd name="T86" fmla="*/ 491 w 2061"/>
                <a:gd name="T87" fmla="*/ 46 h 224"/>
                <a:gd name="T88" fmla="*/ 464 w 2061"/>
                <a:gd name="T89" fmla="*/ 22 h 224"/>
                <a:gd name="T90" fmla="*/ 509 w 2061"/>
                <a:gd name="T91" fmla="*/ 0 h 224"/>
                <a:gd name="T92" fmla="*/ 554 w 2061"/>
                <a:gd name="T93" fmla="*/ 22 h 224"/>
                <a:gd name="T94" fmla="*/ 559 w 2061"/>
                <a:gd name="T95" fmla="*/ 187 h 224"/>
                <a:gd name="T96" fmla="*/ 532 w 2061"/>
                <a:gd name="T97" fmla="*/ 220 h 224"/>
                <a:gd name="T98" fmla="*/ 478 w 2061"/>
                <a:gd name="T99" fmla="*/ 215 h 224"/>
                <a:gd name="T100" fmla="*/ 457 w 2061"/>
                <a:gd name="T101" fmla="*/ 168 h 224"/>
                <a:gd name="T102" fmla="*/ 439 w 2061"/>
                <a:gd name="T103" fmla="*/ 2 h 224"/>
                <a:gd name="T104" fmla="*/ 157 w 2061"/>
                <a:gd name="T105" fmla="*/ 33 h 224"/>
                <a:gd name="T106" fmla="*/ 191 w 2061"/>
                <a:gd name="T107" fmla="*/ 83 h 224"/>
                <a:gd name="T108" fmla="*/ 178 w 2061"/>
                <a:gd name="T109" fmla="*/ 33 h 224"/>
                <a:gd name="T110" fmla="*/ 189 w 2061"/>
                <a:gd name="T111" fmla="*/ 141 h 224"/>
                <a:gd name="T112" fmla="*/ 123 w 2061"/>
                <a:gd name="T113" fmla="*/ 2 h 224"/>
                <a:gd name="T114" fmla="*/ 218 w 2061"/>
                <a:gd name="T115" fmla="*/ 18 h 224"/>
                <a:gd name="T116" fmla="*/ 225 w 2061"/>
                <a:gd name="T117" fmla="*/ 85 h 224"/>
                <a:gd name="T118" fmla="*/ 210 w 2061"/>
                <a:gd name="T119" fmla="*/ 117 h 224"/>
                <a:gd name="T120" fmla="*/ 227 w 2061"/>
                <a:gd name="T121" fmla="*/ 194 h 224"/>
                <a:gd name="T122" fmla="*/ 35 w 2061"/>
                <a:gd name="T123" fmla="*/ 12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1" h="224">
                  <a:moveTo>
                    <a:pt x="1982" y="152"/>
                  </a:moveTo>
                  <a:lnTo>
                    <a:pt x="2015" y="152"/>
                  </a:lnTo>
                  <a:lnTo>
                    <a:pt x="1998" y="41"/>
                  </a:lnTo>
                  <a:lnTo>
                    <a:pt x="1982" y="152"/>
                  </a:lnTo>
                  <a:close/>
                  <a:moveTo>
                    <a:pt x="2061" y="221"/>
                  </a:moveTo>
                  <a:lnTo>
                    <a:pt x="2026" y="221"/>
                  </a:lnTo>
                  <a:lnTo>
                    <a:pt x="2020" y="181"/>
                  </a:lnTo>
                  <a:lnTo>
                    <a:pt x="1977" y="181"/>
                  </a:lnTo>
                  <a:lnTo>
                    <a:pt x="1972" y="221"/>
                  </a:lnTo>
                  <a:lnTo>
                    <a:pt x="1940" y="221"/>
                  </a:lnTo>
                  <a:lnTo>
                    <a:pt x="1975" y="2"/>
                  </a:lnTo>
                  <a:lnTo>
                    <a:pt x="2026" y="2"/>
                  </a:lnTo>
                  <a:lnTo>
                    <a:pt x="2061" y="221"/>
                  </a:lnTo>
                  <a:close/>
                  <a:moveTo>
                    <a:pt x="1860" y="33"/>
                  </a:moveTo>
                  <a:lnTo>
                    <a:pt x="1860" y="107"/>
                  </a:lnTo>
                  <a:lnTo>
                    <a:pt x="1877" y="107"/>
                  </a:lnTo>
                  <a:lnTo>
                    <a:pt x="1880" y="107"/>
                  </a:lnTo>
                  <a:lnTo>
                    <a:pt x="1884" y="106"/>
                  </a:lnTo>
                  <a:lnTo>
                    <a:pt x="1886" y="104"/>
                  </a:lnTo>
                  <a:lnTo>
                    <a:pt x="1890" y="103"/>
                  </a:lnTo>
                  <a:lnTo>
                    <a:pt x="1891" y="100"/>
                  </a:lnTo>
                  <a:lnTo>
                    <a:pt x="1893" y="96"/>
                  </a:lnTo>
                  <a:lnTo>
                    <a:pt x="1893" y="92"/>
                  </a:lnTo>
                  <a:lnTo>
                    <a:pt x="1894" y="86"/>
                  </a:lnTo>
                  <a:lnTo>
                    <a:pt x="1894" y="53"/>
                  </a:lnTo>
                  <a:lnTo>
                    <a:pt x="1893" y="48"/>
                  </a:lnTo>
                  <a:lnTo>
                    <a:pt x="1893" y="44"/>
                  </a:lnTo>
                  <a:lnTo>
                    <a:pt x="1891" y="40"/>
                  </a:lnTo>
                  <a:lnTo>
                    <a:pt x="1890" y="38"/>
                  </a:lnTo>
                  <a:lnTo>
                    <a:pt x="1886" y="36"/>
                  </a:lnTo>
                  <a:lnTo>
                    <a:pt x="1884" y="34"/>
                  </a:lnTo>
                  <a:lnTo>
                    <a:pt x="1880" y="33"/>
                  </a:lnTo>
                  <a:lnTo>
                    <a:pt x="1877" y="33"/>
                  </a:lnTo>
                  <a:lnTo>
                    <a:pt x="1860" y="33"/>
                  </a:lnTo>
                  <a:close/>
                  <a:moveTo>
                    <a:pt x="1928" y="56"/>
                  </a:moveTo>
                  <a:lnTo>
                    <a:pt x="1928" y="84"/>
                  </a:lnTo>
                  <a:lnTo>
                    <a:pt x="1928" y="91"/>
                  </a:lnTo>
                  <a:lnTo>
                    <a:pt x="1928" y="97"/>
                  </a:lnTo>
                  <a:lnTo>
                    <a:pt x="1927" y="102"/>
                  </a:lnTo>
                  <a:lnTo>
                    <a:pt x="1924" y="107"/>
                  </a:lnTo>
                  <a:lnTo>
                    <a:pt x="1923" y="113"/>
                  </a:lnTo>
                  <a:lnTo>
                    <a:pt x="1920" y="117"/>
                  </a:lnTo>
                  <a:lnTo>
                    <a:pt x="1918" y="121"/>
                  </a:lnTo>
                  <a:lnTo>
                    <a:pt x="1915" y="124"/>
                  </a:lnTo>
                  <a:lnTo>
                    <a:pt x="1912" y="128"/>
                  </a:lnTo>
                  <a:lnTo>
                    <a:pt x="1908" y="131"/>
                  </a:lnTo>
                  <a:lnTo>
                    <a:pt x="1903" y="133"/>
                  </a:lnTo>
                  <a:lnTo>
                    <a:pt x="1899" y="135"/>
                  </a:lnTo>
                  <a:lnTo>
                    <a:pt x="1894" y="136"/>
                  </a:lnTo>
                  <a:lnTo>
                    <a:pt x="1888" y="138"/>
                  </a:lnTo>
                  <a:lnTo>
                    <a:pt x="1883" y="138"/>
                  </a:lnTo>
                  <a:lnTo>
                    <a:pt x="1877" y="138"/>
                  </a:lnTo>
                  <a:lnTo>
                    <a:pt x="1860" y="138"/>
                  </a:lnTo>
                  <a:lnTo>
                    <a:pt x="1860" y="221"/>
                  </a:lnTo>
                  <a:lnTo>
                    <a:pt x="1826" y="221"/>
                  </a:lnTo>
                  <a:lnTo>
                    <a:pt x="1826" y="2"/>
                  </a:lnTo>
                  <a:lnTo>
                    <a:pt x="1877" y="2"/>
                  </a:lnTo>
                  <a:lnTo>
                    <a:pt x="1883" y="2"/>
                  </a:lnTo>
                  <a:lnTo>
                    <a:pt x="1888" y="3"/>
                  </a:lnTo>
                  <a:lnTo>
                    <a:pt x="1894" y="4"/>
                  </a:lnTo>
                  <a:lnTo>
                    <a:pt x="1899" y="5"/>
                  </a:lnTo>
                  <a:lnTo>
                    <a:pt x="1903" y="7"/>
                  </a:lnTo>
                  <a:lnTo>
                    <a:pt x="1908" y="9"/>
                  </a:lnTo>
                  <a:lnTo>
                    <a:pt x="1912" y="12"/>
                  </a:lnTo>
                  <a:lnTo>
                    <a:pt x="1915" y="15"/>
                  </a:lnTo>
                  <a:lnTo>
                    <a:pt x="1918" y="20"/>
                  </a:lnTo>
                  <a:lnTo>
                    <a:pt x="1920" y="23"/>
                  </a:lnTo>
                  <a:lnTo>
                    <a:pt x="1923" y="28"/>
                  </a:lnTo>
                  <a:lnTo>
                    <a:pt x="1924" y="32"/>
                  </a:lnTo>
                  <a:lnTo>
                    <a:pt x="1927" y="38"/>
                  </a:lnTo>
                  <a:lnTo>
                    <a:pt x="1928" y="43"/>
                  </a:lnTo>
                  <a:lnTo>
                    <a:pt x="1928" y="49"/>
                  </a:lnTo>
                  <a:lnTo>
                    <a:pt x="1928" y="56"/>
                  </a:lnTo>
                  <a:close/>
                  <a:moveTo>
                    <a:pt x="1733" y="33"/>
                  </a:moveTo>
                  <a:lnTo>
                    <a:pt x="1733" y="107"/>
                  </a:lnTo>
                  <a:lnTo>
                    <a:pt x="1749" y="107"/>
                  </a:lnTo>
                  <a:lnTo>
                    <a:pt x="1753" y="107"/>
                  </a:lnTo>
                  <a:lnTo>
                    <a:pt x="1756" y="106"/>
                  </a:lnTo>
                  <a:lnTo>
                    <a:pt x="1759" y="104"/>
                  </a:lnTo>
                  <a:lnTo>
                    <a:pt x="1762" y="103"/>
                  </a:lnTo>
                  <a:lnTo>
                    <a:pt x="1764" y="100"/>
                  </a:lnTo>
                  <a:lnTo>
                    <a:pt x="1765" y="96"/>
                  </a:lnTo>
                  <a:lnTo>
                    <a:pt x="1766" y="92"/>
                  </a:lnTo>
                  <a:lnTo>
                    <a:pt x="1766" y="86"/>
                  </a:lnTo>
                  <a:lnTo>
                    <a:pt x="1766" y="53"/>
                  </a:lnTo>
                  <a:lnTo>
                    <a:pt x="1766" y="48"/>
                  </a:lnTo>
                  <a:lnTo>
                    <a:pt x="1765" y="44"/>
                  </a:lnTo>
                  <a:lnTo>
                    <a:pt x="1764" y="40"/>
                  </a:lnTo>
                  <a:lnTo>
                    <a:pt x="1762" y="38"/>
                  </a:lnTo>
                  <a:lnTo>
                    <a:pt x="1759" y="36"/>
                  </a:lnTo>
                  <a:lnTo>
                    <a:pt x="1756" y="34"/>
                  </a:lnTo>
                  <a:lnTo>
                    <a:pt x="1753" y="33"/>
                  </a:lnTo>
                  <a:lnTo>
                    <a:pt x="1749" y="33"/>
                  </a:lnTo>
                  <a:lnTo>
                    <a:pt x="1733" y="33"/>
                  </a:lnTo>
                  <a:close/>
                  <a:moveTo>
                    <a:pt x="1801" y="56"/>
                  </a:moveTo>
                  <a:lnTo>
                    <a:pt x="1801" y="84"/>
                  </a:lnTo>
                  <a:lnTo>
                    <a:pt x="1801" y="91"/>
                  </a:lnTo>
                  <a:lnTo>
                    <a:pt x="1800" y="97"/>
                  </a:lnTo>
                  <a:lnTo>
                    <a:pt x="1799" y="102"/>
                  </a:lnTo>
                  <a:lnTo>
                    <a:pt x="1798" y="107"/>
                  </a:lnTo>
                  <a:lnTo>
                    <a:pt x="1795" y="113"/>
                  </a:lnTo>
                  <a:lnTo>
                    <a:pt x="1793" y="117"/>
                  </a:lnTo>
                  <a:lnTo>
                    <a:pt x="1790" y="121"/>
                  </a:lnTo>
                  <a:lnTo>
                    <a:pt x="1788" y="124"/>
                  </a:lnTo>
                  <a:lnTo>
                    <a:pt x="1784" y="128"/>
                  </a:lnTo>
                  <a:lnTo>
                    <a:pt x="1781" y="131"/>
                  </a:lnTo>
                  <a:lnTo>
                    <a:pt x="1776" y="133"/>
                  </a:lnTo>
                  <a:lnTo>
                    <a:pt x="1771" y="135"/>
                  </a:lnTo>
                  <a:lnTo>
                    <a:pt x="1767" y="136"/>
                  </a:lnTo>
                  <a:lnTo>
                    <a:pt x="1762" y="138"/>
                  </a:lnTo>
                  <a:lnTo>
                    <a:pt x="1755" y="138"/>
                  </a:lnTo>
                  <a:lnTo>
                    <a:pt x="1749" y="138"/>
                  </a:lnTo>
                  <a:lnTo>
                    <a:pt x="1733" y="138"/>
                  </a:lnTo>
                  <a:lnTo>
                    <a:pt x="1733" y="221"/>
                  </a:lnTo>
                  <a:lnTo>
                    <a:pt x="1698" y="221"/>
                  </a:lnTo>
                  <a:lnTo>
                    <a:pt x="1698" y="2"/>
                  </a:lnTo>
                  <a:lnTo>
                    <a:pt x="1749" y="2"/>
                  </a:lnTo>
                  <a:lnTo>
                    <a:pt x="1755" y="2"/>
                  </a:lnTo>
                  <a:lnTo>
                    <a:pt x="1762" y="3"/>
                  </a:lnTo>
                  <a:lnTo>
                    <a:pt x="1767" y="4"/>
                  </a:lnTo>
                  <a:lnTo>
                    <a:pt x="1771" y="5"/>
                  </a:lnTo>
                  <a:lnTo>
                    <a:pt x="1776" y="7"/>
                  </a:lnTo>
                  <a:lnTo>
                    <a:pt x="1781" y="9"/>
                  </a:lnTo>
                  <a:lnTo>
                    <a:pt x="1784" y="12"/>
                  </a:lnTo>
                  <a:lnTo>
                    <a:pt x="1788" y="15"/>
                  </a:lnTo>
                  <a:lnTo>
                    <a:pt x="1790" y="20"/>
                  </a:lnTo>
                  <a:lnTo>
                    <a:pt x="1793" y="23"/>
                  </a:lnTo>
                  <a:lnTo>
                    <a:pt x="1795" y="28"/>
                  </a:lnTo>
                  <a:lnTo>
                    <a:pt x="1798" y="32"/>
                  </a:lnTo>
                  <a:lnTo>
                    <a:pt x="1799" y="38"/>
                  </a:lnTo>
                  <a:lnTo>
                    <a:pt x="1800" y="43"/>
                  </a:lnTo>
                  <a:lnTo>
                    <a:pt x="1801" y="49"/>
                  </a:lnTo>
                  <a:lnTo>
                    <a:pt x="1801" y="56"/>
                  </a:lnTo>
                  <a:close/>
                  <a:moveTo>
                    <a:pt x="1599" y="2"/>
                  </a:moveTo>
                  <a:lnTo>
                    <a:pt x="1599" y="171"/>
                  </a:lnTo>
                  <a:lnTo>
                    <a:pt x="1599" y="176"/>
                  </a:lnTo>
                  <a:lnTo>
                    <a:pt x="1600" y="180"/>
                  </a:lnTo>
                  <a:lnTo>
                    <a:pt x="1601" y="183"/>
                  </a:lnTo>
                  <a:lnTo>
                    <a:pt x="1602" y="185"/>
                  </a:lnTo>
                  <a:lnTo>
                    <a:pt x="1604" y="188"/>
                  </a:lnTo>
                  <a:lnTo>
                    <a:pt x="1606" y="190"/>
                  </a:lnTo>
                  <a:lnTo>
                    <a:pt x="1609" y="191"/>
                  </a:lnTo>
                  <a:lnTo>
                    <a:pt x="1612" y="192"/>
                  </a:lnTo>
                  <a:lnTo>
                    <a:pt x="1617" y="192"/>
                  </a:lnTo>
                  <a:lnTo>
                    <a:pt x="1621" y="192"/>
                  </a:lnTo>
                  <a:lnTo>
                    <a:pt x="1624" y="191"/>
                  </a:lnTo>
                  <a:lnTo>
                    <a:pt x="1627" y="190"/>
                  </a:lnTo>
                  <a:lnTo>
                    <a:pt x="1629" y="188"/>
                  </a:lnTo>
                  <a:lnTo>
                    <a:pt x="1631" y="185"/>
                  </a:lnTo>
                  <a:lnTo>
                    <a:pt x="1634" y="180"/>
                  </a:lnTo>
                  <a:lnTo>
                    <a:pt x="1634" y="176"/>
                  </a:lnTo>
                  <a:lnTo>
                    <a:pt x="1635" y="171"/>
                  </a:lnTo>
                  <a:lnTo>
                    <a:pt x="1635" y="2"/>
                  </a:lnTo>
                  <a:lnTo>
                    <a:pt x="1667" y="2"/>
                  </a:lnTo>
                  <a:lnTo>
                    <a:pt x="1667" y="169"/>
                  </a:lnTo>
                  <a:lnTo>
                    <a:pt x="1666" y="175"/>
                  </a:lnTo>
                  <a:lnTo>
                    <a:pt x="1666" y="181"/>
                  </a:lnTo>
                  <a:lnTo>
                    <a:pt x="1665" y="187"/>
                  </a:lnTo>
                  <a:lnTo>
                    <a:pt x="1663" y="192"/>
                  </a:lnTo>
                  <a:lnTo>
                    <a:pt x="1662" y="197"/>
                  </a:lnTo>
                  <a:lnTo>
                    <a:pt x="1660" y="202"/>
                  </a:lnTo>
                  <a:lnTo>
                    <a:pt x="1657" y="206"/>
                  </a:lnTo>
                  <a:lnTo>
                    <a:pt x="1654" y="209"/>
                  </a:lnTo>
                  <a:lnTo>
                    <a:pt x="1651" y="212"/>
                  </a:lnTo>
                  <a:lnTo>
                    <a:pt x="1646" y="215"/>
                  </a:lnTo>
                  <a:lnTo>
                    <a:pt x="1644" y="216"/>
                  </a:lnTo>
                  <a:lnTo>
                    <a:pt x="1642" y="218"/>
                  </a:lnTo>
                  <a:lnTo>
                    <a:pt x="1638" y="220"/>
                  </a:lnTo>
                  <a:lnTo>
                    <a:pt x="1633" y="222"/>
                  </a:lnTo>
                  <a:lnTo>
                    <a:pt x="1627" y="223"/>
                  </a:lnTo>
                  <a:lnTo>
                    <a:pt x="1622" y="224"/>
                  </a:lnTo>
                  <a:lnTo>
                    <a:pt x="1616" y="224"/>
                  </a:lnTo>
                  <a:lnTo>
                    <a:pt x="1609" y="224"/>
                  </a:lnTo>
                  <a:lnTo>
                    <a:pt x="1604" y="223"/>
                  </a:lnTo>
                  <a:lnTo>
                    <a:pt x="1599" y="222"/>
                  </a:lnTo>
                  <a:lnTo>
                    <a:pt x="1593" y="220"/>
                  </a:lnTo>
                  <a:lnTo>
                    <a:pt x="1589" y="218"/>
                  </a:lnTo>
                  <a:lnTo>
                    <a:pt x="1585" y="215"/>
                  </a:lnTo>
                  <a:lnTo>
                    <a:pt x="1581" y="212"/>
                  </a:lnTo>
                  <a:lnTo>
                    <a:pt x="1578" y="209"/>
                  </a:lnTo>
                  <a:lnTo>
                    <a:pt x="1574" y="206"/>
                  </a:lnTo>
                  <a:lnTo>
                    <a:pt x="1571" y="202"/>
                  </a:lnTo>
                  <a:lnTo>
                    <a:pt x="1569" y="197"/>
                  </a:lnTo>
                  <a:lnTo>
                    <a:pt x="1567" y="192"/>
                  </a:lnTo>
                  <a:lnTo>
                    <a:pt x="1566" y="187"/>
                  </a:lnTo>
                  <a:lnTo>
                    <a:pt x="1565" y="181"/>
                  </a:lnTo>
                  <a:lnTo>
                    <a:pt x="1565" y="175"/>
                  </a:lnTo>
                  <a:lnTo>
                    <a:pt x="1564" y="169"/>
                  </a:lnTo>
                  <a:lnTo>
                    <a:pt x="1564" y="2"/>
                  </a:lnTo>
                  <a:lnTo>
                    <a:pt x="1599" y="2"/>
                  </a:lnTo>
                  <a:close/>
                  <a:moveTo>
                    <a:pt x="1463" y="152"/>
                  </a:moveTo>
                  <a:lnTo>
                    <a:pt x="1496" y="152"/>
                  </a:lnTo>
                  <a:lnTo>
                    <a:pt x="1480" y="41"/>
                  </a:lnTo>
                  <a:lnTo>
                    <a:pt x="1463" y="152"/>
                  </a:lnTo>
                  <a:close/>
                  <a:moveTo>
                    <a:pt x="1542" y="221"/>
                  </a:moveTo>
                  <a:lnTo>
                    <a:pt x="1508" y="221"/>
                  </a:lnTo>
                  <a:lnTo>
                    <a:pt x="1501" y="181"/>
                  </a:lnTo>
                  <a:lnTo>
                    <a:pt x="1459" y="181"/>
                  </a:lnTo>
                  <a:lnTo>
                    <a:pt x="1453" y="221"/>
                  </a:lnTo>
                  <a:lnTo>
                    <a:pt x="1421" y="221"/>
                  </a:lnTo>
                  <a:lnTo>
                    <a:pt x="1457" y="2"/>
                  </a:lnTo>
                  <a:lnTo>
                    <a:pt x="1507" y="2"/>
                  </a:lnTo>
                  <a:lnTo>
                    <a:pt x="1542" y="221"/>
                  </a:lnTo>
                  <a:close/>
                  <a:moveTo>
                    <a:pt x="1339" y="134"/>
                  </a:moveTo>
                  <a:lnTo>
                    <a:pt x="1328" y="154"/>
                  </a:lnTo>
                  <a:lnTo>
                    <a:pt x="1328" y="221"/>
                  </a:lnTo>
                  <a:lnTo>
                    <a:pt x="1293" y="221"/>
                  </a:lnTo>
                  <a:lnTo>
                    <a:pt x="1293" y="2"/>
                  </a:lnTo>
                  <a:lnTo>
                    <a:pt x="1328" y="2"/>
                  </a:lnTo>
                  <a:lnTo>
                    <a:pt x="1328" y="97"/>
                  </a:lnTo>
                  <a:lnTo>
                    <a:pt x="1372" y="2"/>
                  </a:lnTo>
                  <a:lnTo>
                    <a:pt x="1407" y="2"/>
                  </a:lnTo>
                  <a:lnTo>
                    <a:pt x="1359" y="99"/>
                  </a:lnTo>
                  <a:lnTo>
                    <a:pt x="1407" y="221"/>
                  </a:lnTo>
                  <a:lnTo>
                    <a:pt x="1371" y="221"/>
                  </a:lnTo>
                  <a:lnTo>
                    <a:pt x="1339" y="134"/>
                  </a:lnTo>
                  <a:close/>
                  <a:moveTo>
                    <a:pt x="1204" y="94"/>
                  </a:moveTo>
                  <a:lnTo>
                    <a:pt x="1252" y="94"/>
                  </a:lnTo>
                  <a:lnTo>
                    <a:pt x="1252" y="125"/>
                  </a:lnTo>
                  <a:lnTo>
                    <a:pt x="1204" y="125"/>
                  </a:lnTo>
                  <a:lnTo>
                    <a:pt x="1204" y="190"/>
                  </a:lnTo>
                  <a:lnTo>
                    <a:pt x="1263" y="190"/>
                  </a:lnTo>
                  <a:lnTo>
                    <a:pt x="1263" y="221"/>
                  </a:lnTo>
                  <a:lnTo>
                    <a:pt x="1170" y="221"/>
                  </a:lnTo>
                  <a:lnTo>
                    <a:pt x="1170" y="2"/>
                  </a:lnTo>
                  <a:lnTo>
                    <a:pt x="1263" y="2"/>
                  </a:lnTo>
                  <a:lnTo>
                    <a:pt x="1263" y="33"/>
                  </a:lnTo>
                  <a:lnTo>
                    <a:pt x="1204" y="33"/>
                  </a:lnTo>
                  <a:lnTo>
                    <a:pt x="1204" y="94"/>
                  </a:lnTo>
                  <a:close/>
                  <a:moveTo>
                    <a:pt x="1077" y="134"/>
                  </a:moveTo>
                  <a:lnTo>
                    <a:pt x="1067" y="154"/>
                  </a:lnTo>
                  <a:lnTo>
                    <a:pt x="1067" y="221"/>
                  </a:lnTo>
                  <a:lnTo>
                    <a:pt x="1033" y="221"/>
                  </a:lnTo>
                  <a:lnTo>
                    <a:pt x="1033" y="2"/>
                  </a:lnTo>
                  <a:lnTo>
                    <a:pt x="1067" y="2"/>
                  </a:lnTo>
                  <a:lnTo>
                    <a:pt x="1067" y="97"/>
                  </a:lnTo>
                  <a:lnTo>
                    <a:pt x="1112" y="2"/>
                  </a:lnTo>
                  <a:lnTo>
                    <a:pt x="1146" y="2"/>
                  </a:lnTo>
                  <a:lnTo>
                    <a:pt x="1098" y="99"/>
                  </a:lnTo>
                  <a:lnTo>
                    <a:pt x="1146" y="221"/>
                  </a:lnTo>
                  <a:lnTo>
                    <a:pt x="1111" y="221"/>
                  </a:lnTo>
                  <a:lnTo>
                    <a:pt x="1077" y="134"/>
                  </a:lnTo>
                  <a:close/>
                  <a:moveTo>
                    <a:pt x="965" y="2"/>
                  </a:moveTo>
                  <a:lnTo>
                    <a:pt x="999" y="2"/>
                  </a:lnTo>
                  <a:lnTo>
                    <a:pt x="999" y="221"/>
                  </a:lnTo>
                  <a:lnTo>
                    <a:pt x="965" y="221"/>
                  </a:lnTo>
                  <a:lnTo>
                    <a:pt x="965" y="2"/>
                  </a:lnTo>
                  <a:close/>
                  <a:moveTo>
                    <a:pt x="898" y="2"/>
                  </a:moveTo>
                  <a:lnTo>
                    <a:pt x="932" y="2"/>
                  </a:lnTo>
                  <a:lnTo>
                    <a:pt x="932" y="221"/>
                  </a:lnTo>
                  <a:lnTo>
                    <a:pt x="898" y="221"/>
                  </a:lnTo>
                  <a:lnTo>
                    <a:pt x="898" y="2"/>
                  </a:lnTo>
                  <a:close/>
                  <a:moveTo>
                    <a:pt x="783" y="2"/>
                  </a:moveTo>
                  <a:lnTo>
                    <a:pt x="818" y="2"/>
                  </a:lnTo>
                  <a:lnTo>
                    <a:pt x="818" y="190"/>
                  </a:lnTo>
                  <a:lnTo>
                    <a:pt x="875" y="190"/>
                  </a:lnTo>
                  <a:lnTo>
                    <a:pt x="875" y="221"/>
                  </a:lnTo>
                  <a:lnTo>
                    <a:pt x="783" y="221"/>
                  </a:lnTo>
                  <a:lnTo>
                    <a:pt x="783" y="2"/>
                  </a:lnTo>
                  <a:close/>
                  <a:moveTo>
                    <a:pt x="705" y="0"/>
                  </a:moveTo>
                  <a:lnTo>
                    <a:pt x="711" y="0"/>
                  </a:lnTo>
                  <a:lnTo>
                    <a:pt x="717" y="0"/>
                  </a:lnTo>
                  <a:lnTo>
                    <a:pt x="722" y="1"/>
                  </a:lnTo>
                  <a:lnTo>
                    <a:pt x="727" y="3"/>
                  </a:lnTo>
                  <a:lnTo>
                    <a:pt x="732" y="5"/>
                  </a:lnTo>
                  <a:lnTo>
                    <a:pt x="736" y="7"/>
                  </a:lnTo>
                  <a:lnTo>
                    <a:pt x="740" y="10"/>
                  </a:lnTo>
                  <a:lnTo>
                    <a:pt x="743" y="13"/>
                  </a:lnTo>
                  <a:lnTo>
                    <a:pt x="746" y="18"/>
                  </a:lnTo>
                  <a:lnTo>
                    <a:pt x="748" y="22"/>
                  </a:lnTo>
                  <a:lnTo>
                    <a:pt x="751" y="26"/>
                  </a:lnTo>
                  <a:lnTo>
                    <a:pt x="753" y="31"/>
                  </a:lnTo>
                  <a:lnTo>
                    <a:pt x="754" y="37"/>
                  </a:lnTo>
                  <a:lnTo>
                    <a:pt x="755" y="42"/>
                  </a:lnTo>
                  <a:lnTo>
                    <a:pt x="756" y="48"/>
                  </a:lnTo>
                  <a:lnTo>
                    <a:pt x="756" y="55"/>
                  </a:lnTo>
                  <a:lnTo>
                    <a:pt x="756" y="61"/>
                  </a:lnTo>
                  <a:lnTo>
                    <a:pt x="723" y="61"/>
                  </a:lnTo>
                  <a:lnTo>
                    <a:pt x="723" y="52"/>
                  </a:lnTo>
                  <a:lnTo>
                    <a:pt x="723" y="46"/>
                  </a:lnTo>
                  <a:lnTo>
                    <a:pt x="722" y="42"/>
                  </a:lnTo>
                  <a:lnTo>
                    <a:pt x="721" y="39"/>
                  </a:lnTo>
                  <a:lnTo>
                    <a:pt x="719" y="36"/>
                  </a:lnTo>
                  <a:lnTo>
                    <a:pt x="717" y="33"/>
                  </a:lnTo>
                  <a:lnTo>
                    <a:pt x="714" y="31"/>
                  </a:lnTo>
                  <a:lnTo>
                    <a:pt x="710" y="30"/>
                  </a:lnTo>
                  <a:lnTo>
                    <a:pt x="706" y="30"/>
                  </a:lnTo>
                  <a:lnTo>
                    <a:pt x="702" y="30"/>
                  </a:lnTo>
                  <a:lnTo>
                    <a:pt x="699" y="31"/>
                  </a:lnTo>
                  <a:lnTo>
                    <a:pt x="698" y="32"/>
                  </a:lnTo>
                  <a:lnTo>
                    <a:pt x="696" y="33"/>
                  </a:lnTo>
                  <a:lnTo>
                    <a:pt x="693" y="36"/>
                  </a:lnTo>
                  <a:lnTo>
                    <a:pt x="691" y="39"/>
                  </a:lnTo>
                  <a:lnTo>
                    <a:pt x="690" y="42"/>
                  </a:lnTo>
                  <a:lnTo>
                    <a:pt x="689" y="46"/>
                  </a:lnTo>
                  <a:lnTo>
                    <a:pt x="689" y="52"/>
                  </a:lnTo>
                  <a:lnTo>
                    <a:pt x="689" y="56"/>
                  </a:lnTo>
                  <a:lnTo>
                    <a:pt x="689" y="60"/>
                  </a:lnTo>
                  <a:lnTo>
                    <a:pt x="691" y="67"/>
                  </a:lnTo>
                  <a:lnTo>
                    <a:pt x="693" y="70"/>
                  </a:lnTo>
                  <a:lnTo>
                    <a:pt x="696" y="74"/>
                  </a:lnTo>
                  <a:lnTo>
                    <a:pt x="700" y="80"/>
                  </a:lnTo>
                  <a:lnTo>
                    <a:pt x="704" y="86"/>
                  </a:lnTo>
                  <a:lnTo>
                    <a:pt x="710" y="92"/>
                  </a:lnTo>
                  <a:lnTo>
                    <a:pt x="722" y="103"/>
                  </a:lnTo>
                  <a:lnTo>
                    <a:pt x="735" y="116"/>
                  </a:lnTo>
                  <a:lnTo>
                    <a:pt x="741" y="122"/>
                  </a:lnTo>
                  <a:lnTo>
                    <a:pt x="745" y="130"/>
                  </a:lnTo>
                  <a:lnTo>
                    <a:pt x="750" y="138"/>
                  </a:lnTo>
                  <a:lnTo>
                    <a:pt x="754" y="148"/>
                  </a:lnTo>
                  <a:lnTo>
                    <a:pt x="756" y="157"/>
                  </a:lnTo>
                  <a:lnTo>
                    <a:pt x="756" y="162"/>
                  </a:lnTo>
                  <a:lnTo>
                    <a:pt x="756" y="168"/>
                  </a:lnTo>
                  <a:lnTo>
                    <a:pt x="756" y="175"/>
                  </a:lnTo>
                  <a:lnTo>
                    <a:pt x="756" y="180"/>
                  </a:lnTo>
                  <a:lnTo>
                    <a:pt x="755" y="187"/>
                  </a:lnTo>
                  <a:lnTo>
                    <a:pt x="753" y="192"/>
                  </a:lnTo>
                  <a:lnTo>
                    <a:pt x="752" y="196"/>
                  </a:lnTo>
                  <a:lnTo>
                    <a:pt x="748" y="202"/>
                  </a:lnTo>
                  <a:lnTo>
                    <a:pt x="746" y="205"/>
                  </a:lnTo>
                  <a:lnTo>
                    <a:pt x="743" y="209"/>
                  </a:lnTo>
                  <a:lnTo>
                    <a:pt x="740" y="212"/>
                  </a:lnTo>
                  <a:lnTo>
                    <a:pt x="736" y="215"/>
                  </a:lnTo>
                  <a:lnTo>
                    <a:pt x="734" y="216"/>
                  </a:lnTo>
                  <a:lnTo>
                    <a:pt x="732" y="217"/>
                  </a:lnTo>
                  <a:lnTo>
                    <a:pt x="727" y="220"/>
                  </a:lnTo>
                  <a:lnTo>
                    <a:pt x="722" y="222"/>
                  </a:lnTo>
                  <a:lnTo>
                    <a:pt x="717" y="223"/>
                  </a:lnTo>
                  <a:lnTo>
                    <a:pt x="711" y="223"/>
                  </a:lnTo>
                  <a:lnTo>
                    <a:pt x="705" y="224"/>
                  </a:lnTo>
                  <a:lnTo>
                    <a:pt x="699" y="223"/>
                  </a:lnTo>
                  <a:lnTo>
                    <a:pt x="692" y="223"/>
                  </a:lnTo>
                  <a:lnTo>
                    <a:pt x="687" y="222"/>
                  </a:lnTo>
                  <a:lnTo>
                    <a:pt x="683" y="220"/>
                  </a:lnTo>
                  <a:lnTo>
                    <a:pt x="678" y="217"/>
                  </a:lnTo>
                  <a:lnTo>
                    <a:pt x="673" y="215"/>
                  </a:lnTo>
                  <a:lnTo>
                    <a:pt x="670" y="212"/>
                  </a:lnTo>
                  <a:lnTo>
                    <a:pt x="666" y="209"/>
                  </a:lnTo>
                  <a:lnTo>
                    <a:pt x="664" y="205"/>
                  </a:lnTo>
                  <a:lnTo>
                    <a:pt x="661" y="202"/>
                  </a:lnTo>
                  <a:lnTo>
                    <a:pt x="659" y="196"/>
                  </a:lnTo>
                  <a:lnTo>
                    <a:pt x="656" y="192"/>
                  </a:lnTo>
                  <a:lnTo>
                    <a:pt x="655" y="187"/>
                  </a:lnTo>
                  <a:lnTo>
                    <a:pt x="654" y="180"/>
                  </a:lnTo>
                  <a:lnTo>
                    <a:pt x="653" y="175"/>
                  </a:lnTo>
                  <a:lnTo>
                    <a:pt x="653" y="168"/>
                  </a:lnTo>
                  <a:lnTo>
                    <a:pt x="653" y="155"/>
                  </a:lnTo>
                  <a:lnTo>
                    <a:pt x="686" y="155"/>
                  </a:lnTo>
                  <a:lnTo>
                    <a:pt x="686" y="171"/>
                  </a:lnTo>
                  <a:lnTo>
                    <a:pt x="686" y="176"/>
                  </a:lnTo>
                  <a:lnTo>
                    <a:pt x="687" y="180"/>
                  </a:lnTo>
                  <a:lnTo>
                    <a:pt x="688" y="183"/>
                  </a:lnTo>
                  <a:lnTo>
                    <a:pt x="689" y="184"/>
                  </a:lnTo>
                  <a:lnTo>
                    <a:pt x="691" y="187"/>
                  </a:lnTo>
                  <a:lnTo>
                    <a:pt x="693" y="189"/>
                  </a:lnTo>
                  <a:lnTo>
                    <a:pt x="697" y="191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08" y="191"/>
                  </a:lnTo>
                  <a:lnTo>
                    <a:pt x="711" y="191"/>
                  </a:lnTo>
                  <a:lnTo>
                    <a:pt x="715" y="189"/>
                  </a:lnTo>
                  <a:lnTo>
                    <a:pt x="717" y="187"/>
                  </a:lnTo>
                  <a:lnTo>
                    <a:pt x="719" y="184"/>
                  </a:lnTo>
                  <a:lnTo>
                    <a:pt x="721" y="180"/>
                  </a:lnTo>
                  <a:lnTo>
                    <a:pt x="721" y="176"/>
                  </a:lnTo>
                  <a:lnTo>
                    <a:pt x="722" y="171"/>
                  </a:lnTo>
                  <a:lnTo>
                    <a:pt x="722" y="167"/>
                  </a:lnTo>
                  <a:lnTo>
                    <a:pt x="721" y="162"/>
                  </a:lnTo>
                  <a:lnTo>
                    <a:pt x="719" y="155"/>
                  </a:lnTo>
                  <a:lnTo>
                    <a:pt x="718" y="152"/>
                  </a:lnTo>
                  <a:lnTo>
                    <a:pt x="716" y="149"/>
                  </a:lnTo>
                  <a:lnTo>
                    <a:pt x="711" y="142"/>
                  </a:lnTo>
                  <a:lnTo>
                    <a:pt x="706" y="136"/>
                  </a:lnTo>
                  <a:lnTo>
                    <a:pt x="701" y="131"/>
                  </a:lnTo>
                  <a:lnTo>
                    <a:pt x="688" y="119"/>
                  </a:lnTo>
                  <a:lnTo>
                    <a:pt x="675" y="106"/>
                  </a:lnTo>
                  <a:lnTo>
                    <a:pt x="670" y="100"/>
                  </a:lnTo>
                  <a:lnTo>
                    <a:pt x="665" y="93"/>
                  </a:lnTo>
                  <a:lnTo>
                    <a:pt x="661" y="84"/>
                  </a:lnTo>
                  <a:lnTo>
                    <a:pt x="658" y="76"/>
                  </a:lnTo>
                  <a:lnTo>
                    <a:pt x="655" y="65"/>
                  </a:lnTo>
                  <a:lnTo>
                    <a:pt x="654" y="60"/>
                  </a:lnTo>
                  <a:lnTo>
                    <a:pt x="654" y="55"/>
                  </a:lnTo>
                  <a:lnTo>
                    <a:pt x="654" y="48"/>
                  </a:lnTo>
                  <a:lnTo>
                    <a:pt x="655" y="42"/>
                  </a:lnTo>
                  <a:lnTo>
                    <a:pt x="656" y="37"/>
                  </a:lnTo>
                  <a:lnTo>
                    <a:pt x="658" y="31"/>
                  </a:lnTo>
                  <a:lnTo>
                    <a:pt x="660" y="26"/>
                  </a:lnTo>
                  <a:lnTo>
                    <a:pt x="662" y="22"/>
                  </a:lnTo>
                  <a:lnTo>
                    <a:pt x="664" y="18"/>
                  </a:lnTo>
                  <a:lnTo>
                    <a:pt x="667" y="13"/>
                  </a:lnTo>
                  <a:lnTo>
                    <a:pt x="670" y="10"/>
                  </a:lnTo>
                  <a:lnTo>
                    <a:pt x="674" y="7"/>
                  </a:lnTo>
                  <a:lnTo>
                    <a:pt x="677" y="6"/>
                  </a:lnTo>
                  <a:lnTo>
                    <a:pt x="679" y="5"/>
                  </a:lnTo>
                  <a:lnTo>
                    <a:pt x="683" y="3"/>
                  </a:lnTo>
                  <a:lnTo>
                    <a:pt x="688" y="1"/>
                  </a:lnTo>
                  <a:lnTo>
                    <a:pt x="693" y="0"/>
                  </a:lnTo>
                  <a:lnTo>
                    <a:pt x="699" y="0"/>
                  </a:lnTo>
                  <a:lnTo>
                    <a:pt x="705" y="0"/>
                  </a:lnTo>
                  <a:close/>
                  <a:moveTo>
                    <a:pt x="592" y="2"/>
                  </a:moveTo>
                  <a:lnTo>
                    <a:pt x="626" y="2"/>
                  </a:lnTo>
                  <a:lnTo>
                    <a:pt x="626" y="221"/>
                  </a:lnTo>
                  <a:lnTo>
                    <a:pt x="592" y="221"/>
                  </a:lnTo>
                  <a:lnTo>
                    <a:pt x="592" y="2"/>
                  </a:lnTo>
                  <a:close/>
                  <a:moveTo>
                    <a:pt x="491" y="171"/>
                  </a:moveTo>
                  <a:lnTo>
                    <a:pt x="491" y="176"/>
                  </a:lnTo>
                  <a:lnTo>
                    <a:pt x="493" y="180"/>
                  </a:lnTo>
                  <a:lnTo>
                    <a:pt x="494" y="183"/>
                  </a:lnTo>
                  <a:lnTo>
                    <a:pt x="494" y="185"/>
                  </a:lnTo>
                  <a:lnTo>
                    <a:pt x="496" y="187"/>
                  </a:lnTo>
                  <a:lnTo>
                    <a:pt x="499" y="189"/>
                  </a:lnTo>
                  <a:lnTo>
                    <a:pt x="502" y="191"/>
                  </a:lnTo>
                  <a:lnTo>
                    <a:pt x="505" y="192"/>
                  </a:lnTo>
                  <a:lnTo>
                    <a:pt x="509" y="192"/>
                  </a:lnTo>
                  <a:lnTo>
                    <a:pt x="513" y="192"/>
                  </a:lnTo>
                  <a:lnTo>
                    <a:pt x="517" y="191"/>
                  </a:lnTo>
                  <a:lnTo>
                    <a:pt x="520" y="189"/>
                  </a:lnTo>
                  <a:lnTo>
                    <a:pt x="522" y="187"/>
                  </a:lnTo>
                  <a:lnTo>
                    <a:pt x="524" y="185"/>
                  </a:lnTo>
                  <a:lnTo>
                    <a:pt x="525" y="180"/>
                  </a:lnTo>
                  <a:lnTo>
                    <a:pt x="526" y="176"/>
                  </a:lnTo>
                  <a:lnTo>
                    <a:pt x="527" y="171"/>
                  </a:lnTo>
                  <a:lnTo>
                    <a:pt x="527" y="52"/>
                  </a:lnTo>
                  <a:lnTo>
                    <a:pt x="526" y="46"/>
                  </a:lnTo>
                  <a:lnTo>
                    <a:pt x="525" y="42"/>
                  </a:lnTo>
                  <a:lnTo>
                    <a:pt x="525" y="40"/>
                  </a:lnTo>
                  <a:lnTo>
                    <a:pt x="524" y="39"/>
                  </a:lnTo>
                  <a:lnTo>
                    <a:pt x="522" y="36"/>
                  </a:lnTo>
                  <a:lnTo>
                    <a:pt x="520" y="33"/>
                  </a:lnTo>
                  <a:lnTo>
                    <a:pt x="517" y="31"/>
                  </a:lnTo>
                  <a:lnTo>
                    <a:pt x="513" y="30"/>
                  </a:lnTo>
                  <a:lnTo>
                    <a:pt x="509" y="30"/>
                  </a:lnTo>
                  <a:lnTo>
                    <a:pt x="505" y="30"/>
                  </a:lnTo>
                  <a:lnTo>
                    <a:pt x="502" y="31"/>
                  </a:lnTo>
                  <a:lnTo>
                    <a:pt x="499" y="33"/>
                  </a:lnTo>
                  <a:lnTo>
                    <a:pt x="496" y="36"/>
                  </a:lnTo>
                  <a:lnTo>
                    <a:pt x="494" y="39"/>
                  </a:lnTo>
                  <a:lnTo>
                    <a:pt x="493" y="42"/>
                  </a:lnTo>
                  <a:lnTo>
                    <a:pt x="491" y="46"/>
                  </a:lnTo>
                  <a:lnTo>
                    <a:pt x="491" y="52"/>
                  </a:lnTo>
                  <a:lnTo>
                    <a:pt x="491" y="171"/>
                  </a:lnTo>
                  <a:close/>
                  <a:moveTo>
                    <a:pt x="457" y="55"/>
                  </a:moveTo>
                  <a:lnTo>
                    <a:pt x="457" y="48"/>
                  </a:lnTo>
                  <a:lnTo>
                    <a:pt x="458" y="42"/>
                  </a:lnTo>
                  <a:lnTo>
                    <a:pt x="459" y="37"/>
                  </a:lnTo>
                  <a:lnTo>
                    <a:pt x="460" y="33"/>
                  </a:lnTo>
                  <a:lnTo>
                    <a:pt x="460" y="31"/>
                  </a:lnTo>
                  <a:lnTo>
                    <a:pt x="462" y="26"/>
                  </a:lnTo>
                  <a:lnTo>
                    <a:pt x="464" y="22"/>
                  </a:lnTo>
                  <a:lnTo>
                    <a:pt x="467" y="18"/>
                  </a:lnTo>
                  <a:lnTo>
                    <a:pt x="470" y="13"/>
                  </a:lnTo>
                  <a:lnTo>
                    <a:pt x="473" y="10"/>
                  </a:lnTo>
                  <a:lnTo>
                    <a:pt x="478" y="7"/>
                  </a:lnTo>
                  <a:lnTo>
                    <a:pt x="482" y="5"/>
                  </a:lnTo>
                  <a:lnTo>
                    <a:pt x="486" y="3"/>
                  </a:lnTo>
                  <a:lnTo>
                    <a:pt x="491" y="1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0"/>
                  </a:lnTo>
                  <a:lnTo>
                    <a:pt x="515" y="0"/>
                  </a:lnTo>
                  <a:lnTo>
                    <a:pt x="521" y="0"/>
                  </a:lnTo>
                  <a:lnTo>
                    <a:pt x="526" y="1"/>
                  </a:lnTo>
                  <a:lnTo>
                    <a:pt x="532" y="3"/>
                  </a:lnTo>
                  <a:lnTo>
                    <a:pt x="536" y="5"/>
                  </a:lnTo>
                  <a:lnTo>
                    <a:pt x="540" y="7"/>
                  </a:lnTo>
                  <a:lnTo>
                    <a:pt x="544" y="10"/>
                  </a:lnTo>
                  <a:lnTo>
                    <a:pt x="548" y="13"/>
                  </a:lnTo>
                  <a:lnTo>
                    <a:pt x="551" y="18"/>
                  </a:lnTo>
                  <a:lnTo>
                    <a:pt x="554" y="22"/>
                  </a:lnTo>
                  <a:lnTo>
                    <a:pt x="556" y="26"/>
                  </a:lnTo>
                  <a:lnTo>
                    <a:pt x="558" y="31"/>
                  </a:lnTo>
                  <a:lnTo>
                    <a:pt x="559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1" y="168"/>
                  </a:lnTo>
                  <a:lnTo>
                    <a:pt x="561" y="175"/>
                  </a:lnTo>
                  <a:lnTo>
                    <a:pt x="560" y="180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8" y="192"/>
                  </a:lnTo>
                  <a:lnTo>
                    <a:pt x="556" y="196"/>
                  </a:lnTo>
                  <a:lnTo>
                    <a:pt x="554" y="202"/>
                  </a:lnTo>
                  <a:lnTo>
                    <a:pt x="551" y="205"/>
                  </a:lnTo>
                  <a:lnTo>
                    <a:pt x="548" y="209"/>
                  </a:lnTo>
                  <a:lnTo>
                    <a:pt x="544" y="212"/>
                  </a:lnTo>
                  <a:lnTo>
                    <a:pt x="540" y="215"/>
                  </a:lnTo>
                  <a:lnTo>
                    <a:pt x="536" y="217"/>
                  </a:lnTo>
                  <a:lnTo>
                    <a:pt x="532" y="220"/>
                  </a:lnTo>
                  <a:lnTo>
                    <a:pt x="526" y="222"/>
                  </a:lnTo>
                  <a:lnTo>
                    <a:pt x="521" y="223"/>
                  </a:lnTo>
                  <a:lnTo>
                    <a:pt x="515" y="223"/>
                  </a:lnTo>
                  <a:lnTo>
                    <a:pt x="509" y="224"/>
                  </a:lnTo>
                  <a:lnTo>
                    <a:pt x="503" y="223"/>
                  </a:lnTo>
                  <a:lnTo>
                    <a:pt x="497" y="223"/>
                  </a:lnTo>
                  <a:lnTo>
                    <a:pt x="491" y="222"/>
                  </a:lnTo>
                  <a:lnTo>
                    <a:pt x="486" y="220"/>
                  </a:lnTo>
                  <a:lnTo>
                    <a:pt x="482" y="217"/>
                  </a:lnTo>
                  <a:lnTo>
                    <a:pt x="478" y="215"/>
                  </a:lnTo>
                  <a:lnTo>
                    <a:pt x="473" y="212"/>
                  </a:lnTo>
                  <a:lnTo>
                    <a:pt x="470" y="209"/>
                  </a:lnTo>
                  <a:lnTo>
                    <a:pt x="467" y="205"/>
                  </a:lnTo>
                  <a:lnTo>
                    <a:pt x="464" y="202"/>
                  </a:lnTo>
                  <a:lnTo>
                    <a:pt x="462" y="196"/>
                  </a:lnTo>
                  <a:lnTo>
                    <a:pt x="460" y="192"/>
                  </a:lnTo>
                  <a:lnTo>
                    <a:pt x="459" y="187"/>
                  </a:lnTo>
                  <a:lnTo>
                    <a:pt x="458" y="180"/>
                  </a:lnTo>
                  <a:lnTo>
                    <a:pt x="457" y="175"/>
                  </a:lnTo>
                  <a:lnTo>
                    <a:pt x="457" y="168"/>
                  </a:lnTo>
                  <a:lnTo>
                    <a:pt x="457" y="55"/>
                  </a:lnTo>
                  <a:close/>
                  <a:moveTo>
                    <a:pt x="370" y="134"/>
                  </a:moveTo>
                  <a:lnTo>
                    <a:pt x="359" y="154"/>
                  </a:lnTo>
                  <a:lnTo>
                    <a:pt x="359" y="221"/>
                  </a:lnTo>
                  <a:lnTo>
                    <a:pt x="324" y="221"/>
                  </a:lnTo>
                  <a:lnTo>
                    <a:pt x="324" y="2"/>
                  </a:lnTo>
                  <a:lnTo>
                    <a:pt x="359" y="2"/>
                  </a:lnTo>
                  <a:lnTo>
                    <a:pt x="359" y="97"/>
                  </a:lnTo>
                  <a:lnTo>
                    <a:pt x="404" y="2"/>
                  </a:lnTo>
                  <a:lnTo>
                    <a:pt x="439" y="2"/>
                  </a:lnTo>
                  <a:lnTo>
                    <a:pt x="390" y="99"/>
                  </a:lnTo>
                  <a:lnTo>
                    <a:pt x="439" y="221"/>
                  </a:lnTo>
                  <a:lnTo>
                    <a:pt x="403" y="221"/>
                  </a:lnTo>
                  <a:lnTo>
                    <a:pt x="370" y="134"/>
                  </a:lnTo>
                  <a:close/>
                  <a:moveTo>
                    <a:pt x="257" y="2"/>
                  </a:moveTo>
                  <a:lnTo>
                    <a:pt x="292" y="2"/>
                  </a:lnTo>
                  <a:lnTo>
                    <a:pt x="292" y="221"/>
                  </a:lnTo>
                  <a:lnTo>
                    <a:pt x="257" y="221"/>
                  </a:lnTo>
                  <a:lnTo>
                    <a:pt x="257" y="2"/>
                  </a:lnTo>
                  <a:close/>
                  <a:moveTo>
                    <a:pt x="157" y="33"/>
                  </a:moveTo>
                  <a:lnTo>
                    <a:pt x="15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9" y="99"/>
                  </a:lnTo>
                  <a:lnTo>
                    <a:pt x="184" y="98"/>
                  </a:lnTo>
                  <a:lnTo>
                    <a:pt x="185" y="97"/>
                  </a:lnTo>
                  <a:lnTo>
                    <a:pt x="186" y="95"/>
                  </a:lnTo>
                  <a:lnTo>
                    <a:pt x="189" y="93"/>
                  </a:lnTo>
                  <a:lnTo>
                    <a:pt x="190" y="88"/>
                  </a:lnTo>
                  <a:lnTo>
                    <a:pt x="191" y="83"/>
                  </a:lnTo>
                  <a:lnTo>
                    <a:pt x="192" y="77"/>
                  </a:lnTo>
                  <a:lnTo>
                    <a:pt x="192" y="56"/>
                  </a:lnTo>
                  <a:lnTo>
                    <a:pt x="191" y="50"/>
                  </a:lnTo>
                  <a:lnTo>
                    <a:pt x="191" y="45"/>
                  </a:lnTo>
                  <a:lnTo>
                    <a:pt x="189" y="42"/>
                  </a:lnTo>
                  <a:lnTo>
                    <a:pt x="188" y="39"/>
                  </a:lnTo>
                  <a:lnTo>
                    <a:pt x="185" y="36"/>
                  </a:lnTo>
                  <a:lnTo>
                    <a:pt x="184" y="34"/>
                  </a:lnTo>
                  <a:lnTo>
                    <a:pt x="183" y="34"/>
                  </a:lnTo>
                  <a:lnTo>
                    <a:pt x="178" y="33"/>
                  </a:lnTo>
                  <a:lnTo>
                    <a:pt x="174" y="33"/>
                  </a:lnTo>
                  <a:lnTo>
                    <a:pt x="157" y="33"/>
                  </a:lnTo>
                  <a:close/>
                  <a:moveTo>
                    <a:pt x="195" y="221"/>
                  </a:moveTo>
                  <a:lnTo>
                    <a:pt x="193" y="212"/>
                  </a:lnTo>
                  <a:lnTo>
                    <a:pt x="192" y="205"/>
                  </a:lnTo>
                  <a:lnTo>
                    <a:pt x="192" y="194"/>
                  </a:lnTo>
                  <a:lnTo>
                    <a:pt x="192" y="159"/>
                  </a:lnTo>
                  <a:lnTo>
                    <a:pt x="192" y="153"/>
                  </a:lnTo>
                  <a:lnTo>
                    <a:pt x="191" y="147"/>
                  </a:lnTo>
                  <a:lnTo>
                    <a:pt x="189" y="141"/>
                  </a:lnTo>
                  <a:lnTo>
                    <a:pt x="187" y="138"/>
                  </a:lnTo>
                  <a:lnTo>
                    <a:pt x="185" y="136"/>
                  </a:lnTo>
                  <a:lnTo>
                    <a:pt x="184" y="135"/>
                  </a:lnTo>
                  <a:lnTo>
                    <a:pt x="179" y="133"/>
                  </a:lnTo>
                  <a:lnTo>
                    <a:pt x="175" y="132"/>
                  </a:lnTo>
                  <a:lnTo>
                    <a:pt x="170" y="132"/>
                  </a:lnTo>
                  <a:lnTo>
                    <a:pt x="157" y="132"/>
                  </a:lnTo>
                  <a:lnTo>
                    <a:pt x="157" y="221"/>
                  </a:lnTo>
                  <a:lnTo>
                    <a:pt x="123" y="221"/>
                  </a:lnTo>
                  <a:lnTo>
                    <a:pt x="123" y="2"/>
                  </a:lnTo>
                  <a:lnTo>
                    <a:pt x="175" y="2"/>
                  </a:lnTo>
                  <a:lnTo>
                    <a:pt x="182" y="2"/>
                  </a:lnTo>
                  <a:lnTo>
                    <a:pt x="188" y="3"/>
                  </a:lnTo>
                  <a:lnTo>
                    <a:pt x="193" y="4"/>
                  </a:lnTo>
                  <a:lnTo>
                    <a:pt x="199" y="5"/>
                  </a:lnTo>
                  <a:lnTo>
                    <a:pt x="203" y="7"/>
                  </a:lnTo>
                  <a:lnTo>
                    <a:pt x="207" y="9"/>
                  </a:lnTo>
                  <a:lnTo>
                    <a:pt x="211" y="11"/>
                  </a:lnTo>
                  <a:lnTo>
                    <a:pt x="214" y="14"/>
                  </a:lnTo>
                  <a:lnTo>
                    <a:pt x="218" y="18"/>
                  </a:lnTo>
                  <a:lnTo>
                    <a:pt x="220" y="21"/>
                  </a:lnTo>
                  <a:lnTo>
                    <a:pt x="222" y="25"/>
                  </a:lnTo>
                  <a:lnTo>
                    <a:pt x="223" y="30"/>
                  </a:lnTo>
                  <a:lnTo>
                    <a:pt x="225" y="34"/>
                  </a:lnTo>
                  <a:lnTo>
                    <a:pt x="226" y="40"/>
                  </a:lnTo>
                  <a:lnTo>
                    <a:pt x="226" y="46"/>
                  </a:lnTo>
                  <a:lnTo>
                    <a:pt x="226" y="52"/>
                  </a:lnTo>
                  <a:lnTo>
                    <a:pt x="226" y="69"/>
                  </a:lnTo>
                  <a:lnTo>
                    <a:pt x="226" y="78"/>
                  </a:lnTo>
                  <a:lnTo>
                    <a:pt x="225" y="85"/>
                  </a:lnTo>
                  <a:lnTo>
                    <a:pt x="223" y="92"/>
                  </a:lnTo>
                  <a:lnTo>
                    <a:pt x="221" y="97"/>
                  </a:lnTo>
                  <a:lnTo>
                    <a:pt x="220" y="100"/>
                  </a:lnTo>
                  <a:lnTo>
                    <a:pt x="218" y="102"/>
                  </a:lnTo>
                  <a:lnTo>
                    <a:pt x="215" y="104"/>
                  </a:lnTo>
                  <a:lnTo>
                    <a:pt x="213" y="107"/>
                  </a:lnTo>
                  <a:lnTo>
                    <a:pt x="209" y="111"/>
                  </a:lnTo>
                  <a:lnTo>
                    <a:pt x="204" y="114"/>
                  </a:lnTo>
                  <a:lnTo>
                    <a:pt x="207" y="115"/>
                  </a:lnTo>
                  <a:lnTo>
                    <a:pt x="210" y="117"/>
                  </a:lnTo>
                  <a:lnTo>
                    <a:pt x="212" y="119"/>
                  </a:lnTo>
                  <a:lnTo>
                    <a:pt x="214" y="121"/>
                  </a:lnTo>
                  <a:lnTo>
                    <a:pt x="219" y="125"/>
                  </a:lnTo>
                  <a:lnTo>
                    <a:pt x="222" y="131"/>
                  </a:lnTo>
                  <a:lnTo>
                    <a:pt x="224" y="137"/>
                  </a:lnTo>
                  <a:lnTo>
                    <a:pt x="225" y="144"/>
                  </a:lnTo>
                  <a:lnTo>
                    <a:pt x="226" y="149"/>
                  </a:lnTo>
                  <a:lnTo>
                    <a:pt x="226" y="152"/>
                  </a:lnTo>
                  <a:lnTo>
                    <a:pt x="227" y="160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9"/>
                  </a:lnTo>
                  <a:lnTo>
                    <a:pt x="228" y="215"/>
                  </a:lnTo>
                  <a:lnTo>
                    <a:pt x="229" y="217"/>
                  </a:lnTo>
                  <a:lnTo>
                    <a:pt x="230" y="221"/>
                  </a:lnTo>
                  <a:lnTo>
                    <a:pt x="195" y="221"/>
                  </a:lnTo>
                  <a:close/>
                  <a:moveTo>
                    <a:pt x="35" y="94"/>
                  </a:moveTo>
                  <a:lnTo>
                    <a:pt x="82" y="94"/>
                  </a:lnTo>
                  <a:lnTo>
                    <a:pt x="82" y="125"/>
                  </a:lnTo>
                  <a:lnTo>
                    <a:pt x="35" y="125"/>
                  </a:lnTo>
                  <a:lnTo>
                    <a:pt x="35" y="190"/>
                  </a:lnTo>
                  <a:lnTo>
                    <a:pt x="94" y="190"/>
                  </a:lnTo>
                  <a:lnTo>
                    <a:pt x="94" y="221"/>
                  </a:lnTo>
                  <a:lnTo>
                    <a:pt x="0" y="221"/>
                  </a:lnTo>
                  <a:lnTo>
                    <a:pt x="0" y="2"/>
                  </a:lnTo>
                  <a:lnTo>
                    <a:pt x="94" y="2"/>
                  </a:lnTo>
                  <a:lnTo>
                    <a:pt x="94" y="33"/>
                  </a:lnTo>
                  <a:lnTo>
                    <a:pt x="35" y="33"/>
                  </a:lnTo>
                  <a:lnTo>
                    <a:pt x="35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34378522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711016-09EB-42C8-8ACC-984CC93B178C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1869382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D68DE-625A-4F60-9B55-A691C2C47C3D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972445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948080B7-C669-4AA8-A159-87DEDE8B268A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3286747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352FD7-583E-4E7A-8F77-AB160BCC21CE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9" name="Round Same Side Corner Rectangle 8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0" name="Freeform 38"/>
            <p:cNvSpPr>
              <a:spLocks noEditPoints="1"/>
            </p:cNvSpPr>
            <p:nvPr userDrawn="1"/>
          </p:nvSpPr>
          <p:spPr bwMode="auto">
            <a:xfrm>
              <a:off x="8873542" y="6476771"/>
              <a:ext cx="1942286" cy="211200"/>
            </a:xfrm>
            <a:custGeom>
              <a:avLst/>
              <a:gdLst>
                <a:gd name="T0" fmla="*/ 1940 w 2061"/>
                <a:gd name="T1" fmla="*/ 221 h 224"/>
                <a:gd name="T2" fmla="*/ 1890 w 2061"/>
                <a:gd name="T3" fmla="*/ 103 h 224"/>
                <a:gd name="T4" fmla="*/ 1886 w 2061"/>
                <a:gd name="T5" fmla="*/ 36 h 224"/>
                <a:gd name="T6" fmla="*/ 1924 w 2061"/>
                <a:gd name="T7" fmla="*/ 107 h 224"/>
                <a:gd name="T8" fmla="*/ 1888 w 2061"/>
                <a:gd name="T9" fmla="*/ 138 h 224"/>
                <a:gd name="T10" fmla="*/ 1894 w 2061"/>
                <a:gd name="T11" fmla="*/ 4 h 224"/>
                <a:gd name="T12" fmla="*/ 1927 w 2061"/>
                <a:gd name="T13" fmla="*/ 38 h 224"/>
                <a:gd name="T14" fmla="*/ 1762 w 2061"/>
                <a:gd name="T15" fmla="*/ 103 h 224"/>
                <a:gd name="T16" fmla="*/ 1759 w 2061"/>
                <a:gd name="T17" fmla="*/ 36 h 224"/>
                <a:gd name="T18" fmla="*/ 1798 w 2061"/>
                <a:gd name="T19" fmla="*/ 107 h 224"/>
                <a:gd name="T20" fmla="*/ 1762 w 2061"/>
                <a:gd name="T21" fmla="*/ 138 h 224"/>
                <a:gd name="T22" fmla="*/ 1767 w 2061"/>
                <a:gd name="T23" fmla="*/ 4 h 224"/>
                <a:gd name="T24" fmla="*/ 1799 w 2061"/>
                <a:gd name="T25" fmla="*/ 38 h 224"/>
                <a:gd name="T26" fmla="*/ 1604 w 2061"/>
                <a:gd name="T27" fmla="*/ 188 h 224"/>
                <a:gd name="T28" fmla="*/ 1634 w 2061"/>
                <a:gd name="T29" fmla="*/ 180 h 224"/>
                <a:gd name="T30" fmla="*/ 1662 w 2061"/>
                <a:gd name="T31" fmla="*/ 197 h 224"/>
                <a:gd name="T32" fmla="*/ 1627 w 2061"/>
                <a:gd name="T33" fmla="*/ 223 h 224"/>
                <a:gd name="T34" fmla="*/ 1578 w 2061"/>
                <a:gd name="T35" fmla="*/ 209 h 224"/>
                <a:gd name="T36" fmla="*/ 1599 w 2061"/>
                <a:gd name="T37" fmla="*/ 2 h 224"/>
                <a:gd name="T38" fmla="*/ 1421 w 2061"/>
                <a:gd name="T39" fmla="*/ 221 h 224"/>
                <a:gd name="T40" fmla="*/ 1328 w 2061"/>
                <a:gd name="T41" fmla="*/ 97 h 224"/>
                <a:gd name="T42" fmla="*/ 1204 w 2061"/>
                <a:gd name="T43" fmla="*/ 125 h 224"/>
                <a:gd name="T44" fmla="*/ 1077 w 2061"/>
                <a:gd name="T45" fmla="*/ 134 h 224"/>
                <a:gd name="T46" fmla="*/ 1146 w 2061"/>
                <a:gd name="T47" fmla="*/ 221 h 224"/>
                <a:gd name="T48" fmla="*/ 932 w 2061"/>
                <a:gd name="T49" fmla="*/ 221 h 224"/>
                <a:gd name="T50" fmla="*/ 705 w 2061"/>
                <a:gd name="T51" fmla="*/ 0 h 224"/>
                <a:gd name="T52" fmla="*/ 748 w 2061"/>
                <a:gd name="T53" fmla="*/ 22 h 224"/>
                <a:gd name="T54" fmla="*/ 723 w 2061"/>
                <a:gd name="T55" fmla="*/ 46 h 224"/>
                <a:gd name="T56" fmla="*/ 698 w 2061"/>
                <a:gd name="T57" fmla="*/ 32 h 224"/>
                <a:gd name="T58" fmla="*/ 693 w 2061"/>
                <a:gd name="T59" fmla="*/ 70 h 224"/>
                <a:gd name="T60" fmla="*/ 754 w 2061"/>
                <a:gd name="T61" fmla="*/ 148 h 224"/>
                <a:gd name="T62" fmla="*/ 746 w 2061"/>
                <a:gd name="T63" fmla="*/ 205 h 224"/>
                <a:gd name="T64" fmla="*/ 705 w 2061"/>
                <a:gd name="T65" fmla="*/ 224 h 224"/>
                <a:gd name="T66" fmla="*/ 661 w 2061"/>
                <a:gd name="T67" fmla="*/ 202 h 224"/>
                <a:gd name="T68" fmla="*/ 686 w 2061"/>
                <a:gd name="T69" fmla="*/ 176 h 224"/>
                <a:gd name="T70" fmla="*/ 711 w 2061"/>
                <a:gd name="T71" fmla="*/ 191 h 224"/>
                <a:gd name="T72" fmla="*/ 718 w 2061"/>
                <a:gd name="T73" fmla="*/ 152 h 224"/>
                <a:gd name="T74" fmla="*/ 658 w 2061"/>
                <a:gd name="T75" fmla="*/ 76 h 224"/>
                <a:gd name="T76" fmla="*/ 664 w 2061"/>
                <a:gd name="T77" fmla="*/ 18 h 224"/>
                <a:gd name="T78" fmla="*/ 705 w 2061"/>
                <a:gd name="T79" fmla="*/ 0 h 224"/>
                <a:gd name="T80" fmla="*/ 494 w 2061"/>
                <a:gd name="T81" fmla="*/ 185 h 224"/>
                <a:gd name="T82" fmla="*/ 524 w 2061"/>
                <a:gd name="T83" fmla="*/ 185 h 224"/>
                <a:gd name="T84" fmla="*/ 520 w 2061"/>
                <a:gd name="T85" fmla="*/ 33 h 224"/>
                <a:gd name="T86" fmla="*/ 491 w 2061"/>
                <a:gd name="T87" fmla="*/ 46 h 224"/>
                <a:gd name="T88" fmla="*/ 464 w 2061"/>
                <a:gd name="T89" fmla="*/ 22 h 224"/>
                <a:gd name="T90" fmla="*/ 509 w 2061"/>
                <a:gd name="T91" fmla="*/ 0 h 224"/>
                <a:gd name="T92" fmla="*/ 554 w 2061"/>
                <a:gd name="T93" fmla="*/ 22 h 224"/>
                <a:gd name="T94" fmla="*/ 559 w 2061"/>
                <a:gd name="T95" fmla="*/ 187 h 224"/>
                <a:gd name="T96" fmla="*/ 532 w 2061"/>
                <a:gd name="T97" fmla="*/ 220 h 224"/>
                <a:gd name="T98" fmla="*/ 478 w 2061"/>
                <a:gd name="T99" fmla="*/ 215 h 224"/>
                <a:gd name="T100" fmla="*/ 457 w 2061"/>
                <a:gd name="T101" fmla="*/ 168 h 224"/>
                <a:gd name="T102" fmla="*/ 439 w 2061"/>
                <a:gd name="T103" fmla="*/ 2 h 224"/>
                <a:gd name="T104" fmla="*/ 157 w 2061"/>
                <a:gd name="T105" fmla="*/ 33 h 224"/>
                <a:gd name="T106" fmla="*/ 191 w 2061"/>
                <a:gd name="T107" fmla="*/ 83 h 224"/>
                <a:gd name="T108" fmla="*/ 178 w 2061"/>
                <a:gd name="T109" fmla="*/ 33 h 224"/>
                <a:gd name="T110" fmla="*/ 189 w 2061"/>
                <a:gd name="T111" fmla="*/ 141 h 224"/>
                <a:gd name="T112" fmla="*/ 123 w 2061"/>
                <a:gd name="T113" fmla="*/ 2 h 224"/>
                <a:gd name="T114" fmla="*/ 218 w 2061"/>
                <a:gd name="T115" fmla="*/ 18 h 224"/>
                <a:gd name="T116" fmla="*/ 225 w 2061"/>
                <a:gd name="T117" fmla="*/ 85 h 224"/>
                <a:gd name="T118" fmla="*/ 210 w 2061"/>
                <a:gd name="T119" fmla="*/ 117 h 224"/>
                <a:gd name="T120" fmla="*/ 227 w 2061"/>
                <a:gd name="T121" fmla="*/ 194 h 224"/>
                <a:gd name="T122" fmla="*/ 35 w 2061"/>
                <a:gd name="T123" fmla="*/ 12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1" h="224">
                  <a:moveTo>
                    <a:pt x="1982" y="152"/>
                  </a:moveTo>
                  <a:lnTo>
                    <a:pt x="2015" y="152"/>
                  </a:lnTo>
                  <a:lnTo>
                    <a:pt x="1998" y="41"/>
                  </a:lnTo>
                  <a:lnTo>
                    <a:pt x="1982" y="152"/>
                  </a:lnTo>
                  <a:close/>
                  <a:moveTo>
                    <a:pt x="2061" y="221"/>
                  </a:moveTo>
                  <a:lnTo>
                    <a:pt x="2026" y="221"/>
                  </a:lnTo>
                  <a:lnTo>
                    <a:pt x="2020" y="181"/>
                  </a:lnTo>
                  <a:lnTo>
                    <a:pt x="1977" y="181"/>
                  </a:lnTo>
                  <a:lnTo>
                    <a:pt x="1972" y="221"/>
                  </a:lnTo>
                  <a:lnTo>
                    <a:pt x="1940" y="221"/>
                  </a:lnTo>
                  <a:lnTo>
                    <a:pt x="1975" y="2"/>
                  </a:lnTo>
                  <a:lnTo>
                    <a:pt x="2026" y="2"/>
                  </a:lnTo>
                  <a:lnTo>
                    <a:pt x="2061" y="221"/>
                  </a:lnTo>
                  <a:close/>
                  <a:moveTo>
                    <a:pt x="1860" y="33"/>
                  </a:moveTo>
                  <a:lnTo>
                    <a:pt x="1860" y="107"/>
                  </a:lnTo>
                  <a:lnTo>
                    <a:pt x="1877" y="107"/>
                  </a:lnTo>
                  <a:lnTo>
                    <a:pt x="1880" y="107"/>
                  </a:lnTo>
                  <a:lnTo>
                    <a:pt x="1884" y="106"/>
                  </a:lnTo>
                  <a:lnTo>
                    <a:pt x="1886" y="104"/>
                  </a:lnTo>
                  <a:lnTo>
                    <a:pt x="1890" y="103"/>
                  </a:lnTo>
                  <a:lnTo>
                    <a:pt x="1891" y="100"/>
                  </a:lnTo>
                  <a:lnTo>
                    <a:pt x="1893" y="96"/>
                  </a:lnTo>
                  <a:lnTo>
                    <a:pt x="1893" y="92"/>
                  </a:lnTo>
                  <a:lnTo>
                    <a:pt x="1894" y="86"/>
                  </a:lnTo>
                  <a:lnTo>
                    <a:pt x="1894" y="53"/>
                  </a:lnTo>
                  <a:lnTo>
                    <a:pt x="1893" y="48"/>
                  </a:lnTo>
                  <a:lnTo>
                    <a:pt x="1893" y="44"/>
                  </a:lnTo>
                  <a:lnTo>
                    <a:pt x="1891" y="40"/>
                  </a:lnTo>
                  <a:lnTo>
                    <a:pt x="1890" y="38"/>
                  </a:lnTo>
                  <a:lnTo>
                    <a:pt x="1886" y="36"/>
                  </a:lnTo>
                  <a:lnTo>
                    <a:pt x="1884" y="34"/>
                  </a:lnTo>
                  <a:lnTo>
                    <a:pt x="1880" y="33"/>
                  </a:lnTo>
                  <a:lnTo>
                    <a:pt x="1877" y="33"/>
                  </a:lnTo>
                  <a:lnTo>
                    <a:pt x="1860" y="33"/>
                  </a:lnTo>
                  <a:close/>
                  <a:moveTo>
                    <a:pt x="1928" y="56"/>
                  </a:moveTo>
                  <a:lnTo>
                    <a:pt x="1928" y="84"/>
                  </a:lnTo>
                  <a:lnTo>
                    <a:pt x="1928" y="91"/>
                  </a:lnTo>
                  <a:lnTo>
                    <a:pt x="1928" y="97"/>
                  </a:lnTo>
                  <a:lnTo>
                    <a:pt x="1927" y="102"/>
                  </a:lnTo>
                  <a:lnTo>
                    <a:pt x="1924" y="107"/>
                  </a:lnTo>
                  <a:lnTo>
                    <a:pt x="1923" y="113"/>
                  </a:lnTo>
                  <a:lnTo>
                    <a:pt x="1920" y="117"/>
                  </a:lnTo>
                  <a:lnTo>
                    <a:pt x="1918" y="121"/>
                  </a:lnTo>
                  <a:lnTo>
                    <a:pt x="1915" y="124"/>
                  </a:lnTo>
                  <a:lnTo>
                    <a:pt x="1912" y="128"/>
                  </a:lnTo>
                  <a:lnTo>
                    <a:pt x="1908" y="131"/>
                  </a:lnTo>
                  <a:lnTo>
                    <a:pt x="1903" y="133"/>
                  </a:lnTo>
                  <a:lnTo>
                    <a:pt x="1899" y="135"/>
                  </a:lnTo>
                  <a:lnTo>
                    <a:pt x="1894" y="136"/>
                  </a:lnTo>
                  <a:lnTo>
                    <a:pt x="1888" y="138"/>
                  </a:lnTo>
                  <a:lnTo>
                    <a:pt x="1883" y="138"/>
                  </a:lnTo>
                  <a:lnTo>
                    <a:pt x="1877" y="138"/>
                  </a:lnTo>
                  <a:lnTo>
                    <a:pt x="1860" y="138"/>
                  </a:lnTo>
                  <a:lnTo>
                    <a:pt x="1860" y="221"/>
                  </a:lnTo>
                  <a:lnTo>
                    <a:pt x="1826" y="221"/>
                  </a:lnTo>
                  <a:lnTo>
                    <a:pt x="1826" y="2"/>
                  </a:lnTo>
                  <a:lnTo>
                    <a:pt x="1877" y="2"/>
                  </a:lnTo>
                  <a:lnTo>
                    <a:pt x="1883" y="2"/>
                  </a:lnTo>
                  <a:lnTo>
                    <a:pt x="1888" y="3"/>
                  </a:lnTo>
                  <a:lnTo>
                    <a:pt x="1894" y="4"/>
                  </a:lnTo>
                  <a:lnTo>
                    <a:pt x="1899" y="5"/>
                  </a:lnTo>
                  <a:lnTo>
                    <a:pt x="1903" y="7"/>
                  </a:lnTo>
                  <a:lnTo>
                    <a:pt x="1908" y="9"/>
                  </a:lnTo>
                  <a:lnTo>
                    <a:pt x="1912" y="12"/>
                  </a:lnTo>
                  <a:lnTo>
                    <a:pt x="1915" y="15"/>
                  </a:lnTo>
                  <a:lnTo>
                    <a:pt x="1918" y="20"/>
                  </a:lnTo>
                  <a:lnTo>
                    <a:pt x="1920" y="23"/>
                  </a:lnTo>
                  <a:lnTo>
                    <a:pt x="1923" y="28"/>
                  </a:lnTo>
                  <a:lnTo>
                    <a:pt x="1924" y="32"/>
                  </a:lnTo>
                  <a:lnTo>
                    <a:pt x="1927" y="38"/>
                  </a:lnTo>
                  <a:lnTo>
                    <a:pt x="1928" y="43"/>
                  </a:lnTo>
                  <a:lnTo>
                    <a:pt x="1928" y="49"/>
                  </a:lnTo>
                  <a:lnTo>
                    <a:pt x="1928" y="56"/>
                  </a:lnTo>
                  <a:close/>
                  <a:moveTo>
                    <a:pt x="1733" y="33"/>
                  </a:moveTo>
                  <a:lnTo>
                    <a:pt x="1733" y="107"/>
                  </a:lnTo>
                  <a:lnTo>
                    <a:pt x="1749" y="107"/>
                  </a:lnTo>
                  <a:lnTo>
                    <a:pt x="1753" y="107"/>
                  </a:lnTo>
                  <a:lnTo>
                    <a:pt x="1756" y="106"/>
                  </a:lnTo>
                  <a:lnTo>
                    <a:pt x="1759" y="104"/>
                  </a:lnTo>
                  <a:lnTo>
                    <a:pt x="1762" y="103"/>
                  </a:lnTo>
                  <a:lnTo>
                    <a:pt x="1764" y="100"/>
                  </a:lnTo>
                  <a:lnTo>
                    <a:pt x="1765" y="96"/>
                  </a:lnTo>
                  <a:lnTo>
                    <a:pt x="1766" y="92"/>
                  </a:lnTo>
                  <a:lnTo>
                    <a:pt x="1766" y="86"/>
                  </a:lnTo>
                  <a:lnTo>
                    <a:pt x="1766" y="53"/>
                  </a:lnTo>
                  <a:lnTo>
                    <a:pt x="1766" y="48"/>
                  </a:lnTo>
                  <a:lnTo>
                    <a:pt x="1765" y="44"/>
                  </a:lnTo>
                  <a:lnTo>
                    <a:pt x="1764" y="40"/>
                  </a:lnTo>
                  <a:lnTo>
                    <a:pt x="1762" y="38"/>
                  </a:lnTo>
                  <a:lnTo>
                    <a:pt x="1759" y="36"/>
                  </a:lnTo>
                  <a:lnTo>
                    <a:pt x="1756" y="34"/>
                  </a:lnTo>
                  <a:lnTo>
                    <a:pt x="1753" y="33"/>
                  </a:lnTo>
                  <a:lnTo>
                    <a:pt x="1749" y="33"/>
                  </a:lnTo>
                  <a:lnTo>
                    <a:pt x="1733" y="33"/>
                  </a:lnTo>
                  <a:close/>
                  <a:moveTo>
                    <a:pt x="1801" y="56"/>
                  </a:moveTo>
                  <a:lnTo>
                    <a:pt x="1801" y="84"/>
                  </a:lnTo>
                  <a:lnTo>
                    <a:pt x="1801" y="91"/>
                  </a:lnTo>
                  <a:lnTo>
                    <a:pt x="1800" y="97"/>
                  </a:lnTo>
                  <a:lnTo>
                    <a:pt x="1799" y="102"/>
                  </a:lnTo>
                  <a:lnTo>
                    <a:pt x="1798" y="107"/>
                  </a:lnTo>
                  <a:lnTo>
                    <a:pt x="1795" y="113"/>
                  </a:lnTo>
                  <a:lnTo>
                    <a:pt x="1793" y="117"/>
                  </a:lnTo>
                  <a:lnTo>
                    <a:pt x="1790" y="121"/>
                  </a:lnTo>
                  <a:lnTo>
                    <a:pt x="1788" y="124"/>
                  </a:lnTo>
                  <a:lnTo>
                    <a:pt x="1784" y="128"/>
                  </a:lnTo>
                  <a:lnTo>
                    <a:pt x="1781" y="131"/>
                  </a:lnTo>
                  <a:lnTo>
                    <a:pt x="1776" y="133"/>
                  </a:lnTo>
                  <a:lnTo>
                    <a:pt x="1771" y="135"/>
                  </a:lnTo>
                  <a:lnTo>
                    <a:pt x="1767" y="136"/>
                  </a:lnTo>
                  <a:lnTo>
                    <a:pt x="1762" y="138"/>
                  </a:lnTo>
                  <a:lnTo>
                    <a:pt x="1755" y="138"/>
                  </a:lnTo>
                  <a:lnTo>
                    <a:pt x="1749" y="138"/>
                  </a:lnTo>
                  <a:lnTo>
                    <a:pt x="1733" y="138"/>
                  </a:lnTo>
                  <a:lnTo>
                    <a:pt x="1733" y="221"/>
                  </a:lnTo>
                  <a:lnTo>
                    <a:pt x="1698" y="221"/>
                  </a:lnTo>
                  <a:lnTo>
                    <a:pt x="1698" y="2"/>
                  </a:lnTo>
                  <a:lnTo>
                    <a:pt x="1749" y="2"/>
                  </a:lnTo>
                  <a:lnTo>
                    <a:pt x="1755" y="2"/>
                  </a:lnTo>
                  <a:lnTo>
                    <a:pt x="1762" y="3"/>
                  </a:lnTo>
                  <a:lnTo>
                    <a:pt x="1767" y="4"/>
                  </a:lnTo>
                  <a:lnTo>
                    <a:pt x="1771" y="5"/>
                  </a:lnTo>
                  <a:lnTo>
                    <a:pt x="1776" y="7"/>
                  </a:lnTo>
                  <a:lnTo>
                    <a:pt x="1781" y="9"/>
                  </a:lnTo>
                  <a:lnTo>
                    <a:pt x="1784" y="12"/>
                  </a:lnTo>
                  <a:lnTo>
                    <a:pt x="1788" y="15"/>
                  </a:lnTo>
                  <a:lnTo>
                    <a:pt x="1790" y="20"/>
                  </a:lnTo>
                  <a:lnTo>
                    <a:pt x="1793" y="23"/>
                  </a:lnTo>
                  <a:lnTo>
                    <a:pt x="1795" y="28"/>
                  </a:lnTo>
                  <a:lnTo>
                    <a:pt x="1798" y="32"/>
                  </a:lnTo>
                  <a:lnTo>
                    <a:pt x="1799" y="38"/>
                  </a:lnTo>
                  <a:lnTo>
                    <a:pt x="1800" y="43"/>
                  </a:lnTo>
                  <a:lnTo>
                    <a:pt x="1801" y="49"/>
                  </a:lnTo>
                  <a:lnTo>
                    <a:pt x="1801" y="56"/>
                  </a:lnTo>
                  <a:close/>
                  <a:moveTo>
                    <a:pt x="1599" y="2"/>
                  </a:moveTo>
                  <a:lnTo>
                    <a:pt x="1599" y="171"/>
                  </a:lnTo>
                  <a:lnTo>
                    <a:pt x="1599" y="176"/>
                  </a:lnTo>
                  <a:lnTo>
                    <a:pt x="1600" y="180"/>
                  </a:lnTo>
                  <a:lnTo>
                    <a:pt x="1601" y="183"/>
                  </a:lnTo>
                  <a:lnTo>
                    <a:pt x="1602" y="185"/>
                  </a:lnTo>
                  <a:lnTo>
                    <a:pt x="1604" y="188"/>
                  </a:lnTo>
                  <a:lnTo>
                    <a:pt x="1606" y="190"/>
                  </a:lnTo>
                  <a:lnTo>
                    <a:pt x="1609" y="191"/>
                  </a:lnTo>
                  <a:lnTo>
                    <a:pt x="1612" y="192"/>
                  </a:lnTo>
                  <a:lnTo>
                    <a:pt x="1617" y="192"/>
                  </a:lnTo>
                  <a:lnTo>
                    <a:pt x="1621" y="192"/>
                  </a:lnTo>
                  <a:lnTo>
                    <a:pt x="1624" y="191"/>
                  </a:lnTo>
                  <a:lnTo>
                    <a:pt x="1627" y="190"/>
                  </a:lnTo>
                  <a:lnTo>
                    <a:pt x="1629" y="188"/>
                  </a:lnTo>
                  <a:lnTo>
                    <a:pt x="1631" y="185"/>
                  </a:lnTo>
                  <a:lnTo>
                    <a:pt x="1634" y="180"/>
                  </a:lnTo>
                  <a:lnTo>
                    <a:pt x="1634" y="176"/>
                  </a:lnTo>
                  <a:lnTo>
                    <a:pt x="1635" y="171"/>
                  </a:lnTo>
                  <a:lnTo>
                    <a:pt x="1635" y="2"/>
                  </a:lnTo>
                  <a:lnTo>
                    <a:pt x="1667" y="2"/>
                  </a:lnTo>
                  <a:lnTo>
                    <a:pt x="1667" y="169"/>
                  </a:lnTo>
                  <a:lnTo>
                    <a:pt x="1666" y="175"/>
                  </a:lnTo>
                  <a:lnTo>
                    <a:pt x="1666" y="181"/>
                  </a:lnTo>
                  <a:lnTo>
                    <a:pt x="1665" y="187"/>
                  </a:lnTo>
                  <a:lnTo>
                    <a:pt x="1663" y="192"/>
                  </a:lnTo>
                  <a:lnTo>
                    <a:pt x="1662" y="197"/>
                  </a:lnTo>
                  <a:lnTo>
                    <a:pt x="1660" y="202"/>
                  </a:lnTo>
                  <a:lnTo>
                    <a:pt x="1657" y="206"/>
                  </a:lnTo>
                  <a:lnTo>
                    <a:pt x="1654" y="209"/>
                  </a:lnTo>
                  <a:lnTo>
                    <a:pt x="1651" y="212"/>
                  </a:lnTo>
                  <a:lnTo>
                    <a:pt x="1646" y="215"/>
                  </a:lnTo>
                  <a:lnTo>
                    <a:pt x="1644" y="216"/>
                  </a:lnTo>
                  <a:lnTo>
                    <a:pt x="1642" y="218"/>
                  </a:lnTo>
                  <a:lnTo>
                    <a:pt x="1638" y="220"/>
                  </a:lnTo>
                  <a:lnTo>
                    <a:pt x="1633" y="222"/>
                  </a:lnTo>
                  <a:lnTo>
                    <a:pt x="1627" y="223"/>
                  </a:lnTo>
                  <a:lnTo>
                    <a:pt x="1622" y="224"/>
                  </a:lnTo>
                  <a:lnTo>
                    <a:pt x="1616" y="224"/>
                  </a:lnTo>
                  <a:lnTo>
                    <a:pt x="1609" y="224"/>
                  </a:lnTo>
                  <a:lnTo>
                    <a:pt x="1604" y="223"/>
                  </a:lnTo>
                  <a:lnTo>
                    <a:pt x="1599" y="222"/>
                  </a:lnTo>
                  <a:lnTo>
                    <a:pt x="1593" y="220"/>
                  </a:lnTo>
                  <a:lnTo>
                    <a:pt x="1589" y="218"/>
                  </a:lnTo>
                  <a:lnTo>
                    <a:pt x="1585" y="215"/>
                  </a:lnTo>
                  <a:lnTo>
                    <a:pt x="1581" y="212"/>
                  </a:lnTo>
                  <a:lnTo>
                    <a:pt x="1578" y="209"/>
                  </a:lnTo>
                  <a:lnTo>
                    <a:pt x="1574" y="206"/>
                  </a:lnTo>
                  <a:lnTo>
                    <a:pt x="1571" y="202"/>
                  </a:lnTo>
                  <a:lnTo>
                    <a:pt x="1569" y="197"/>
                  </a:lnTo>
                  <a:lnTo>
                    <a:pt x="1567" y="192"/>
                  </a:lnTo>
                  <a:lnTo>
                    <a:pt x="1566" y="187"/>
                  </a:lnTo>
                  <a:lnTo>
                    <a:pt x="1565" y="181"/>
                  </a:lnTo>
                  <a:lnTo>
                    <a:pt x="1565" y="175"/>
                  </a:lnTo>
                  <a:lnTo>
                    <a:pt x="1564" y="169"/>
                  </a:lnTo>
                  <a:lnTo>
                    <a:pt x="1564" y="2"/>
                  </a:lnTo>
                  <a:lnTo>
                    <a:pt x="1599" y="2"/>
                  </a:lnTo>
                  <a:close/>
                  <a:moveTo>
                    <a:pt x="1463" y="152"/>
                  </a:moveTo>
                  <a:lnTo>
                    <a:pt x="1496" y="152"/>
                  </a:lnTo>
                  <a:lnTo>
                    <a:pt x="1480" y="41"/>
                  </a:lnTo>
                  <a:lnTo>
                    <a:pt x="1463" y="152"/>
                  </a:lnTo>
                  <a:close/>
                  <a:moveTo>
                    <a:pt x="1542" y="221"/>
                  </a:moveTo>
                  <a:lnTo>
                    <a:pt x="1508" y="221"/>
                  </a:lnTo>
                  <a:lnTo>
                    <a:pt x="1501" y="181"/>
                  </a:lnTo>
                  <a:lnTo>
                    <a:pt x="1459" y="181"/>
                  </a:lnTo>
                  <a:lnTo>
                    <a:pt x="1453" y="221"/>
                  </a:lnTo>
                  <a:lnTo>
                    <a:pt x="1421" y="221"/>
                  </a:lnTo>
                  <a:lnTo>
                    <a:pt x="1457" y="2"/>
                  </a:lnTo>
                  <a:lnTo>
                    <a:pt x="1507" y="2"/>
                  </a:lnTo>
                  <a:lnTo>
                    <a:pt x="1542" y="221"/>
                  </a:lnTo>
                  <a:close/>
                  <a:moveTo>
                    <a:pt x="1339" y="134"/>
                  </a:moveTo>
                  <a:lnTo>
                    <a:pt x="1328" y="154"/>
                  </a:lnTo>
                  <a:lnTo>
                    <a:pt x="1328" y="221"/>
                  </a:lnTo>
                  <a:lnTo>
                    <a:pt x="1293" y="221"/>
                  </a:lnTo>
                  <a:lnTo>
                    <a:pt x="1293" y="2"/>
                  </a:lnTo>
                  <a:lnTo>
                    <a:pt x="1328" y="2"/>
                  </a:lnTo>
                  <a:lnTo>
                    <a:pt x="1328" y="97"/>
                  </a:lnTo>
                  <a:lnTo>
                    <a:pt x="1372" y="2"/>
                  </a:lnTo>
                  <a:lnTo>
                    <a:pt x="1407" y="2"/>
                  </a:lnTo>
                  <a:lnTo>
                    <a:pt x="1359" y="99"/>
                  </a:lnTo>
                  <a:lnTo>
                    <a:pt x="1407" y="221"/>
                  </a:lnTo>
                  <a:lnTo>
                    <a:pt x="1371" y="221"/>
                  </a:lnTo>
                  <a:lnTo>
                    <a:pt x="1339" y="134"/>
                  </a:lnTo>
                  <a:close/>
                  <a:moveTo>
                    <a:pt x="1204" y="94"/>
                  </a:moveTo>
                  <a:lnTo>
                    <a:pt x="1252" y="94"/>
                  </a:lnTo>
                  <a:lnTo>
                    <a:pt x="1252" y="125"/>
                  </a:lnTo>
                  <a:lnTo>
                    <a:pt x="1204" y="125"/>
                  </a:lnTo>
                  <a:lnTo>
                    <a:pt x="1204" y="190"/>
                  </a:lnTo>
                  <a:lnTo>
                    <a:pt x="1263" y="190"/>
                  </a:lnTo>
                  <a:lnTo>
                    <a:pt x="1263" y="221"/>
                  </a:lnTo>
                  <a:lnTo>
                    <a:pt x="1170" y="221"/>
                  </a:lnTo>
                  <a:lnTo>
                    <a:pt x="1170" y="2"/>
                  </a:lnTo>
                  <a:lnTo>
                    <a:pt x="1263" y="2"/>
                  </a:lnTo>
                  <a:lnTo>
                    <a:pt x="1263" y="33"/>
                  </a:lnTo>
                  <a:lnTo>
                    <a:pt x="1204" y="33"/>
                  </a:lnTo>
                  <a:lnTo>
                    <a:pt x="1204" y="94"/>
                  </a:lnTo>
                  <a:close/>
                  <a:moveTo>
                    <a:pt x="1077" y="134"/>
                  </a:moveTo>
                  <a:lnTo>
                    <a:pt x="1067" y="154"/>
                  </a:lnTo>
                  <a:lnTo>
                    <a:pt x="1067" y="221"/>
                  </a:lnTo>
                  <a:lnTo>
                    <a:pt x="1033" y="221"/>
                  </a:lnTo>
                  <a:lnTo>
                    <a:pt x="1033" y="2"/>
                  </a:lnTo>
                  <a:lnTo>
                    <a:pt x="1067" y="2"/>
                  </a:lnTo>
                  <a:lnTo>
                    <a:pt x="1067" y="97"/>
                  </a:lnTo>
                  <a:lnTo>
                    <a:pt x="1112" y="2"/>
                  </a:lnTo>
                  <a:lnTo>
                    <a:pt x="1146" y="2"/>
                  </a:lnTo>
                  <a:lnTo>
                    <a:pt x="1098" y="99"/>
                  </a:lnTo>
                  <a:lnTo>
                    <a:pt x="1146" y="221"/>
                  </a:lnTo>
                  <a:lnTo>
                    <a:pt x="1111" y="221"/>
                  </a:lnTo>
                  <a:lnTo>
                    <a:pt x="1077" y="134"/>
                  </a:lnTo>
                  <a:close/>
                  <a:moveTo>
                    <a:pt x="965" y="2"/>
                  </a:moveTo>
                  <a:lnTo>
                    <a:pt x="999" y="2"/>
                  </a:lnTo>
                  <a:lnTo>
                    <a:pt x="999" y="221"/>
                  </a:lnTo>
                  <a:lnTo>
                    <a:pt x="965" y="221"/>
                  </a:lnTo>
                  <a:lnTo>
                    <a:pt x="965" y="2"/>
                  </a:lnTo>
                  <a:close/>
                  <a:moveTo>
                    <a:pt x="898" y="2"/>
                  </a:moveTo>
                  <a:lnTo>
                    <a:pt x="932" y="2"/>
                  </a:lnTo>
                  <a:lnTo>
                    <a:pt x="932" y="221"/>
                  </a:lnTo>
                  <a:lnTo>
                    <a:pt x="898" y="221"/>
                  </a:lnTo>
                  <a:lnTo>
                    <a:pt x="898" y="2"/>
                  </a:lnTo>
                  <a:close/>
                  <a:moveTo>
                    <a:pt x="783" y="2"/>
                  </a:moveTo>
                  <a:lnTo>
                    <a:pt x="818" y="2"/>
                  </a:lnTo>
                  <a:lnTo>
                    <a:pt x="818" y="190"/>
                  </a:lnTo>
                  <a:lnTo>
                    <a:pt x="875" y="190"/>
                  </a:lnTo>
                  <a:lnTo>
                    <a:pt x="875" y="221"/>
                  </a:lnTo>
                  <a:lnTo>
                    <a:pt x="783" y="221"/>
                  </a:lnTo>
                  <a:lnTo>
                    <a:pt x="783" y="2"/>
                  </a:lnTo>
                  <a:close/>
                  <a:moveTo>
                    <a:pt x="705" y="0"/>
                  </a:moveTo>
                  <a:lnTo>
                    <a:pt x="711" y="0"/>
                  </a:lnTo>
                  <a:lnTo>
                    <a:pt x="717" y="0"/>
                  </a:lnTo>
                  <a:lnTo>
                    <a:pt x="722" y="1"/>
                  </a:lnTo>
                  <a:lnTo>
                    <a:pt x="727" y="3"/>
                  </a:lnTo>
                  <a:lnTo>
                    <a:pt x="732" y="5"/>
                  </a:lnTo>
                  <a:lnTo>
                    <a:pt x="736" y="7"/>
                  </a:lnTo>
                  <a:lnTo>
                    <a:pt x="740" y="10"/>
                  </a:lnTo>
                  <a:lnTo>
                    <a:pt x="743" y="13"/>
                  </a:lnTo>
                  <a:lnTo>
                    <a:pt x="746" y="18"/>
                  </a:lnTo>
                  <a:lnTo>
                    <a:pt x="748" y="22"/>
                  </a:lnTo>
                  <a:lnTo>
                    <a:pt x="751" y="26"/>
                  </a:lnTo>
                  <a:lnTo>
                    <a:pt x="753" y="31"/>
                  </a:lnTo>
                  <a:lnTo>
                    <a:pt x="754" y="37"/>
                  </a:lnTo>
                  <a:lnTo>
                    <a:pt x="755" y="42"/>
                  </a:lnTo>
                  <a:lnTo>
                    <a:pt x="756" y="48"/>
                  </a:lnTo>
                  <a:lnTo>
                    <a:pt x="756" y="55"/>
                  </a:lnTo>
                  <a:lnTo>
                    <a:pt x="756" y="61"/>
                  </a:lnTo>
                  <a:lnTo>
                    <a:pt x="723" y="61"/>
                  </a:lnTo>
                  <a:lnTo>
                    <a:pt x="723" y="52"/>
                  </a:lnTo>
                  <a:lnTo>
                    <a:pt x="723" y="46"/>
                  </a:lnTo>
                  <a:lnTo>
                    <a:pt x="722" y="42"/>
                  </a:lnTo>
                  <a:lnTo>
                    <a:pt x="721" y="39"/>
                  </a:lnTo>
                  <a:lnTo>
                    <a:pt x="719" y="36"/>
                  </a:lnTo>
                  <a:lnTo>
                    <a:pt x="717" y="33"/>
                  </a:lnTo>
                  <a:lnTo>
                    <a:pt x="714" y="31"/>
                  </a:lnTo>
                  <a:lnTo>
                    <a:pt x="710" y="30"/>
                  </a:lnTo>
                  <a:lnTo>
                    <a:pt x="706" y="30"/>
                  </a:lnTo>
                  <a:lnTo>
                    <a:pt x="702" y="30"/>
                  </a:lnTo>
                  <a:lnTo>
                    <a:pt x="699" y="31"/>
                  </a:lnTo>
                  <a:lnTo>
                    <a:pt x="698" y="32"/>
                  </a:lnTo>
                  <a:lnTo>
                    <a:pt x="696" y="33"/>
                  </a:lnTo>
                  <a:lnTo>
                    <a:pt x="693" y="36"/>
                  </a:lnTo>
                  <a:lnTo>
                    <a:pt x="691" y="39"/>
                  </a:lnTo>
                  <a:lnTo>
                    <a:pt x="690" y="42"/>
                  </a:lnTo>
                  <a:lnTo>
                    <a:pt x="689" y="46"/>
                  </a:lnTo>
                  <a:lnTo>
                    <a:pt x="689" y="52"/>
                  </a:lnTo>
                  <a:lnTo>
                    <a:pt x="689" y="56"/>
                  </a:lnTo>
                  <a:lnTo>
                    <a:pt x="689" y="60"/>
                  </a:lnTo>
                  <a:lnTo>
                    <a:pt x="691" y="67"/>
                  </a:lnTo>
                  <a:lnTo>
                    <a:pt x="693" y="70"/>
                  </a:lnTo>
                  <a:lnTo>
                    <a:pt x="696" y="74"/>
                  </a:lnTo>
                  <a:lnTo>
                    <a:pt x="700" y="80"/>
                  </a:lnTo>
                  <a:lnTo>
                    <a:pt x="704" y="86"/>
                  </a:lnTo>
                  <a:lnTo>
                    <a:pt x="710" y="92"/>
                  </a:lnTo>
                  <a:lnTo>
                    <a:pt x="722" y="103"/>
                  </a:lnTo>
                  <a:lnTo>
                    <a:pt x="735" y="116"/>
                  </a:lnTo>
                  <a:lnTo>
                    <a:pt x="741" y="122"/>
                  </a:lnTo>
                  <a:lnTo>
                    <a:pt x="745" y="130"/>
                  </a:lnTo>
                  <a:lnTo>
                    <a:pt x="750" y="138"/>
                  </a:lnTo>
                  <a:lnTo>
                    <a:pt x="754" y="148"/>
                  </a:lnTo>
                  <a:lnTo>
                    <a:pt x="756" y="157"/>
                  </a:lnTo>
                  <a:lnTo>
                    <a:pt x="756" y="162"/>
                  </a:lnTo>
                  <a:lnTo>
                    <a:pt x="756" y="168"/>
                  </a:lnTo>
                  <a:lnTo>
                    <a:pt x="756" y="175"/>
                  </a:lnTo>
                  <a:lnTo>
                    <a:pt x="756" y="180"/>
                  </a:lnTo>
                  <a:lnTo>
                    <a:pt x="755" y="187"/>
                  </a:lnTo>
                  <a:lnTo>
                    <a:pt x="753" y="192"/>
                  </a:lnTo>
                  <a:lnTo>
                    <a:pt x="752" y="196"/>
                  </a:lnTo>
                  <a:lnTo>
                    <a:pt x="748" y="202"/>
                  </a:lnTo>
                  <a:lnTo>
                    <a:pt x="746" y="205"/>
                  </a:lnTo>
                  <a:lnTo>
                    <a:pt x="743" y="209"/>
                  </a:lnTo>
                  <a:lnTo>
                    <a:pt x="740" y="212"/>
                  </a:lnTo>
                  <a:lnTo>
                    <a:pt x="736" y="215"/>
                  </a:lnTo>
                  <a:lnTo>
                    <a:pt x="734" y="216"/>
                  </a:lnTo>
                  <a:lnTo>
                    <a:pt x="732" y="217"/>
                  </a:lnTo>
                  <a:lnTo>
                    <a:pt x="727" y="220"/>
                  </a:lnTo>
                  <a:lnTo>
                    <a:pt x="722" y="222"/>
                  </a:lnTo>
                  <a:lnTo>
                    <a:pt x="717" y="223"/>
                  </a:lnTo>
                  <a:lnTo>
                    <a:pt x="711" y="223"/>
                  </a:lnTo>
                  <a:lnTo>
                    <a:pt x="705" y="224"/>
                  </a:lnTo>
                  <a:lnTo>
                    <a:pt x="699" y="223"/>
                  </a:lnTo>
                  <a:lnTo>
                    <a:pt x="692" y="223"/>
                  </a:lnTo>
                  <a:lnTo>
                    <a:pt x="687" y="222"/>
                  </a:lnTo>
                  <a:lnTo>
                    <a:pt x="683" y="220"/>
                  </a:lnTo>
                  <a:lnTo>
                    <a:pt x="678" y="217"/>
                  </a:lnTo>
                  <a:lnTo>
                    <a:pt x="673" y="215"/>
                  </a:lnTo>
                  <a:lnTo>
                    <a:pt x="670" y="212"/>
                  </a:lnTo>
                  <a:lnTo>
                    <a:pt x="666" y="209"/>
                  </a:lnTo>
                  <a:lnTo>
                    <a:pt x="664" y="205"/>
                  </a:lnTo>
                  <a:lnTo>
                    <a:pt x="661" y="202"/>
                  </a:lnTo>
                  <a:lnTo>
                    <a:pt x="659" y="196"/>
                  </a:lnTo>
                  <a:lnTo>
                    <a:pt x="656" y="192"/>
                  </a:lnTo>
                  <a:lnTo>
                    <a:pt x="655" y="187"/>
                  </a:lnTo>
                  <a:lnTo>
                    <a:pt x="654" y="180"/>
                  </a:lnTo>
                  <a:lnTo>
                    <a:pt x="653" y="175"/>
                  </a:lnTo>
                  <a:lnTo>
                    <a:pt x="653" y="168"/>
                  </a:lnTo>
                  <a:lnTo>
                    <a:pt x="653" y="155"/>
                  </a:lnTo>
                  <a:lnTo>
                    <a:pt x="686" y="155"/>
                  </a:lnTo>
                  <a:lnTo>
                    <a:pt x="686" y="171"/>
                  </a:lnTo>
                  <a:lnTo>
                    <a:pt x="686" y="176"/>
                  </a:lnTo>
                  <a:lnTo>
                    <a:pt x="687" y="180"/>
                  </a:lnTo>
                  <a:lnTo>
                    <a:pt x="688" y="183"/>
                  </a:lnTo>
                  <a:lnTo>
                    <a:pt x="689" y="184"/>
                  </a:lnTo>
                  <a:lnTo>
                    <a:pt x="691" y="187"/>
                  </a:lnTo>
                  <a:lnTo>
                    <a:pt x="693" y="189"/>
                  </a:lnTo>
                  <a:lnTo>
                    <a:pt x="697" y="191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08" y="191"/>
                  </a:lnTo>
                  <a:lnTo>
                    <a:pt x="711" y="191"/>
                  </a:lnTo>
                  <a:lnTo>
                    <a:pt x="715" y="189"/>
                  </a:lnTo>
                  <a:lnTo>
                    <a:pt x="717" y="187"/>
                  </a:lnTo>
                  <a:lnTo>
                    <a:pt x="719" y="184"/>
                  </a:lnTo>
                  <a:lnTo>
                    <a:pt x="721" y="180"/>
                  </a:lnTo>
                  <a:lnTo>
                    <a:pt x="721" y="176"/>
                  </a:lnTo>
                  <a:lnTo>
                    <a:pt x="722" y="171"/>
                  </a:lnTo>
                  <a:lnTo>
                    <a:pt x="722" y="167"/>
                  </a:lnTo>
                  <a:lnTo>
                    <a:pt x="721" y="162"/>
                  </a:lnTo>
                  <a:lnTo>
                    <a:pt x="719" y="155"/>
                  </a:lnTo>
                  <a:lnTo>
                    <a:pt x="718" y="152"/>
                  </a:lnTo>
                  <a:lnTo>
                    <a:pt x="716" y="149"/>
                  </a:lnTo>
                  <a:lnTo>
                    <a:pt x="711" y="142"/>
                  </a:lnTo>
                  <a:lnTo>
                    <a:pt x="706" y="136"/>
                  </a:lnTo>
                  <a:lnTo>
                    <a:pt x="701" y="131"/>
                  </a:lnTo>
                  <a:lnTo>
                    <a:pt x="688" y="119"/>
                  </a:lnTo>
                  <a:lnTo>
                    <a:pt x="675" y="106"/>
                  </a:lnTo>
                  <a:lnTo>
                    <a:pt x="670" y="100"/>
                  </a:lnTo>
                  <a:lnTo>
                    <a:pt x="665" y="93"/>
                  </a:lnTo>
                  <a:lnTo>
                    <a:pt x="661" y="84"/>
                  </a:lnTo>
                  <a:lnTo>
                    <a:pt x="658" y="76"/>
                  </a:lnTo>
                  <a:lnTo>
                    <a:pt x="655" y="65"/>
                  </a:lnTo>
                  <a:lnTo>
                    <a:pt x="654" y="60"/>
                  </a:lnTo>
                  <a:lnTo>
                    <a:pt x="654" y="55"/>
                  </a:lnTo>
                  <a:lnTo>
                    <a:pt x="654" y="48"/>
                  </a:lnTo>
                  <a:lnTo>
                    <a:pt x="655" y="42"/>
                  </a:lnTo>
                  <a:lnTo>
                    <a:pt x="656" y="37"/>
                  </a:lnTo>
                  <a:lnTo>
                    <a:pt x="658" y="31"/>
                  </a:lnTo>
                  <a:lnTo>
                    <a:pt x="660" y="26"/>
                  </a:lnTo>
                  <a:lnTo>
                    <a:pt x="662" y="22"/>
                  </a:lnTo>
                  <a:lnTo>
                    <a:pt x="664" y="18"/>
                  </a:lnTo>
                  <a:lnTo>
                    <a:pt x="667" y="13"/>
                  </a:lnTo>
                  <a:lnTo>
                    <a:pt x="670" y="10"/>
                  </a:lnTo>
                  <a:lnTo>
                    <a:pt x="674" y="7"/>
                  </a:lnTo>
                  <a:lnTo>
                    <a:pt x="677" y="6"/>
                  </a:lnTo>
                  <a:lnTo>
                    <a:pt x="679" y="5"/>
                  </a:lnTo>
                  <a:lnTo>
                    <a:pt x="683" y="3"/>
                  </a:lnTo>
                  <a:lnTo>
                    <a:pt x="688" y="1"/>
                  </a:lnTo>
                  <a:lnTo>
                    <a:pt x="693" y="0"/>
                  </a:lnTo>
                  <a:lnTo>
                    <a:pt x="699" y="0"/>
                  </a:lnTo>
                  <a:lnTo>
                    <a:pt x="705" y="0"/>
                  </a:lnTo>
                  <a:close/>
                  <a:moveTo>
                    <a:pt x="592" y="2"/>
                  </a:moveTo>
                  <a:lnTo>
                    <a:pt x="626" y="2"/>
                  </a:lnTo>
                  <a:lnTo>
                    <a:pt x="626" y="221"/>
                  </a:lnTo>
                  <a:lnTo>
                    <a:pt x="592" y="221"/>
                  </a:lnTo>
                  <a:lnTo>
                    <a:pt x="592" y="2"/>
                  </a:lnTo>
                  <a:close/>
                  <a:moveTo>
                    <a:pt x="491" y="171"/>
                  </a:moveTo>
                  <a:lnTo>
                    <a:pt x="491" y="176"/>
                  </a:lnTo>
                  <a:lnTo>
                    <a:pt x="493" y="180"/>
                  </a:lnTo>
                  <a:lnTo>
                    <a:pt x="494" y="183"/>
                  </a:lnTo>
                  <a:lnTo>
                    <a:pt x="494" y="185"/>
                  </a:lnTo>
                  <a:lnTo>
                    <a:pt x="496" y="187"/>
                  </a:lnTo>
                  <a:lnTo>
                    <a:pt x="499" y="189"/>
                  </a:lnTo>
                  <a:lnTo>
                    <a:pt x="502" y="191"/>
                  </a:lnTo>
                  <a:lnTo>
                    <a:pt x="505" y="192"/>
                  </a:lnTo>
                  <a:lnTo>
                    <a:pt x="509" y="192"/>
                  </a:lnTo>
                  <a:lnTo>
                    <a:pt x="513" y="192"/>
                  </a:lnTo>
                  <a:lnTo>
                    <a:pt x="517" y="191"/>
                  </a:lnTo>
                  <a:lnTo>
                    <a:pt x="520" y="189"/>
                  </a:lnTo>
                  <a:lnTo>
                    <a:pt x="522" y="187"/>
                  </a:lnTo>
                  <a:lnTo>
                    <a:pt x="524" y="185"/>
                  </a:lnTo>
                  <a:lnTo>
                    <a:pt x="525" y="180"/>
                  </a:lnTo>
                  <a:lnTo>
                    <a:pt x="526" y="176"/>
                  </a:lnTo>
                  <a:lnTo>
                    <a:pt x="527" y="171"/>
                  </a:lnTo>
                  <a:lnTo>
                    <a:pt x="527" y="52"/>
                  </a:lnTo>
                  <a:lnTo>
                    <a:pt x="526" y="46"/>
                  </a:lnTo>
                  <a:lnTo>
                    <a:pt x="525" y="42"/>
                  </a:lnTo>
                  <a:lnTo>
                    <a:pt x="525" y="40"/>
                  </a:lnTo>
                  <a:lnTo>
                    <a:pt x="524" y="39"/>
                  </a:lnTo>
                  <a:lnTo>
                    <a:pt x="522" y="36"/>
                  </a:lnTo>
                  <a:lnTo>
                    <a:pt x="520" y="33"/>
                  </a:lnTo>
                  <a:lnTo>
                    <a:pt x="517" y="31"/>
                  </a:lnTo>
                  <a:lnTo>
                    <a:pt x="513" y="30"/>
                  </a:lnTo>
                  <a:lnTo>
                    <a:pt x="509" y="30"/>
                  </a:lnTo>
                  <a:lnTo>
                    <a:pt x="505" y="30"/>
                  </a:lnTo>
                  <a:lnTo>
                    <a:pt x="502" y="31"/>
                  </a:lnTo>
                  <a:lnTo>
                    <a:pt x="499" y="33"/>
                  </a:lnTo>
                  <a:lnTo>
                    <a:pt x="496" y="36"/>
                  </a:lnTo>
                  <a:lnTo>
                    <a:pt x="494" y="39"/>
                  </a:lnTo>
                  <a:lnTo>
                    <a:pt x="493" y="42"/>
                  </a:lnTo>
                  <a:lnTo>
                    <a:pt x="491" y="46"/>
                  </a:lnTo>
                  <a:lnTo>
                    <a:pt x="491" y="52"/>
                  </a:lnTo>
                  <a:lnTo>
                    <a:pt x="491" y="171"/>
                  </a:lnTo>
                  <a:close/>
                  <a:moveTo>
                    <a:pt x="457" y="55"/>
                  </a:moveTo>
                  <a:lnTo>
                    <a:pt x="457" y="48"/>
                  </a:lnTo>
                  <a:lnTo>
                    <a:pt x="458" y="42"/>
                  </a:lnTo>
                  <a:lnTo>
                    <a:pt x="459" y="37"/>
                  </a:lnTo>
                  <a:lnTo>
                    <a:pt x="460" y="33"/>
                  </a:lnTo>
                  <a:lnTo>
                    <a:pt x="460" y="31"/>
                  </a:lnTo>
                  <a:lnTo>
                    <a:pt x="462" y="26"/>
                  </a:lnTo>
                  <a:lnTo>
                    <a:pt x="464" y="22"/>
                  </a:lnTo>
                  <a:lnTo>
                    <a:pt x="467" y="18"/>
                  </a:lnTo>
                  <a:lnTo>
                    <a:pt x="470" y="13"/>
                  </a:lnTo>
                  <a:lnTo>
                    <a:pt x="473" y="10"/>
                  </a:lnTo>
                  <a:lnTo>
                    <a:pt x="478" y="7"/>
                  </a:lnTo>
                  <a:lnTo>
                    <a:pt x="482" y="5"/>
                  </a:lnTo>
                  <a:lnTo>
                    <a:pt x="486" y="3"/>
                  </a:lnTo>
                  <a:lnTo>
                    <a:pt x="491" y="1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0"/>
                  </a:lnTo>
                  <a:lnTo>
                    <a:pt x="515" y="0"/>
                  </a:lnTo>
                  <a:lnTo>
                    <a:pt x="521" y="0"/>
                  </a:lnTo>
                  <a:lnTo>
                    <a:pt x="526" y="1"/>
                  </a:lnTo>
                  <a:lnTo>
                    <a:pt x="532" y="3"/>
                  </a:lnTo>
                  <a:lnTo>
                    <a:pt x="536" y="5"/>
                  </a:lnTo>
                  <a:lnTo>
                    <a:pt x="540" y="7"/>
                  </a:lnTo>
                  <a:lnTo>
                    <a:pt x="544" y="10"/>
                  </a:lnTo>
                  <a:lnTo>
                    <a:pt x="548" y="13"/>
                  </a:lnTo>
                  <a:lnTo>
                    <a:pt x="551" y="18"/>
                  </a:lnTo>
                  <a:lnTo>
                    <a:pt x="554" y="22"/>
                  </a:lnTo>
                  <a:lnTo>
                    <a:pt x="556" y="26"/>
                  </a:lnTo>
                  <a:lnTo>
                    <a:pt x="558" y="31"/>
                  </a:lnTo>
                  <a:lnTo>
                    <a:pt x="559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1" y="168"/>
                  </a:lnTo>
                  <a:lnTo>
                    <a:pt x="561" y="175"/>
                  </a:lnTo>
                  <a:lnTo>
                    <a:pt x="560" y="180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8" y="192"/>
                  </a:lnTo>
                  <a:lnTo>
                    <a:pt x="556" y="196"/>
                  </a:lnTo>
                  <a:lnTo>
                    <a:pt x="554" y="202"/>
                  </a:lnTo>
                  <a:lnTo>
                    <a:pt x="551" y="205"/>
                  </a:lnTo>
                  <a:lnTo>
                    <a:pt x="548" y="209"/>
                  </a:lnTo>
                  <a:lnTo>
                    <a:pt x="544" y="212"/>
                  </a:lnTo>
                  <a:lnTo>
                    <a:pt x="540" y="215"/>
                  </a:lnTo>
                  <a:lnTo>
                    <a:pt x="536" y="217"/>
                  </a:lnTo>
                  <a:lnTo>
                    <a:pt x="532" y="220"/>
                  </a:lnTo>
                  <a:lnTo>
                    <a:pt x="526" y="222"/>
                  </a:lnTo>
                  <a:lnTo>
                    <a:pt x="521" y="223"/>
                  </a:lnTo>
                  <a:lnTo>
                    <a:pt x="515" y="223"/>
                  </a:lnTo>
                  <a:lnTo>
                    <a:pt x="509" y="224"/>
                  </a:lnTo>
                  <a:lnTo>
                    <a:pt x="503" y="223"/>
                  </a:lnTo>
                  <a:lnTo>
                    <a:pt x="497" y="223"/>
                  </a:lnTo>
                  <a:lnTo>
                    <a:pt x="491" y="222"/>
                  </a:lnTo>
                  <a:lnTo>
                    <a:pt x="486" y="220"/>
                  </a:lnTo>
                  <a:lnTo>
                    <a:pt x="482" y="217"/>
                  </a:lnTo>
                  <a:lnTo>
                    <a:pt x="478" y="215"/>
                  </a:lnTo>
                  <a:lnTo>
                    <a:pt x="473" y="212"/>
                  </a:lnTo>
                  <a:lnTo>
                    <a:pt x="470" y="209"/>
                  </a:lnTo>
                  <a:lnTo>
                    <a:pt x="467" y="205"/>
                  </a:lnTo>
                  <a:lnTo>
                    <a:pt x="464" y="202"/>
                  </a:lnTo>
                  <a:lnTo>
                    <a:pt x="462" y="196"/>
                  </a:lnTo>
                  <a:lnTo>
                    <a:pt x="460" y="192"/>
                  </a:lnTo>
                  <a:lnTo>
                    <a:pt x="459" y="187"/>
                  </a:lnTo>
                  <a:lnTo>
                    <a:pt x="458" y="180"/>
                  </a:lnTo>
                  <a:lnTo>
                    <a:pt x="457" y="175"/>
                  </a:lnTo>
                  <a:lnTo>
                    <a:pt x="457" y="168"/>
                  </a:lnTo>
                  <a:lnTo>
                    <a:pt x="457" y="55"/>
                  </a:lnTo>
                  <a:close/>
                  <a:moveTo>
                    <a:pt x="370" y="134"/>
                  </a:moveTo>
                  <a:lnTo>
                    <a:pt x="359" y="154"/>
                  </a:lnTo>
                  <a:lnTo>
                    <a:pt x="359" y="221"/>
                  </a:lnTo>
                  <a:lnTo>
                    <a:pt x="324" y="221"/>
                  </a:lnTo>
                  <a:lnTo>
                    <a:pt x="324" y="2"/>
                  </a:lnTo>
                  <a:lnTo>
                    <a:pt x="359" y="2"/>
                  </a:lnTo>
                  <a:lnTo>
                    <a:pt x="359" y="97"/>
                  </a:lnTo>
                  <a:lnTo>
                    <a:pt x="404" y="2"/>
                  </a:lnTo>
                  <a:lnTo>
                    <a:pt x="439" y="2"/>
                  </a:lnTo>
                  <a:lnTo>
                    <a:pt x="390" y="99"/>
                  </a:lnTo>
                  <a:lnTo>
                    <a:pt x="439" y="221"/>
                  </a:lnTo>
                  <a:lnTo>
                    <a:pt x="403" y="221"/>
                  </a:lnTo>
                  <a:lnTo>
                    <a:pt x="370" y="134"/>
                  </a:lnTo>
                  <a:close/>
                  <a:moveTo>
                    <a:pt x="257" y="2"/>
                  </a:moveTo>
                  <a:lnTo>
                    <a:pt x="292" y="2"/>
                  </a:lnTo>
                  <a:lnTo>
                    <a:pt x="292" y="221"/>
                  </a:lnTo>
                  <a:lnTo>
                    <a:pt x="257" y="221"/>
                  </a:lnTo>
                  <a:lnTo>
                    <a:pt x="257" y="2"/>
                  </a:lnTo>
                  <a:close/>
                  <a:moveTo>
                    <a:pt x="157" y="33"/>
                  </a:moveTo>
                  <a:lnTo>
                    <a:pt x="15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9" y="99"/>
                  </a:lnTo>
                  <a:lnTo>
                    <a:pt x="184" y="98"/>
                  </a:lnTo>
                  <a:lnTo>
                    <a:pt x="185" y="97"/>
                  </a:lnTo>
                  <a:lnTo>
                    <a:pt x="186" y="95"/>
                  </a:lnTo>
                  <a:lnTo>
                    <a:pt x="189" y="93"/>
                  </a:lnTo>
                  <a:lnTo>
                    <a:pt x="190" y="88"/>
                  </a:lnTo>
                  <a:lnTo>
                    <a:pt x="191" y="83"/>
                  </a:lnTo>
                  <a:lnTo>
                    <a:pt x="192" y="77"/>
                  </a:lnTo>
                  <a:lnTo>
                    <a:pt x="192" y="56"/>
                  </a:lnTo>
                  <a:lnTo>
                    <a:pt x="191" y="50"/>
                  </a:lnTo>
                  <a:lnTo>
                    <a:pt x="191" y="45"/>
                  </a:lnTo>
                  <a:lnTo>
                    <a:pt x="189" y="42"/>
                  </a:lnTo>
                  <a:lnTo>
                    <a:pt x="188" y="39"/>
                  </a:lnTo>
                  <a:lnTo>
                    <a:pt x="185" y="36"/>
                  </a:lnTo>
                  <a:lnTo>
                    <a:pt x="184" y="34"/>
                  </a:lnTo>
                  <a:lnTo>
                    <a:pt x="183" y="34"/>
                  </a:lnTo>
                  <a:lnTo>
                    <a:pt x="178" y="33"/>
                  </a:lnTo>
                  <a:lnTo>
                    <a:pt x="174" y="33"/>
                  </a:lnTo>
                  <a:lnTo>
                    <a:pt x="157" y="33"/>
                  </a:lnTo>
                  <a:close/>
                  <a:moveTo>
                    <a:pt x="195" y="221"/>
                  </a:moveTo>
                  <a:lnTo>
                    <a:pt x="193" y="212"/>
                  </a:lnTo>
                  <a:lnTo>
                    <a:pt x="192" y="205"/>
                  </a:lnTo>
                  <a:lnTo>
                    <a:pt x="192" y="194"/>
                  </a:lnTo>
                  <a:lnTo>
                    <a:pt x="192" y="159"/>
                  </a:lnTo>
                  <a:lnTo>
                    <a:pt x="192" y="153"/>
                  </a:lnTo>
                  <a:lnTo>
                    <a:pt x="191" y="147"/>
                  </a:lnTo>
                  <a:lnTo>
                    <a:pt x="189" y="141"/>
                  </a:lnTo>
                  <a:lnTo>
                    <a:pt x="187" y="138"/>
                  </a:lnTo>
                  <a:lnTo>
                    <a:pt x="185" y="136"/>
                  </a:lnTo>
                  <a:lnTo>
                    <a:pt x="184" y="135"/>
                  </a:lnTo>
                  <a:lnTo>
                    <a:pt x="179" y="133"/>
                  </a:lnTo>
                  <a:lnTo>
                    <a:pt x="175" y="132"/>
                  </a:lnTo>
                  <a:lnTo>
                    <a:pt x="170" y="132"/>
                  </a:lnTo>
                  <a:lnTo>
                    <a:pt x="157" y="132"/>
                  </a:lnTo>
                  <a:lnTo>
                    <a:pt x="157" y="221"/>
                  </a:lnTo>
                  <a:lnTo>
                    <a:pt x="123" y="221"/>
                  </a:lnTo>
                  <a:lnTo>
                    <a:pt x="123" y="2"/>
                  </a:lnTo>
                  <a:lnTo>
                    <a:pt x="175" y="2"/>
                  </a:lnTo>
                  <a:lnTo>
                    <a:pt x="182" y="2"/>
                  </a:lnTo>
                  <a:lnTo>
                    <a:pt x="188" y="3"/>
                  </a:lnTo>
                  <a:lnTo>
                    <a:pt x="193" y="4"/>
                  </a:lnTo>
                  <a:lnTo>
                    <a:pt x="199" y="5"/>
                  </a:lnTo>
                  <a:lnTo>
                    <a:pt x="203" y="7"/>
                  </a:lnTo>
                  <a:lnTo>
                    <a:pt x="207" y="9"/>
                  </a:lnTo>
                  <a:lnTo>
                    <a:pt x="211" y="11"/>
                  </a:lnTo>
                  <a:lnTo>
                    <a:pt x="214" y="14"/>
                  </a:lnTo>
                  <a:lnTo>
                    <a:pt x="218" y="18"/>
                  </a:lnTo>
                  <a:lnTo>
                    <a:pt x="220" y="21"/>
                  </a:lnTo>
                  <a:lnTo>
                    <a:pt x="222" y="25"/>
                  </a:lnTo>
                  <a:lnTo>
                    <a:pt x="223" y="30"/>
                  </a:lnTo>
                  <a:lnTo>
                    <a:pt x="225" y="34"/>
                  </a:lnTo>
                  <a:lnTo>
                    <a:pt x="226" y="40"/>
                  </a:lnTo>
                  <a:lnTo>
                    <a:pt x="226" y="46"/>
                  </a:lnTo>
                  <a:lnTo>
                    <a:pt x="226" y="52"/>
                  </a:lnTo>
                  <a:lnTo>
                    <a:pt x="226" y="69"/>
                  </a:lnTo>
                  <a:lnTo>
                    <a:pt x="226" y="78"/>
                  </a:lnTo>
                  <a:lnTo>
                    <a:pt x="225" y="85"/>
                  </a:lnTo>
                  <a:lnTo>
                    <a:pt x="223" y="92"/>
                  </a:lnTo>
                  <a:lnTo>
                    <a:pt x="221" y="97"/>
                  </a:lnTo>
                  <a:lnTo>
                    <a:pt x="220" y="100"/>
                  </a:lnTo>
                  <a:lnTo>
                    <a:pt x="218" y="102"/>
                  </a:lnTo>
                  <a:lnTo>
                    <a:pt x="215" y="104"/>
                  </a:lnTo>
                  <a:lnTo>
                    <a:pt x="213" y="107"/>
                  </a:lnTo>
                  <a:lnTo>
                    <a:pt x="209" y="111"/>
                  </a:lnTo>
                  <a:lnTo>
                    <a:pt x="204" y="114"/>
                  </a:lnTo>
                  <a:lnTo>
                    <a:pt x="207" y="115"/>
                  </a:lnTo>
                  <a:lnTo>
                    <a:pt x="210" y="117"/>
                  </a:lnTo>
                  <a:lnTo>
                    <a:pt x="212" y="119"/>
                  </a:lnTo>
                  <a:lnTo>
                    <a:pt x="214" y="121"/>
                  </a:lnTo>
                  <a:lnTo>
                    <a:pt x="219" y="125"/>
                  </a:lnTo>
                  <a:lnTo>
                    <a:pt x="222" y="131"/>
                  </a:lnTo>
                  <a:lnTo>
                    <a:pt x="224" y="137"/>
                  </a:lnTo>
                  <a:lnTo>
                    <a:pt x="225" y="144"/>
                  </a:lnTo>
                  <a:lnTo>
                    <a:pt x="226" y="149"/>
                  </a:lnTo>
                  <a:lnTo>
                    <a:pt x="226" y="152"/>
                  </a:lnTo>
                  <a:lnTo>
                    <a:pt x="227" y="160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9"/>
                  </a:lnTo>
                  <a:lnTo>
                    <a:pt x="228" y="215"/>
                  </a:lnTo>
                  <a:lnTo>
                    <a:pt x="229" y="217"/>
                  </a:lnTo>
                  <a:lnTo>
                    <a:pt x="230" y="221"/>
                  </a:lnTo>
                  <a:lnTo>
                    <a:pt x="195" y="221"/>
                  </a:lnTo>
                  <a:close/>
                  <a:moveTo>
                    <a:pt x="35" y="94"/>
                  </a:moveTo>
                  <a:lnTo>
                    <a:pt x="82" y="94"/>
                  </a:lnTo>
                  <a:lnTo>
                    <a:pt x="82" y="125"/>
                  </a:lnTo>
                  <a:lnTo>
                    <a:pt x="35" y="125"/>
                  </a:lnTo>
                  <a:lnTo>
                    <a:pt x="35" y="190"/>
                  </a:lnTo>
                  <a:lnTo>
                    <a:pt x="94" y="190"/>
                  </a:lnTo>
                  <a:lnTo>
                    <a:pt x="94" y="221"/>
                  </a:lnTo>
                  <a:lnTo>
                    <a:pt x="0" y="221"/>
                  </a:lnTo>
                  <a:lnTo>
                    <a:pt x="0" y="2"/>
                  </a:lnTo>
                  <a:lnTo>
                    <a:pt x="94" y="2"/>
                  </a:lnTo>
                  <a:lnTo>
                    <a:pt x="94" y="33"/>
                  </a:lnTo>
                  <a:lnTo>
                    <a:pt x="35" y="33"/>
                  </a:lnTo>
                  <a:lnTo>
                    <a:pt x="35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1817907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C2C2071-2AF3-401B-B9CC-1837A62FD748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38"/>
            <p:cNvSpPr>
              <a:spLocks noEditPoints="1"/>
            </p:cNvSpPr>
            <p:nvPr userDrawn="1"/>
          </p:nvSpPr>
          <p:spPr bwMode="auto">
            <a:xfrm>
              <a:off x="8873542" y="6476771"/>
              <a:ext cx="1942286" cy="211200"/>
            </a:xfrm>
            <a:custGeom>
              <a:avLst/>
              <a:gdLst>
                <a:gd name="T0" fmla="*/ 1940 w 2061"/>
                <a:gd name="T1" fmla="*/ 221 h 224"/>
                <a:gd name="T2" fmla="*/ 1890 w 2061"/>
                <a:gd name="T3" fmla="*/ 103 h 224"/>
                <a:gd name="T4" fmla="*/ 1886 w 2061"/>
                <a:gd name="T5" fmla="*/ 36 h 224"/>
                <a:gd name="T6" fmla="*/ 1924 w 2061"/>
                <a:gd name="T7" fmla="*/ 107 h 224"/>
                <a:gd name="T8" fmla="*/ 1888 w 2061"/>
                <a:gd name="T9" fmla="*/ 138 h 224"/>
                <a:gd name="T10" fmla="*/ 1894 w 2061"/>
                <a:gd name="T11" fmla="*/ 4 h 224"/>
                <a:gd name="T12" fmla="*/ 1927 w 2061"/>
                <a:gd name="T13" fmla="*/ 38 h 224"/>
                <a:gd name="T14" fmla="*/ 1762 w 2061"/>
                <a:gd name="T15" fmla="*/ 103 h 224"/>
                <a:gd name="T16" fmla="*/ 1759 w 2061"/>
                <a:gd name="T17" fmla="*/ 36 h 224"/>
                <a:gd name="T18" fmla="*/ 1798 w 2061"/>
                <a:gd name="T19" fmla="*/ 107 h 224"/>
                <a:gd name="T20" fmla="*/ 1762 w 2061"/>
                <a:gd name="T21" fmla="*/ 138 h 224"/>
                <a:gd name="T22" fmla="*/ 1767 w 2061"/>
                <a:gd name="T23" fmla="*/ 4 h 224"/>
                <a:gd name="T24" fmla="*/ 1799 w 2061"/>
                <a:gd name="T25" fmla="*/ 38 h 224"/>
                <a:gd name="T26" fmla="*/ 1604 w 2061"/>
                <a:gd name="T27" fmla="*/ 188 h 224"/>
                <a:gd name="T28" fmla="*/ 1634 w 2061"/>
                <a:gd name="T29" fmla="*/ 180 h 224"/>
                <a:gd name="T30" fmla="*/ 1662 w 2061"/>
                <a:gd name="T31" fmla="*/ 197 h 224"/>
                <a:gd name="T32" fmla="*/ 1627 w 2061"/>
                <a:gd name="T33" fmla="*/ 223 h 224"/>
                <a:gd name="T34" fmla="*/ 1578 w 2061"/>
                <a:gd name="T35" fmla="*/ 209 h 224"/>
                <a:gd name="T36" fmla="*/ 1599 w 2061"/>
                <a:gd name="T37" fmla="*/ 2 h 224"/>
                <a:gd name="T38" fmla="*/ 1421 w 2061"/>
                <a:gd name="T39" fmla="*/ 221 h 224"/>
                <a:gd name="T40" fmla="*/ 1328 w 2061"/>
                <a:gd name="T41" fmla="*/ 97 h 224"/>
                <a:gd name="T42" fmla="*/ 1204 w 2061"/>
                <a:gd name="T43" fmla="*/ 125 h 224"/>
                <a:gd name="T44" fmla="*/ 1077 w 2061"/>
                <a:gd name="T45" fmla="*/ 134 h 224"/>
                <a:gd name="T46" fmla="*/ 1146 w 2061"/>
                <a:gd name="T47" fmla="*/ 221 h 224"/>
                <a:gd name="T48" fmla="*/ 932 w 2061"/>
                <a:gd name="T49" fmla="*/ 221 h 224"/>
                <a:gd name="T50" fmla="*/ 705 w 2061"/>
                <a:gd name="T51" fmla="*/ 0 h 224"/>
                <a:gd name="T52" fmla="*/ 748 w 2061"/>
                <a:gd name="T53" fmla="*/ 22 h 224"/>
                <a:gd name="T54" fmla="*/ 723 w 2061"/>
                <a:gd name="T55" fmla="*/ 46 h 224"/>
                <a:gd name="T56" fmla="*/ 698 w 2061"/>
                <a:gd name="T57" fmla="*/ 32 h 224"/>
                <a:gd name="T58" fmla="*/ 693 w 2061"/>
                <a:gd name="T59" fmla="*/ 70 h 224"/>
                <a:gd name="T60" fmla="*/ 754 w 2061"/>
                <a:gd name="T61" fmla="*/ 148 h 224"/>
                <a:gd name="T62" fmla="*/ 746 w 2061"/>
                <a:gd name="T63" fmla="*/ 205 h 224"/>
                <a:gd name="T64" fmla="*/ 705 w 2061"/>
                <a:gd name="T65" fmla="*/ 224 h 224"/>
                <a:gd name="T66" fmla="*/ 661 w 2061"/>
                <a:gd name="T67" fmla="*/ 202 h 224"/>
                <a:gd name="T68" fmla="*/ 686 w 2061"/>
                <a:gd name="T69" fmla="*/ 176 h 224"/>
                <a:gd name="T70" fmla="*/ 711 w 2061"/>
                <a:gd name="T71" fmla="*/ 191 h 224"/>
                <a:gd name="T72" fmla="*/ 718 w 2061"/>
                <a:gd name="T73" fmla="*/ 152 h 224"/>
                <a:gd name="T74" fmla="*/ 658 w 2061"/>
                <a:gd name="T75" fmla="*/ 76 h 224"/>
                <a:gd name="T76" fmla="*/ 664 w 2061"/>
                <a:gd name="T77" fmla="*/ 18 h 224"/>
                <a:gd name="T78" fmla="*/ 705 w 2061"/>
                <a:gd name="T79" fmla="*/ 0 h 224"/>
                <a:gd name="T80" fmla="*/ 494 w 2061"/>
                <a:gd name="T81" fmla="*/ 185 h 224"/>
                <a:gd name="T82" fmla="*/ 524 w 2061"/>
                <a:gd name="T83" fmla="*/ 185 h 224"/>
                <a:gd name="T84" fmla="*/ 520 w 2061"/>
                <a:gd name="T85" fmla="*/ 33 h 224"/>
                <a:gd name="T86" fmla="*/ 491 w 2061"/>
                <a:gd name="T87" fmla="*/ 46 h 224"/>
                <a:gd name="T88" fmla="*/ 464 w 2061"/>
                <a:gd name="T89" fmla="*/ 22 h 224"/>
                <a:gd name="T90" fmla="*/ 509 w 2061"/>
                <a:gd name="T91" fmla="*/ 0 h 224"/>
                <a:gd name="T92" fmla="*/ 554 w 2061"/>
                <a:gd name="T93" fmla="*/ 22 h 224"/>
                <a:gd name="T94" fmla="*/ 559 w 2061"/>
                <a:gd name="T95" fmla="*/ 187 h 224"/>
                <a:gd name="T96" fmla="*/ 532 w 2061"/>
                <a:gd name="T97" fmla="*/ 220 h 224"/>
                <a:gd name="T98" fmla="*/ 478 w 2061"/>
                <a:gd name="T99" fmla="*/ 215 h 224"/>
                <a:gd name="T100" fmla="*/ 457 w 2061"/>
                <a:gd name="T101" fmla="*/ 168 h 224"/>
                <a:gd name="T102" fmla="*/ 439 w 2061"/>
                <a:gd name="T103" fmla="*/ 2 h 224"/>
                <a:gd name="T104" fmla="*/ 157 w 2061"/>
                <a:gd name="T105" fmla="*/ 33 h 224"/>
                <a:gd name="T106" fmla="*/ 191 w 2061"/>
                <a:gd name="T107" fmla="*/ 83 h 224"/>
                <a:gd name="T108" fmla="*/ 178 w 2061"/>
                <a:gd name="T109" fmla="*/ 33 h 224"/>
                <a:gd name="T110" fmla="*/ 189 w 2061"/>
                <a:gd name="T111" fmla="*/ 141 h 224"/>
                <a:gd name="T112" fmla="*/ 123 w 2061"/>
                <a:gd name="T113" fmla="*/ 2 h 224"/>
                <a:gd name="T114" fmla="*/ 218 w 2061"/>
                <a:gd name="T115" fmla="*/ 18 h 224"/>
                <a:gd name="T116" fmla="*/ 225 w 2061"/>
                <a:gd name="T117" fmla="*/ 85 h 224"/>
                <a:gd name="T118" fmla="*/ 210 w 2061"/>
                <a:gd name="T119" fmla="*/ 117 h 224"/>
                <a:gd name="T120" fmla="*/ 227 w 2061"/>
                <a:gd name="T121" fmla="*/ 194 h 224"/>
                <a:gd name="T122" fmla="*/ 35 w 2061"/>
                <a:gd name="T123" fmla="*/ 12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1" h="224">
                  <a:moveTo>
                    <a:pt x="1982" y="152"/>
                  </a:moveTo>
                  <a:lnTo>
                    <a:pt x="2015" y="152"/>
                  </a:lnTo>
                  <a:lnTo>
                    <a:pt x="1998" y="41"/>
                  </a:lnTo>
                  <a:lnTo>
                    <a:pt x="1982" y="152"/>
                  </a:lnTo>
                  <a:close/>
                  <a:moveTo>
                    <a:pt x="2061" y="221"/>
                  </a:moveTo>
                  <a:lnTo>
                    <a:pt x="2026" y="221"/>
                  </a:lnTo>
                  <a:lnTo>
                    <a:pt x="2020" y="181"/>
                  </a:lnTo>
                  <a:lnTo>
                    <a:pt x="1977" y="181"/>
                  </a:lnTo>
                  <a:lnTo>
                    <a:pt x="1972" y="221"/>
                  </a:lnTo>
                  <a:lnTo>
                    <a:pt x="1940" y="221"/>
                  </a:lnTo>
                  <a:lnTo>
                    <a:pt x="1975" y="2"/>
                  </a:lnTo>
                  <a:lnTo>
                    <a:pt x="2026" y="2"/>
                  </a:lnTo>
                  <a:lnTo>
                    <a:pt x="2061" y="221"/>
                  </a:lnTo>
                  <a:close/>
                  <a:moveTo>
                    <a:pt x="1860" y="33"/>
                  </a:moveTo>
                  <a:lnTo>
                    <a:pt x="1860" y="107"/>
                  </a:lnTo>
                  <a:lnTo>
                    <a:pt x="1877" y="107"/>
                  </a:lnTo>
                  <a:lnTo>
                    <a:pt x="1880" y="107"/>
                  </a:lnTo>
                  <a:lnTo>
                    <a:pt x="1884" y="106"/>
                  </a:lnTo>
                  <a:lnTo>
                    <a:pt x="1886" y="104"/>
                  </a:lnTo>
                  <a:lnTo>
                    <a:pt x="1890" y="103"/>
                  </a:lnTo>
                  <a:lnTo>
                    <a:pt x="1891" y="100"/>
                  </a:lnTo>
                  <a:lnTo>
                    <a:pt x="1893" y="96"/>
                  </a:lnTo>
                  <a:lnTo>
                    <a:pt x="1893" y="92"/>
                  </a:lnTo>
                  <a:lnTo>
                    <a:pt x="1894" y="86"/>
                  </a:lnTo>
                  <a:lnTo>
                    <a:pt x="1894" y="53"/>
                  </a:lnTo>
                  <a:lnTo>
                    <a:pt x="1893" y="48"/>
                  </a:lnTo>
                  <a:lnTo>
                    <a:pt x="1893" y="44"/>
                  </a:lnTo>
                  <a:lnTo>
                    <a:pt x="1891" y="40"/>
                  </a:lnTo>
                  <a:lnTo>
                    <a:pt x="1890" y="38"/>
                  </a:lnTo>
                  <a:lnTo>
                    <a:pt x="1886" y="36"/>
                  </a:lnTo>
                  <a:lnTo>
                    <a:pt x="1884" y="34"/>
                  </a:lnTo>
                  <a:lnTo>
                    <a:pt x="1880" y="33"/>
                  </a:lnTo>
                  <a:lnTo>
                    <a:pt x="1877" y="33"/>
                  </a:lnTo>
                  <a:lnTo>
                    <a:pt x="1860" y="33"/>
                  </a:lnTo>
                  <a:close/>
                  <a:moveTo>
                    <a:pt x="1928" y="56"/>
                  </a:moveTo>
                  <a:lnTo>
                    <a:pt x="1928" y="84"/>
                  </a:lnTo>
                  <a:lnTo>
                    <a:pt x="1928" y="91"/>
                  </a:lnTo>
                  <a:lnTo>
                    <a:pt x="1928" y="97"/>
                  </a:lnTo>
                  <a:lnTo>
                    <a:pt x="1927" y="102"/>
                  </a:lnTo>
                  <a:lnTo>
                    <a:pt x="1924" y="107"/>
                  </a:lnTo>
                  <a:lnTo>
                    <a:pt x="1923" y="113"/>
                  </a:lnTo>
                  <a:lnTo>
                    <a:pt x="1920" y="117"/>
                  </a:lnTo>
                  <a:lnTo>
                    <a:pt x="1918" y="121"/>
                  </a:lnTo>
                  <a:lnTo>
                    <a:pt x="1915" y="124"/>
                  </a:lnTo>
                  <a:lnTo>
                    <a:pt x="1912" y="128"/>
                  </a:lnTo>
                  <a:lnTo>
                    <a:pt x="1908" y="131"/>
                  </a:lnTo>
                  <a:lnTo>
                    <a:pt x="1903" y="133"/>
                  </a:lnTo>
                  <a:lnTo>
                    <a:pt x="1899" y="135"/>
                  </a:lnTo>
                  <a:lnTo>
                    <a:pt x="1894" y="136"/>
                  </a:lnTo>
                  <a:lnTo>
                    <a:pt x="1888" y="138"/>
                  </a:lnTo>
                  <a:lnTo>
                    <a:pt x="1883" y="138"/>
                  </a:lnTo>
                  <a:lnTo>
                    <a:pt x="1877" y="138"/>
                  </a:lnTo>
                  <a:lnTo>
                    <a:pt x="1860" y="138"/>
                  </a:lnTo>
                  <a:lnTo>
                    <a:pt x="1860" y="221"/>
                  </a:lnTo>
                  <a:lnTo>
                    <a:pt x="1826" y="221"/>
                  </a:lnTo>
                  <a:lnTo>
                    <a:pt x="1826" y="2"/>
                  </a:lnTo>
                  <a:lnTo>
                    <a:pt x="1877" y="2"/>
                  </a:lnTo>
                  <a:lnTo>
                    <a:pt x="1883" y="2"/>
                  </a:lnTo>
                  <a:lnTo>
                    <a:pt x="1888" y="3"/>
                  </a:lnTo>
                  <a:lnTo>
                    <a:pt x="1894" y="4"/>
                  </a:lnTo>
                  <a:lnTo>
                    <a:pt x="1899" y="5"/>
                  </a:lnTo>
                  <a:lnTo>
                    <a:pt x="1903" y="7"/>
                  </a:lnTo>
                  <a:lnTo>
                    <a:pt x="1908" y="9"/>
                  </a:lnTo>
                  <a:lnTo>
                    <a:pt x="1912" y="12"/>
                  </a:lnTo>
                  <a:lnTo>
                    <a:pt x="1915" y="15"/>
                  </a:lnTo>
                  <a:lnTo>
                    <a:pt x="1918" y="20"/>
                  </a:lnTo>
                  <a:lnTo>
                    <a:pt x="1920" y="23"/>
                  </a:lnTo>
                  <a:lnTo>
                    <a:pt x="1923" y="28"/>
                  </a:lnTo>
                  <a:lnTo>
                    <a:pt x="1924" y="32"/>
                  </a:lnTo>
                  <a:lnTo>
                    <a:pt x="1927" y="38"/>
                  </a:lnTo>
                  <a:lnTo>
                    <a:pt x="1928" y="43"/>
                  </a:lnTo>
                  <a:lnTo>
                    <a:pt x="1928" y="49"/>
                  </a:lnTo>
                  <a:lnTo>
                    <a:pt x="1928" y="56"/>
                  </a:lnTo>
                  <a:close/>
                  <a:moveTo>
                    <a:pt x="1733" y="33"/>
                  </a:moveTo>
                  <a:lnTo>
                    <a:pt x="1733" y="107"/>
                  </a:lnTo>
                  <a:lnTo>
                    <a:pt x="1749" y="107"/>
                  </a:lnTo>
                  <a:lnTo>
                    <a:pt x="1753" y="107"/>
                  </a:lnTo>
                  <a:lnTo>
                    <a:pt x="1756" y="106"/>
                  </a:lnTo>
                  <a:lnTo>
                    <a:pt x="1759" y="104"/>
                  </a:lnTo>
                  <a:lnTo>
                    <a:pt x="1762" y="103"/>
                  </a:lnTo>
                  <a:lnTo>
                    <a:pt x="1764" y="100"/>
                  </a:lnTo>
                  <a:lnTo>
                    <a:pt x="1765" y="96"/>
                  </a:lnTo>
                  <a:lnTo>
                    <a:pt x="1766" y="92"/>
                  </a:lnTo>
                  <a:lnTo>
                    <a:pt x="1766" y="86"/>
                  </a:lnTo>
                  <a:lnTo>
                    <a:pt x="1766" y="53"/>
                  </a:lnTo>
                  <a:lnTo>
                    <a:pt x="1766" y="48"/>
                  </a:lnTo>
                  <a:lnTo>
                    <a:pt x="1765" y="44"/>
                  </a:lnTo>
                  <a:lnTo>
                    <a:pt x="1764" y="40"/>
                  </a:lnTo>
                  <a:lnTo>
                    <a:pt x="1762" y="38"/>
                  </a:lnTo>
                  <a:lnTo>
                    <a:pt x="1759" y="36"/>
                  </a:lnTo>
                  <a:lnTo>
                    <a:pt x="1756" y="34"/>
                  </a:lnTo>
                  <a:lnTo>
                    <a:pt x="1753" y="33"/>
                  </a:lnTo>
                  <a:lnTo>
                    <a:pt x="1749" y="33"/>
                  </a:lnTo>
                  <a:lnTo>
                    <a:pt x="1733" y="33"/>
                  </a:lnTo>
                  <a:close/>
                  <a:moveTo>
                    <a:pt x="1801" y="56"/>
                  </a:moveTo>
                  <a:lnTo>
                    <a:pt x="1801" y="84"/>
                  </a:lnTo>
                  <a:lnTo>
                    <a:pt x="1801" y="91"/>
                  </a:lnTo>
                  <a:lnTo>
                    <a:pt x="1800" y="97"/>
                  </a:lnTo>
                  <a:lnTo>
                    <a:pt x="1799" y="102"/>
                  </a:lnTo>
                  <a:lnTo>
                    <a:pt x="1798" y="107"/>
                  </a:lnTo>
                  <a:lnTo>
                    <a:pt x="1795" y="113"/>
                  </a:lnTo>
                  <a:lnTo>
                    <a:pt x="1793" y="117"/>
                  </a:lnTo>
                  <a:lnTo>
                    <a:pt x="1790" y="121"/>
                  </a:lnTo>
                  <a:lnTo>
                    <a:pt x="1788" y="124"/>
                  </a:lnTo>
                  <a:lnTo>
                    <a:pt x="1784" y="128"/>
                  </a:lnTo>
                  <a:lnTo>
                    <a:pt x="1781" y="131"/>
                  </a:lnTo>
                  <a:lnTo>
                    <a:pt x="1776" y="133"/>
                  </a:lnTo>
                  <a:lnTo>
                    <a:pt x="1771" y="135"/>
                  </a:lnTo>
                  <a:lnTo>
                    <a:pt x="1767" y="136"/>
                  </a:lnTo>
                  <a:lnTo>
                    <a:pt x="1762" y="138"/>
                  </a:lnTo>
                  <a:lnTo>
                    <a:pt x="1755" y="138"/>
                  </a:lnTo>
                  <a:lnTo>
                    <a:pt x="1749" y="138"/>
                  </a:lnTo>
                  <a:lnTo>
                    <a:pt x="1733" y="138"/>
                  </a:lnTo>
                  <a:lnTo>
                    <a:pt x="1733" y="221"/>
                  </a:lnTo>
                  <a:lnTo>
                    <a:pt x="1698" y="221"/>
                  </a:lnTo>
                  <a:lnTo>
                    <a:pt x="1698" y="2"/>
                  </a:lnTo>
                  <a:lnTo>
                    <a:pt x="1749" y="2"/>
                  </a:lnTo>
                  <a:lnTo>
                    <a:pt x="1755" y="2"/>
                  </a:lnTo>
                  <a:lnTo>
                    <a:pt x="1762" y="3"/>
                  </a:lnTo>
                  <a:lnTo>
                    <a:pt x="1767" y="4"/>
                  </a:lnTo>
                  <a:lnTo>
                    <a:pt x="1771" y="5"/>
                  </a:lnTo>
                  <a:lnTo>
                    <a:pt x="1776" y="7"/>
                  </a:lnTo>
                  <a:lnTo>
                    <a:pt x="1781" y="9"/>
                  </a:lnTo>
                  <a:lnTo>
                    <a:pt x="1784" y="12"/>
                  </a:lnTo>
                  <a:lnTo>
                    <a:pt x="1788" y="15"/>
                  </a:lnTo>
                  <a:lnTo>
                    <a:pt x="1790" y="20"/>
                  </a:lnTo>
                  <a:lnTo>
                    <a:pt x="1793" y="23"/>
                  </a:lnTo>
                  <a:lnTo>
                    <a:pt x="1795" y="28"/>
                  </a:lnTo>
                  <a:lnTo>
                    <a:pt x="1798" y="32"/>
                  </a:lnTo>
                  <a:lnTo>
                    <a:pt x="1799" y="38"/>
                  </a:lnTo>
                  <a:lnTo>
                    <a:pt x="1800" y="43"/>
                  </a:lnTo>
                  <a:lnTo>
                    <a:pt x="1801" y="49"/>
                  </a:lnTo>
                  <a:lnTo>
                    <a:pt x="1801" y="56"/>
                  </a:lnTo>
                  <a:close/>
                  <a:moveTo>
                    <a:pt x="1599" y="2"/>
                  </a:moveTo>
                  <a:lnTo>
                    <a:pt x="1599" y="171"/>
                  </a:lnTo>
                  <a:lnTo>
                    <a:pt x="1599" y="176"/>
                  </a:lnTo>
                  <a:lnTo>
                    <a:pt x="1600" y="180"/>
                  </a:lnTo>
                  <a:lnTo>
                    <a:pt x="1601" y="183"/>
                  </a:lnTo>
                  <a:lnTo>
                    <a:pt x="1602" y="185"/>
                  </a:lnTo>
                  <a:lnTo>
                    <a:pt x="1604" y="188"/>
                  </a:lnTo>
                  <a:lnTo>
                    <a:pt x="1606" y="190"/>
                  </a:lnTo>
                  <a:lnTo>
                    <a:pt x="1609" y="191"/>
                  </a:lnTo>
                  <a:lnTo>
                    <a:pt x="1612" y="192"/>
                  </a:lnTo>
                  <a:lnTo>
                    <a:pt x="1617" y="192"/>
                  </a:lnTo>
                  <a:lnTo>
                    <a:pt x="1621" y="192"/>
                  </a:lnTo>
                  <a:lnTo>
                    <a:pt x="1624" y="191"/>
                  </a:lnTo>
                  <a:lnTo>
                    <a:pt x="1627" y="190"/>
                  </a:lnTo>
                  <a:lnTo>
                    <a:pt x="1629" y="188"/>
                  </a:lnTo>
                  <a:lnTo>
                    <a:pt x="1631" y="185"/>
                  </a:lnTo>
                  <a:lnTo>
                    <a:pt x="1634" y="180"/>
                  </a:lnTo>
                  <a:lnTo>
                    <a:pt x="1634" y="176"/>
                  </a:lnTo>
                  <a:lnTo>
                    <a:pt x="1635" y="171"/>
                  </a:lnTo>
                  <a:lnTo>
                    <a:pt x="1635" y="2"/>
                  </a:lnTo>
                  <a:lnTo>
                    <a:pt x="1667" y="2"/>
                  </a:lnTo>
                  <a:lnTo>
                    <a:pt x="1667" y="169"/>
                  </a:lnTo>
                  <a:lnTo>
                    <a:pt x="1666" y="175"/>
                  </a:lnTo>
                  <a:lnTo>
                    <a:pt x="1666" y="181"/>
                  </a:lnTo>
                  <a:lnTo>
                    <a:pt x="1665" y="187"/>
                  </a:lnTo>
                  <a:lnTo>
                    <a:pt x="1663" y="192"/>
                  </a:lnTo>
                  <a:lnTo>
                    <a:pt x="1662" y="197"/>
                  </a:lnTo>
                  <a:lnTo>
                    <a:pt x="1660" y="202"/>
                  </a:lnTo>
                  <a:lnTo>
                    <a:pt x="1657" y="206"/>
                  </a:lnTo>
                  <a:lnTo>
                    <a:pt x="1654" y="209"/>
                  </a:lnTo>
                  <a:lnTo>
                    <a:pt x="1651" y="212"/>
                  </a:lnTo>
                  <a:lnTo>
                    <a:pt x="1646" y="215"/>
                  </a:lnTo>
                  <a:lnTo>
                    <a:pt x="1644" y="216"/>
                  </a:lnTo>
                  <a:lnTo>
                    <a:pt x="1642" y="218"/>
                  </a:lnTo>
                  <a:lnTo>
                    <a:pt x="1638" y="220"/>
                  </a:lnTo>
                  <a:lnTo>
                    <a:pt x="1633" y="222"/>
                  </a:lnTo>
                  <a:lnTo>
                    <a:pt x="1627" y="223"/>
                  </a:lnTo>
                  <a:lnTo>
                    <a:pt x="1622" y="224"/>
                  </a:lnTo>
                  <a:lnTo>
                    <a:pt x="1616" y="224"/>
                  </a:lnTo>
                  <a:lnTo>
                    <a:pt x="1609" y="224"/>
                  </a:lnTo>
                  <a:lnTo>
                    <a:pt x="1604" y="223"/>
                  </a:lnTo>
                  <a:lnTo>
                    <a:pt x="1599" y="222"/>
                  </a:lnTo>
                  <a:lnTo>
                    <a:pt x="1593" y="220"/>
                  </a:lnTo>
                  <a:lnTo>
                    <a:pt x="1589" y="218"/>
                  </a:lnTo>
                  <a:lnTo>
                    <a:pt x="1585" y="215"/>
                  </a:lnTo>
                  <a:lnTo>
                    <a:pt x="1581" y="212"/>
                  </a:lnTo>
                  <a:lnTo>
                    <a:pt x="1578" y="209"/>
                  </a:lnTo>
                  <a:lnTo>
                    <a:pt x="1574" y="206"/>
                  </a:lnTo>
                  <a:lnTo>
                    <a:pt x="1571" y="202"/>
                  </a:lnTo>
                  <a:lnTo>
                    <a:pt x="1569" y="197"/>
                  </a:lnTo>
                  <a:lnTo>
                    <a:pt x="1567" y="192"/>
                  </a:lnTo>
                  <a:lnTo>
                    <a:pt x="1566" y="187"/>
                  </a:lnTo>
                  <a:lnTo>
                    <a:pt x="1565" y="181"/>
                  </a:lnTo>
                  <a:lnTo>
                    <a:pt x="1565" y="175"/>
                  </a:lnTo>
                  <a:lnTo>
                    <a:pt x="1564" y="169"/>
                  </a:lnTo>
                  <a:lnTo>
                    <a:pt x="1564" y="2"/>
                  </a:lnTo>
                  <a:lnTo>
                    <a:pt x="1599" y="2"/>
                  </a:lnTo>
                  <a:close/>
                  <a:moveTo>
                    <a:pt x="1463" y="152"/>
                  </a:moveTo>
                  <a:lnTo>
                    <a:pt x="1496" y="152"/>
                  </a:lnTo>
                  <a:lnTo>
                    <a:pt x="1480" y="41"/>
                  </a:lnTo>
                  <a:lnTo>
                    <a:pt x="1463" y="152"/>
                  </a:lnTo>
                  <a:close/>
                  <a:moveTo>
                    <a:pt x="1542" y="221"/>
                  </a:moveTo>
                  <a:lnTo>
                    <a:pt x="1508" y="221"/>
                  </a:lnTo>
                  <a:lnTo>
                    <a:pt x="1501" y="181"/>
                  </a:lnTo>
                  <a:lnTo>
                    <a:pt x="1459" y="181"/>
                  </a:lnTo>
                  <a:lnTo>
                    <a:pt x="1453" y="221"/>
                  </a:lnTo>
                  <a:lnTo>
                    <a:pt x="1421" y="221"/>
                  </a:lnTo>
                  <a:lnTo>
                    <a:pt x="1457" y="2"/>
                  </a:lnTo>
                  <a:lnTo>
                    <a:pt x="1507" y="2"/>
                  </a:lnTo>
                  <a:lnTo>
                    <a:pt x="1542" y="221"/>
                  </a:lnTo>
                  <a:close/>
                  <a:moveTo>
                    <a:pt x="1339" y="134"/>
                  </a:moveTo>
                  <a:lnTo>
                    <a:pt x="1328" y="154"/>
                  </a:lnTo>
                  <a:lnTo>
                    <a:pt x="1328" y="221"/>
                  </a:lnTo>
                  <a:lnTo>
                    <a:pt x="1293" y="221"/>
                  </a:lnTo>
                  <a:lnTo>
                    <a:pt x="1293" y="2"/>
                  </a:lnTo>
                  <a:lnTo>
                    <a:pt x="1328" y="2"/>
                  </a:lnTo>
                  <a:lnTo>
                    <a:pt x="1328" y="97"/>
                  </a:lnTo>
                  <a:lnTo>
                    <a:pt x="1372" y="2"/>
                  </a:lnTo>
                  <a:lnTo>
                    <a:pt x="1407" y="2"/>
                  </a:lnTo>
                  <a:lnTo>
                    <a:pt x="1359" y="99"/>
                  </a:lnTo>
                  <a:lnTo>
                    <a:pt x="1407" y="221"/>
                  </a:lnTo>
                  <a:lnTo>
                    <a:pt x="1371" y="221"/>
                  </a:lnTo>
                  <a:lnTo>
                    <a:pt x="1339" y="134"/>
                  </a:lnTo>
                  <a:close/>
                  <a:moveTo>
                    <a:pt x="1204" y="94"/>
                  </a:moveTo>
                  <a:lnTo>
                    <a:pt x="1252" y="94"/>
                  </a:lnTo>
                  <a:lnTo>
                    <a:pt x="1252" y="125"/>
                  </a:lnTo>
                  <a:lnTo>
                    <a:pt x="1204" y="125"/>
                  </a:lnTo>
                  <a:lnTo>
                    <a:pt x="1204" y="190"/>
                  </a:lnTo>
                  <a:lnTo>
                    <a:pt x="1263" y="190"/>
                  </a:lnTo>
                  <a:lnTo>
                    <a:pt x="1263" y="221"/>
                  </a:lnTo>
                  <a:lnTo>
                    <a:pt x="1170" y="221"/>
                  </a:lnTo>
                  <a:lnTo>
                    <a:pt x="1170" y="2"/>
                  </a:lnTo>
                  <a:lnTo>
                    <a:pt x="1263" y="2"/>
                  </a:lnTo>
                  <a:lnTo>
                    <a:pt x="1263" y="33"/>
                  </a:lnTo>
                  <a:lnTo>
                    <a:pt x="1204" y="33"/>
                  </a:lnTo>
                  <a:lnTo>
                    <a:pt x="1204" y="94"/>
                  </a:lnTo>
                  <a:close/>
                  <a:moveTo>
                    <a:pt x="1077" y="134"/>
                  </a:moveTo>
                  <a:lnTo>
                    <a:pt x="1067" y="154"/>
                  </a:lnTo>
                  <a:lnTo>
                    <a:pt x="1067" y="221"/>
                  </a:lnTo>
                  <a:lnTo>
                    <a:pt x="1033" y="221"/>
                  </a:lnTo>
                  <a:lnTo>
                    <a:pt x="1033" y="2"/>
                  </a:lnTo>
                  <a:lnTo>
                    <a:pt x="1067" y="2"/>
                  </a:lnTo>
                  <a:lnTo>
                    <a:pt x="1067" y="97"/>
                  </a:lnTo>
                  <a:lnTo>
                    <a:pt x="1112" y="2"/>
                  </a:lnTo>
                  <a:lnTo>
                    <a:pt x="1146" y="2"/>
                  </a:lnTo>
                  <a:lnTo>
                    <a:pt x="1098" y="99"/>
                  </a:lnTo>
                  <a:lnTo>
                    <a:pt x="1146" y="221"/>
                  </a:lnTo>
                  <a:lnTo>
                    <a:pt x="1111" y="221"/>
                  </a:lnTo>
                  <a:lnTo>
                    <a:pt x="1077" y="134"/>
                  </a:lnTo>
                  <a:close/>
                  <a:moveTo>
                    <a:pt x="965" y="2"/>
                  </a:moveTo>
                  <a:lnTo>
                    <a:pt x="999" y="2"/>
                  </a:lnTo>
                  <a:lnTo>
                    <a:pt x="999" y="221"/>
                  </a:lnTo>
                  <a:lnTo>
                    <a:pt x="965" y="221"/>
                  </a:lnTo>
                  <a:lnTo>
                    <a:pt x="965" y="2"/>
                  </a:lnTo>
                  <a:close/>
                  <a:moveTo>
                    <a:pt x="898" y="2"/>
                  </a:moveTo>
                  <a:lnTo>
                    <a:pt x="932" y="2"/>
                  </a:lnTo>
                  <a:lnTo>
                    <a:pt x="932" y="221"/>
                  </a:lnTo>
                  <a:lnTo>
                    <a:pt x="898" y="221"/>
                  </a:lnTo>
                  <a:lnTo>
                    <a:pt x="898" y="2"/>
                  </a:lnTo>
                  <a:close/>
                  <a:moveTo>
                    <a:pt x="783" y="2"/>
                  </a:moveTo>
                  <a:lnTo>
                    <a:pt x="818" y="2"/>
                  </a:lnTo>
                  <a:lnTo>
                    <a:pt x="818" y="190"/>
                  </a:lnTo>
                  <a:lnTo>
                    <a:pt x="875" y="190"/>
                  </a:lnTo>
                  <a:lnTo>
                    <a:pt x="875" y="221"/>
                  </a:lnTo>
                  <a:lnTo>
                    <a:pt x="783" y="221"/>
                  </a:lnTo>
                  <a:lnTo>
                    <a:pt x="783" y="2"/>
                  </a:lnTo>
                  <a:close/>
                  <a:moveTo>
                    <a:pt x="705" y="0"/>
                  </a:moveTo>
                  <a:lnTo>
                    <a:pt x="711" y="0"/>
                  </a:lnTo>
                  <a:lnTo>
                    <a:pt x="717" y="0"/>
                  </a:lnTo>
                  <a:lnTo>
                    <a:pt x="722" y="1"/>
                  </a:lnTo>
                  <a:lnTo>
                    <a:pt x="727" y="3"/>
                  </a:lnTo>
                  <a:lnTo>
                    <a:pt x="732" y="5"/>
                  </a:lnTo>
                  <a:lnTo>
                    <a:pt x="736" y="7"/>
                  </a:lnTo>
                  <a:lnTo>
                    <a:pt x="740" y="10"/>
                  </a:lnTo>
                  <a:lnTo>
                    <a:pt x="743" y="13"/>
                  </a:lnTo>
                  <a:lnTo>
                    <a:pt x="746" y="18"/>
                  </a:lnTo>
                  <a:lnTo>
                    <a:pt x="748" y="22"/>
                  </a:lnTo>
                  <a:lnTo>
                    <a:pt x="751" y="26"/>
                  </a:lnTo>
                  <a:lnTo>
                    <a:pt x="753" y="31"/>
                  </a:lnTo>
                  <a:lnTo>
                    <a:pt x="754" y="37"/>
                  </a:lnTo>
                  <a:lnTo>
                    <a:pt x="755" y="42"/>
                  </a:lnTo>
                  <a:lnTo>
                    <a:pt x="756" y="48"/>
                  </a:lnTo>
                  <a:lnTo>
                    <a:pt x="756" y="55"/>
                  </a:lnTo>
                  <a:lnTo>
                    <a:pt x="756" y="61"/>
                  </a:lnTo>
                  <a:lnTo>
                    <a:pt x="723" y="61"/>
                  </a:lnTo>
                  <a:lnTo>
                    <a:pt x="723" y="52"/>
                  </a:lnTo>
                  <a:lnTo>
                    <a:pt x="723" y="46"/>
                  </a:lnTo>
                  <a:lnTo>
                    <a:pt x="722" y="42"/>
                  </a:lnTo>
                  <a:lnTo>
                    <a:pt x="721" y="39"/>
                  </a:lnTo>
                  <a:lnTo>
                    <a:pt x="719" y="36"/>
                  </a:lnTo>
                  <a:lnTo>
                    <a:pt x="717" y="33"/>
                  </a:lnTo>
                  <a:lnTo>
                    <a:pt x="714" y="31"/>
                  </a:lnTo>
                  <a:lnTo>
                    <a:pt x="710" y="30"/>
                  </a:lnTo>
                  <a:lnTo>
                    <a:pt x="706" y="30"/>
                  </a:lnTo>
                  <a:lnTo>
                    <a:pt x="702" y="30"/>
                  </a:lnTo>
                  <a:lnTo>
                    <a:pt x="699" y="31"/>
                  </a:lnTo>
                  <a:lnTo>
                    <a:pt x="698" y="32"/>
                  </a:lnTo>
                  <a:lnTo>
                    <a:pt x="696" y="33"/>
                  </a:lnTo>
                  <a:lnTo>
                    <a:pt x="693" y="36"/>
                  </a:lnTo>
                  <a:lnTo>
                    <a:pt x="691" y="39"/>
                  </a:lnTo>
                  <a:lnTo>
                    <a:pt x="690" y="42"/>
                  </a:lnTo>
                  <a:lnTo>
                    <a:pt x="689" y="46"/>
                  </a:lnTo>
                  <a:lnTo>
                    <a:pt x="689" y="52"/>
                  </a:lnTo>
                  <a:lnTo>
                    <a:pt x="689" y="56"/>
                  </a:lnTo>
                  <a:lnTo>
                    <a:pt x="689" y="60"/>
                  </a:lnTo>
                  <a:lnTo>
                    <a:pt x="691" y="67"/>
                  </a:lnTo>
                  <a:lnTo>
                    <a:pt x="693" y="70"/>
                  </a:lnTo>
                  <a:lnTo>
                    <a:pt x="696" y="74"/>
                  </a:lnTo>
                  <a:lnTo>
                    <a:pt x="700" y="80"/>
                  </a:lnTo>
                  <a:lnTo>
                    <a:pt x="704" y="86"/>
                  </a:lnTo>
                  <a:lnTo>
                    <a:pt x="710" y="92"/>
                  </a:lnTo>
                  <a:lnTo>
                    <a:pt x="722" y="103"/>
                  </a:lnTo>
                  <a:lnTo>
                    <a:pt x="735" y="116"/>
                  </a:lnTo>
                  <a:lnTo>
                    <a:pt x="741" y="122"/>
                  </a:lnTo>
                  <a:lnTo>
                    <a:pt x="745" y="130"/>
                  </a:lnTo>
                  <a:lnTo>
                    <a:pt x="750" y="138"/>
                  </a:lnTo>
                  <a:lnTo>
                    <a:pt x="754" y="148"/>
                  </a:lnTo>
                  <a:lnTo>
                    <a:pt x="756" y="157"/>
                  </a:lnTo>
                  <a:lnTo>
                    <a:pt x="756" y="162"/>
                  </a:lnTo>
                  <a:lnTo>
                    <a:pt x="756" y="168"/>
                  </a:lnTo>
                  <a:lnTo>
                    <a:pt x="756" y="175"/>
                  </a:lnTo>
                  <a:lnTo>
                    <a:pt x="756" y="180"/>
                  </a:lnTo>
                  <a:lnTo>
                    <a:pt x="755" y="187"/>
                  </a:lnTo>
                  <a:lnTo>
                    <a:pt x="753" y="192"/>
                  </a:lnTo>
                  <a:lnTo>
                    <a:pt x="752" y="196"/>
                  </a:lnTo>
                  <a:lnTo>
                    <a:pt x="748" y="202"/>
                  </a:lnTo>
                  <a:lnTo>
                    <a:pt x="746" y="205"/>
                  </a:lnTo>
                  <a:lnTo>
                    <a:pt x="743" y="209"/>
                  </a:lnTo>
                  <a:lnTo>
                    <a:pt x="740" y="212"/>
                  </a:lnTo>
                  <a:lnTo>
                    <a:pt x="736" y="215"/>
                  </a:lnTo>
                  <a:lnTo>
                    <a:pt x="734" y="216"/>
                  </a:lnTo>
                  <a:lnTo>
                    <a:pt x="732" y="217"/>
                  </a:lnTo>
                  <a:lnTo>
                    <a:pt x="727" y="220"/>
                  </a:lnTo>
                  <a:lnTo>
                    <a:pt x="722" y="222"/>
                  </a:lnTo>
                  <a:lnTo>
                    <a:pt x="717" y="223"/>
                  </a:lnTo>
                  <a:lnTo>
                    <a:pt x="711" y="223"/>
                  </a:lnTo>
                  <a:lnTo>
                    <a:pt x="705" y="224"/>
                  </a:lnTo>
                  <a:lnTo>
                    <a:pt x="699" y="223"/>
                  </a:lnTo>
                  <a:lnTo>
                    <a:pt x="692" y="223"/>
                  </a:lnTo>
                  <a:lnTo>
                    <a:pt x="687" y="222"/>
                  </a:lnTo>
                  <a:lnTo>
                    <a:pt x="683" y="220"/>
                  </a:lnTo>
                  <a:lnTo>
                    <a:pt x="678" y="217"/>
                  </a:lnTo>
                  <a:lnTo>
                    <a:pt x="673" y="215"/>
                  </a:lnTo>
                  <a:lnTo>
                    <a:pt x="670" y="212"/>
                  </a:lnTo>
                  <a:lnTo>
                    <a:pt x="666" y="209"/>
                  </a:lnTo>
                  <a:lnTo>
                    <a:pt x="664" y="205"/>
                  </a:lnTo>
                  <a:lnTo>
                    <a:pt x="661" y="202"/>
                  </a:lnTo>
                  <a:lnTo>
                    <a:pt x="659" y="196"/>
                  </a:lnTo>
                  <a:lnTo>
                    <a:pt x="656" y="192"/>
                  </a:lnTo>
                  <a:lnTo>
                    <a:pt x="655" y="187"/>
                  </a:lnTo>
                  <a:lnTo>
                    <a:pt x="654" y="180"/>
                  </a:lnTo>
                  <a:lnTo>
                    <a:pt x="653" y="175"/>
                  </a:lnTo>
                  <a:lnTo>
                    <a:pt x="653" y="168"/>
                  </a:lnTo>
                  <a:lnTo>
                    <a:pt x="653" y="155"/>
                  </a:lnTo>
                  <a:lnTo>
                    <a:pt x="686" y="155"/>
                  </a:lnTo>
                  <a:lnTo>
                    <a:pt x="686" y="171"/>
                  </a:lnTo>
                  <a:lnTo>
                    <a:pt x="686" y="176"/>
                  </a:lnTo>
                  <a:lnTo>
                    <a:pt x="687" y="180"/>
                  </a:lnTo>
                  <a:lnTo>
                    <a:pt x="688" y="183"/>
                  </a:lnTo>
                  <a:lnTo>
                    <a:pt x="689" y="184"/>
                  </a:lnTo>
                  <a:lnTo>
                    <a:pt x="691" y="187"/>
                  </a:lnTo>
                  <a:lnTo>
                    <a:pt x="693" y="189"/>
                  </a:lnTo>
                  <a:lnTo>
                    <a:pt x="697" y="191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08" y="191"/>
                  </a:lnTo>
                  <a:lnTo>
                    <a:pt x="711" y="191"/>
                  </a:lnTo>
                  <a:lnTo>
                    <a:pt x="715" y="189"/>
                  </a:lnTo>
                  <a:lnTo>
                    <a:pt x="717" y="187"/>
                  </a:lnTo>
                  <a:lnTo>
                    <a:pt x="719" y="184"/>
                  </a:lnTo>
                  <a:lnTo>
                    <a:pt x="721" y="180"/>
                  </a:lnTo>
                  <a:lnTo>
                    <a:pt x="721" y="176"/>
                  </a:lnTo>
                  <a:lnTo>
                    <a:pt x="722" y="171"/>
                  </a:lnTo>
                  <a:lnTo>
                    <a:pt x="722" y="167"/>
                  </a:lnTo>
                  <a:lnTo>
                    <a:pt x="721" y="162"/>
                  </a:lnTo>
                  <a:lnTo>
                    <a:pt x="719" y="155"/>
                  </a:lnTo>
                  <a:lnTo>
                    <a:pt x="718" y="152"/>
                  </a:lnTo>
                  <a:lnTo>
                    <a:pt x="716" y="149"/>
                  </a:lnTo>
                  <a:lnTo>
                    <a:pt x="711" y="142"/>
                  </a:lnTo>
                  <a:lnTo>
                    <a:pt x="706" y="136"/>
                  </a:lnTo>
                  <a:lnTo>
                    <a:pt x="701" y="131"/>
                  </a:lnTo>
                  <a:lnTo>
                    <a:pt x="688" y="119"/>
                  </a:lnTo>
                  <a:lnTo>
                    <a:pt x="675" y="106"/>
                  </a:lnTo>
                  <a:lnTo>
                    <a:pt x="670" y="100"/>
                  </a:lnTo>
                  <a:lnTo>
                    <a:pt x="665" y="93"/>
                  </a:lnTo>
                  <a:lnTo>
                    <a:pt x="661" y="84"/>
                  </a:lnTo>
                  <a:lnTo>
                    <a:pt x="658" y="76"/>
                  </a:lnTo>
                  <a:lnTo>
                    <a:pt x="655" y="65"/>
                  </a:lnTo>
                  <a:lnTo>
                    <a:pt x="654" y="60"/>
                  </a:lnTo>
                  <a:lnTo>
                    <a:pt x="654" y="55"/>
                  </a:lnTo>
                  <a:lnTo>
                    <a:pt x="654" y="48"/>
                  </a:lnTo>
                  <a:lnTo>
                    <a:pt x="655" y="42"/>
                  </a:lnTo>
                  <a:lnTo>
                    <a:pt x="656" y="37"/>
                  </a:lnTo>
                  <a:lnTo>
                    <a:pt x="658" y="31"/>
                  </a:lnTo>
                  <a:lnTo>
                    <a:pt x="660" y="26"/>
                  </a:lnTo>
                  <a:lnTo>
                    <a:pt x="662" y="22"/>
                  </a:lnTo>
                  <a:lnTo>
                    <a:pt x="664" y="18"/>
                  </a:lnTo>
                  <a:lnTo>
                    <a:pt x="667" y="13"/>
                  </a:lnTo>
                  <a:lnTo>
                    <a:pt x="670" y="10"/>
                  </a:lnTo>
                  <a:lnTo>
                    <a:pt x="674" y="7"/>
                  </a:lnTo>
                  <a:lnTo>
                    <a:pt x="677" y="6"/>
                  </a:lnTo>
                  <a:lnTo>
                    <a:pt x="679" y="5"/>
                  </a:lnTo>
                  <a:lnTo>
                    <a:pt x="683" y="3"/>
                  </a:lnTo>
                  <a:lnTo>
                    <a:pt x="688" y="1"/>
                  </a:lnTo>
                  <a:lnTo>
                    <a:pt x="693" y="0"/>
                  </a:lnTo>
                  <a:lnTo>
                    <a:pt x="699" y="0"/>
                  </a:lnTo>
                  <a:lnTo>
                    <a:pt x="705" y="0"/>
                  </a:lnTo>
                  <a:close/>
                  <a:moveTo>
                    <a:pt x="592" y="2"/>
                  </a:moveTo>
                  <a:lnTo>
                    <a:pt x="626" y="2"/>
                  </a:lnTo>
                  <a:lnTo>
                    <a:pt x="626" y="221"/>
                  </a:lnTo>
                  <a:lnTo>
                    <a:pt x="592" y="221"/>
                  </a:lnTo>
                  <a:lnTo>
                    <a:pt x="592" y="2"/>
                  </a:lnTo>
                  <a:close/>
                  <a:moveTo>
                    <a:pt x="491" y="171"/>
                  </a:moveTo>
                  <a:lnTo>
                    <a:pt x="491" y="176"/>
                  </a:lnTo>
                  <a:lnTo>
                    <a:pt x="493" y="180"/>
                  </a:lnTo>
                  <a:lnTo>
                    <a:pt x="494" y="183"/>
                  </a:lnTo>
                  <a:lnTo>
                    <a:pt x="494" y="185"/>
                  </a:lnTo>
                  <a:lnTo>
                    <a:pt x="496" y="187"/>
                  </a:lnTo>
                  <a:lnTo>
                    <a:pt x="499" y="189"/>
                  </a:lnTo>
                  <a:lnTo>
                    <a:pt x="502" y="191"/>
                  </a:lnTo>
                  <a:lnTo>
                    <a:pt x="505" y="192"/>
                  </a:lnTo>
                  <a:lnTo>
                    <a:pt x="509" y="192"/>
                  </a:lnTo>
                  <a:lnTo>
                    <a:pt x="513" y="192"/>
                  </a:lnTo>
                  <a:lnTo>
                    <a:pt x="517" y="191"/>
                  </a:lnTo>
                  <a:lnTo>
                    <a:pt x="520" y="189"/>
                  </a:lnTo>
                  <a:lnTo>
                    <a:pt x="522" y="187"/>
                  </a:lnTo>
                  <a:lnTo>
                    <a:pt x="524" y="185"/>
                  </a:lnTo>
                  <a:lnTo>
                    <a:pt x="525" y="180"/>
                  </a:lnTo>
                  <a:lnTo>
                    <a:pt x="526" y="176"/>
                  </a:lnTo>
                  <a:lnTo>
                    <a:pt x="527" y="171"/>
                  </a:lnTo>
                  <a:lnTo>
                    <a:pt x="527" y="52"/>
                  </a:lnTo>
                  <a:lnTo>
                    <a:pt x="526" y="46"/>
                  </a:lnTo>
                  <a:lnTo>
                    <a:pt x="525" y="42"/>
                  </a:lnTo>
                  <a:lnTo>
                    <a:pt x="525" y="40"/>
                  </a:lnTo>
                  <a:lnTo>
                    <a:pt x="524" y="39"/>
                  </a:lnTo>
                  <a:lnTo>
                    <a:pt x="522" y="36"/>
                  </a:lnTo>
                  <a:lnTo>
                    <a:pt x="520" y="33"/>
                  </a:lnTo>
                  <a:lnTo>
                    <a:pt x="517" y="31"/>
                  </a:lnTo>
                  <a:lnTo>
                    <a:pt x="513" y="30"/>
                  </a:lnTo>
                  <a:lnTo>
                    <a:pt x="509" y="30"/>
                  </a:lnTo>
                  <a:lnTo>
                    <a:pt x="505" y="30"/>
                  </a:lnTo>
                  <a:lnTo>
                    <a:pt x="502" y="31"/>
                  </a:lnTo>
                  <a:lnTo>
                    <a:pt x="499" y="33"/>
                  </a:lnTo>
                  <a:lnTo>
                    <a:pt x="496" y="36"/>
                  </a:lnTo>
                  <a:lnTo>
                    <a:pt x="494" y="39"/>
                  </a:lnTo>
                  <a:lnTo>
                    <a:pt x="493" y="42"/>
                  </a:lnTo>
                  <a:lnTo>
                    <a:pt x="491" y="46"/>
                  </a:lnTo>
                  <a:lnTo>
                    <a:pt x="491" y="52"/>
                  </a:lnTo>
                  <a:lnTo>
                    <a:pt x="491" y="171"/>
                  </a:lnTo>
                  <a:close/>
                  <a:moveTo>
                    <a:pt x="457" y="55"/>
                  </a:moveTo>
                  <a:lnTo>
                    <a:pt x="457" y="48"/>
                  </a:lnTo>
                  <a:lnTo>
                    <a:pt x="458" y="42"/>
                  </a:lnTo>
                  <a:lnTo>
                    <a:pt x="459" y="37"/>
                  </a:lnTo>
                  <a:lnTo>
                    <a:pt x="460" y="33"/>
                  </a:lnTo>
                  <a:lnTo>
                    <a:pt x="460" y="31"/>
                  </a:lnTo>
                  <a:lnTo>
                    <a:pt x="462" y="26"/>
                  </a:lnTo>
                  <a:lnTo>
                    <a:pt x="464" y="22"/>
                  </a:lnTo>
                  <a:lnTo>
                    <a:pt x="467" y="18"/>
                  </a:lnTo>
                  <a:lnTo>
                    <a:pt x="470" y="13"/>
                  </a:lnTo>
                  <a:lnTo>
                    <a:pt x="473" y="10"/>
                  </a:lnTo>
                  <a:lnTo>
                    <a:pt x="478" y="7"/>
                  </a:lnTo>
                  <a:lnTo>
                    <a:pt x="482" y="5"/>
                  </a:lnTo>
                  <a:lnTo>
                    <a:pt x="486" y="3"/>
                  </a:lnTo>
                  <a:lnTo>
                    <a:pt x="491" y="1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0"/>
                  </a:lnTo>
                  <a:lnTo>
                    <a:pt x="515" y="0"/>
                  </a:lnTo>
                  <a:lnTo>
                    <a:pt x="521" y="0"/>
                  </a:lnTo>
                  <a:lnTo>
                    <a:pt x="526" y="1"/>
                  </a:lnTo>
                  <a:lnTo>
                    <a:pt x="532" y="3"/>
                  </a:lnTo>
                  <a:lnTo>
                    <a:pt x="536" y="5"/>
                  </a:lnTo>
                  <a:lnTo>
                    <a:pt x="540" y="7"/>
                  </a:lnTo>
                  <a:lnTo>
                    <a:pt x="544" y="10"/>
                  </a:lnTo>
                  <a:lnTo>
                    <a:pt x="548" y="13"/>
                  </a:lnTo>
                  <a:lnTo>
                    <a:pt x="551" y="18"/>
                  </a:lnTo>
                  <a:lnTo>
                    <a:pt x="554" y="22"/>
                  </a:lnTo>
                  <a:lnTo>
                    <a:pt x="556" y="26"/>
                  </a:lnTo>
                  <a:lnTo>
                    <a:pt x="558" y="31"/>
                  </a:lnTo>
                  <a:lnTo>
                    <a:pt x="559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1" y="168"/>
                  </a:lnTo>
                  <a:lnTo>
                    <a:pt x="561" y="175"/>
                  </a:lnTo>
                  <a:lnTo>
                    <a:pt x="560" y="180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8" y="192"/>
                  </a:lnTo>
                  <a:lnTo>
                    <a:pt x="556" y="196"/>
                  </a:lnTo>
                  <a:lnTo>
                    <a:pt x="554" y="202"/>
                  </a:lnTo>
                  <a:lnTo>
                    <a:pt x="551" y="205"/>
                  </a:lnTo>
                  <a:lnTo>
                    <a:pt x="548" y="209"/>
                  </a:lnTo>
                  <a:lnTo>
                    <a:pt x="544" y="212"/>
                  </a:lnTo>
                  <a:lnTo>
                    <a:pt x="540" y="215"/>
                  </a:lnTo>
                  <a:lnTo>
                    <a:pt x="536" y="217"/>
                  </a:lnTo>
                  <a:lnTo>
                    <a:pt x="532" y="220"/>
                  </a:lnTo>
                  <a:lnTo>
                    <a:pt x="526" y="222"/>
                  </a:lnTo>
                  <a:lnTo>
                    <a:pt x="521" y="223"/>
                  </a:lnTo>
                  <a:lnTo>
                    <a:pt x="515" y="223"/>
                  </a:lnTo>
                  <a:lnTo>
                    <a:pt x="509" y="224"/>
                  </a:lnTo>
                  <a:lnTo>
                    <a:pt x="503" y="223"/>
                  </a:lnTo>
                  <a:lnTo>
                    <a:pt x="497" y="223"/>
                  </a:lnTo>
                  <a:lnTo>
                    <a:pt x="491" y="222"/>
                  </a:lnTo>
                  <a:lnTo>
                    <a:pt x="486" y="220"/>
                  </a:lnTo>
                  <a:lnTo>
                    <a:pt x="482" y="217"/>
                  </a:lnTo>
                  <a:lnTo>
                    <a:pt x="478" y="215"/>
                  </a:lnTo>
                  <a:lnTo>
                    <a:pt x="473" y="212"/>
                  </a:lnTo>
                  <a:lnTo>
                    <a:pt x="470" y="209"/>
                  </a:lnTo>
                  <a:lnTo>
                    <a:pt x="467" y="205"/>
                  </a:lnTo>
                  <a:lnTo>
                    <a:pt x="464" y="202"/>
                  </a:lnTo>
                  <a:lnTo>
                    <a:pt x="462" y="196"/>
                  </a:lnTo>
                  <a:lnTo>
                    <a:pt x="460" y="192"/>
                  </a:lnTo>
                  <a:lnTo>
                    <a:pt x="459" y="187"/>
                  </a:lnTo>
                  <a:lnTo>
                    <a:pt x="458" y="180"/>
                  </a:lnTo>
                  <a:lnTo>
                    <a:pt x="457" y="175"/>
                  </a:lnTo>
                  <a:lnTo>
                    <a:pt x="457" y="168"/>
                  </a:lnTo>
                  <a:lnTo>
                    <a:pt x="457" y="55"/>
                  </a:lnTo>
                  <a:close/>
                  <a:moveTo>
                    <a:pt x="370" y="134"/>
                  </a:moveTo>
                  <a:lnTo>
                    <a:pt x="359" y="154"/>
                  </a:lnTo>
                  <a:lnTo>
                    <a:pt x="359" y="221"/>
                  </a:lnTo>
                  <a:lnTo>
                    <a:pt x="324" y="221"/>
                  </a:lnTo>
                  <a:lnTo>
                    <a:pt x="324" y="2"/>
                  </a:lnTo>
                  <a:lnTo>
                    <a:pt x="359" y="2"/>
                  </a:lnTo>
                  <a:lnTo>
                    <a:pt x="359" y="97"/>
                  </a:lnTo>
                  <a:lnTo>
                    <a:pt x="404" y="2"/>
                  </a:lnTo>
                  <a:lnTo>
                    <a:pt x="439" y="2"/>
                  </a:lnTo>
                  <a:lnTo>
                    <a:pt x="390" y="99"/>
                  </a:lnTo>
                  <a:lnTo>
                    <a:pt x="439" y="221"/>
                  </a:lnTo>
                  <a:lnTo>
                    <a:pt x="403" y="221"/>
                  </a:lnTo>
                  <a:lnTo>
                    <a:pt x="370" y="134"/>
                  </a:lnTo>
                  <a:close/>
                  <a:moveTo>
                    <a:pt x="257" y="2"/>
                  </a:moveTo>
                  <a:lnTo>
                    <a:pt x="292" y="2"/>
                  </a:lnTo>
                  <a:lnTo>
                    <a:pt x="292" y="221"/>
                  </a:lnTo>
                  <a:lnTo>
                    <a:pt x="257" y="221"/>
                  </a:lnTo>
                  <a:lnTo>
                    <a:pt x="257" y="2"/>
                  </a:lnTo>
                  <a:close/>
                  <a:moveTo>
                    <a:pt x="157" y="33"/>
                  </a:moveTo>
                  <a:lnTo>
                    <a:pt x="15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9" y="99"/>
                  </a:lnTo>
                  <a:lnTo>
                    <a:pt x="184" y="98"/>
                  </a:lnTo>
                  <a:lnTo>
                    <a:pt x="185" y="97"/>
                  </a:lnTo>
                  <a:lnTo>
                    <a:pt x="186" y="95"/>
                  </a:lnTo>
                  <a:lnTo>
                    <a:pt x="189" y="93"/>
                  </a:lnTo>
                  <a:lnTo>
                    <a:pt x="190" y="88"/>
                  </a:lnTo>
                  <a:lnTo>
                    <a:pt x="191" y="83"/>
                  </a:lnTo>
                  <a:lnTo>
                    <a:pt x="192" y="77"/>
                  </a:lnTo>
                  <a:lnTo>
                    <a:pt x="192" y="56"/>
                  </a:lnTo>
                  <a:lnTo>
                    <a:pt x="191" y="50"/>
                  </a:lnTo>
                  <a:lnTo>
                    <a:pt x="191" y="45"/>
                  </a:lnTo>
                  <a:lnTo>
                    <a:pt x="189" y="42"/>
                  </a:lnTo>
                  <a:lnTo>
                    <a:pt x="188" y="39"/>
                  </a:lnTo>
                  <a:lnTo>
                    <a:pt x="185" y="36"/>
                  </a:lnTo>
                  <a:lnTo>
                    <a:pt x="184" y="34"/>
                  </a:lnTo>
                  <a:lnTo>
                    <a:pt x="183" y="34"/>
                  </a:lnTo>
                  <a:lnTo>
                    <a:pt x="178" y="33"/>
                  </a:lnTo>
                  <a:lnTo>
                    <a:pt x="174" y="33"/>
                  </a:lnTo>
                  <a:lnTo>
                    <a:pt x="157" y="33"/>
                  </a:lnTo>
                  <a:close/>
                  <a:moveTo>
                    <a:pt x="195" y="221"/>
                  </a:moveTo>
                  <a:lnTo>
                    <a:pt x="193" y="212"/>
                  </a:lnTo>
                  <a:lnTo>
                    <a:pt x="192" y="205"/>
                  </a:lnTo>
                  <a:lnTo>
                    <a:pt x="192" y="194"/>
                  </a:lnTo>
                  <a:lnTo>
                    <a:pt x="192" y="159"/>
                  </a:lnTo>
                  <a:lnTo>
                    <a:pt x="192" y="153"/>
                  </a:lnTo>
                  <a:lnTo>
                    <a:pt x="191" y="147"/>
                  </a:lnTo>
                  <a:lnTo>
                    <a:pt x="189" y="141"/>
                  </a:lnTo>
                  <a:lnTo>
                    <a:pt x="187" y="138"/>
                  </a:lnTo>
                  <a:lnTo>
                    <a:pt x="185" y="136"/>
                  </a:lnTo>
                  <a:lnTo>
                    <a:pt x="184" y="135"/>
                  </a:lnTo>
                  <a:lnTo>
                    <a:pt x="179" y="133"/>
                  </a:lnTo>
                  <a:lnTo>
                    <a:pt x="175" y="132"/>
                  </a:lnTo>
                  <a:lnTo>
                    <a:pt x="170" y="132"/>
                  </a:lnTo>
                  <a:lnTo>
                    <a:pt x="157" y="132"/>
                  </a:lnTo>
                  <a:lnTo>
                    <a:pt x="157" y="221"/>
                  </a:lnTo>
                  <a:lnTo>
                    <a:pt x="123" y="221"/>
                  </a:lnTo>
                  <a:lnTo>
                    <a:pt x="123" y="2"/>
                  </a:lnTo>
                  <a:lnTo>
                    <a:pt x="175" y="2"/>
                  </a:lnTo>
                  <a:lnTo>
                    <a:pt x="182" y="2"/>
                  </a:lnTo>
                  <a:lnTo>
                    <a:pt x="188" y="3"/>
                  </a:lnTo>
                  <a:lnTo>
                    <a:pt x="193" y="4"/>
                  </a:lnTo>
                  <a:lnTo>
                    <a:pt x="199" y="5"/>
                  </a:lnTo>
                  <a:lnTo>
                    <a:pt x="203" y="7"/>
                  </a:lnTo>
                  <a:lnTo>
                    <a:pt x="207" y="9"/>
                  </a:lnTo>
                  <a:lnTo>
                    <a:pt x="211" y="11"/>
                  </a:lnTo>
                  <a:lnTo>
                    <a:pt x="214" y="14"/>
                  </a:lnTo>
                  <a:lnTo>
                    <a:pt x="218" y="18"/>
                  </a:lnTo>
                  <a:lnTo>
                    <a:pt x="220" y="21"/>
                  </a:lnTo>
                  <a:lnTo>
                    <a:pt x="222" y="25"/>
                  </a:lnTo>
                  <a:lnTo>
                    <a:pt x="223" y="30"/>
                  </a:lnTo>
                  <a:lnTo>
                    <a:pt x="225" y="34"/>
                  </a:lnTo>
                  <a:lnTo>
                    <a:pt x="226" y="40"/>
                  </a:lnTo>
                  <a:lnTo>
                    <a:pt x="226" y="46"/>
                  </a:lnTo>
                  <a:lnTo>
                    <a:pt x="226" y="52"/>
                  </a:lnTo>
                  <a:lnTo>
                    <a:pt x="226" y="69"/>
                  </a:lnTo>
                  <a:lnTo>
                    <a:pt x="226" y="78"/>
                  </a:lnTo>
                  <a:lnTo>
                    <a:pt x="225" y="85"/>
                  </a:lnTo>
                  <a:lnTo>
                    <a:pt x="223" y="92"/>
                  </a:lnTo>
                  <a:lnTo>
                    <a:pt x="221" y="97"/>
                  </a:lnTo>
                  <a:lnTo>
                    <a:pt x="220" y="100"/>
                  </a:lnTo>
                  <a:lnTo>
                    <a:pt x="218" y="102"/>
                  </a:lnTo>
                  <a:lnTo>
                    <a:pt x="215" y="104"/>
                  </a:lnTo>
                  <a:lnTo>
                    <a:pt x="213" y="107"/>
                  </a:lnTo>
                  <a:lnTo>
                    <a:pt x="209" y="111"/>
                  </a:lnTo>
                  <a:lnTo>
                    <a:pt x="204" y="114"/>
                  </a:lnTo>
                  <a:lnTo>
                    <a:pt x="207" y="115"/>
                  </a:lnTo>
                  <a:lnTo>
                    <a:pt x="210" y="117"/>
                  </a:lnTo>
                  <a:lnTo>
                    <a:pt x="212" y="119"/>
                  </a:lnTo>
                  <a:lnTo>
                    <a:pt x="214" y="121"/>
                  </a:lnTo>
                  <a:lnTo>
                    <a:pt x="219" y="125"/>
                  </a:lnTo>
                  <a:lnTo>
                    <a:pt x="222" y="131"/>
                  </a:lnTo>
                  <a:lnTo>
                    <a:pt x="224" y="137"/>
                  </a:lnTo>
                  <a:lnTo>
                    <a:pt x="225" y="144"/>
                  </a:lnTo>
                  <a:lnTo>
                    <a:pt x="226" y="149"/>
                  </a:lnTo>
                  <a:lnTo>
                    <a:pt x="226" y="152"/>
                  </a:lnTo>
                  <a:lnTo>
                    <a:pt x="227" y="160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9"/>
                  </a:lnTo>
                  <a:lnTo>
                    <a:pt x="228" y="215"/>
                  </a:lnTo>
                  <a:lnTo>
                    <a:pt x="229" y="217"/>
                  </a:lnTo>
                  <a:lnTo>
                    <a:pt x="230" y="221"/>
                  </a:lnTo>
                  <a:lnTo>
                    <a:pt x="195" y="221"/>
                  </a:lnTo>
                  <a:close/>
                  <a:moveTo>
                    <a:pt x="35" y="94"/>
                  </a:moveTo>
                  <a:lnTo>
                    <a:pt x="82" y="94"/>
                  </a:lnTo>
                  <a:lnTo>
                    <a:pt x="82" y="125"/>
                  </a:lnTo>
                  <a:lnTo>
                    <a:pt x="35" y="125"/>
                  </a:lnTo>
                  <a:lnTo>
                    <a:pt x="35" y="190"/>
                  </a:lnTo>
                  <a:lnTo>
                    <a:pt x="94" y="190"/>
                  </a:lnTo>
                  <a:lnTo>
                    <a:pt x="94" y="221"/>
                  </a:lnTo>
                  <a:lnTo>
                    <a:pt x="0" y="221"/>
                  </a:lnTo>
                  <a:lnTo>
                    <a:pt x="0" y="2"/>
                  </a:lnTo>
                  <a:lnTo>
                    <a:pt x="94" y="2"/>
                  </a:lnTo>
                  <a:lnTo>
                    <a:pt x="94" y="33"/>
                  </a:lnTo>
                  <a:lnTo>
                    <a:pt x="35" y="33"/>
                  </a:lnTo>
                  <a:lnTo>
                    <a:pt x="35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00950510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3973C39-50B1-4D7D-8280-705DA7B114B6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38"/>
            <p:cNvSpPr>
              <a:spLocks noEditPoints="1"/>
            </p:cNvSpPr>
            <p:nvPr userDrawn="1"/>
          </p:nvSpPr>
          <p:spPr bwMode="auto">
            <a:xfrm>
              <a:off x="8873542" y="6476771"/>
              <a:ext cx="1942286" cy="211200"/>
            </a:xfrm>
            <a:custGeom>
              <a:avLst/>
              <a:gdLst>
                <a:gd name="T0" fmla="*/ 1940 w 2061"/>
                <a:gd name="T1" fmla="*/ 221 h 224"/>
                <a:gd name="T2" fmla="*/ 1890 w 2061"/>
                <a:gd name="T3" fmla="*/ 103 h 224"/>
                <a:gd name="T4" fmla="*/ 1886 w 2061"/>
                <a:gd name="T5" fmla="*/ 36 h 224"/>
                <a:gd name="T6" fmla="*/ 1924 w 2061"/>
                <a:gd name="T7" fmla="*/ 107 h 224"/>
                <a:gd name="T8" fmla="*/ 1888 w 2061"/>
                <a:gd name="T9" fmla="*/ 138 h 224"/>
                <a:gd name="T10" fmla="*/ 1894 w 2061"/>
                <a:gd name="T11" fmla="*/ 4 h 224"/>
                <a:gd name="T12" fmla="*/ 1927 w 2061"/>
                <a:gd name="T13" fmla="*/ 38 h 224"/>
                <a:gd name="T14" fmla="*/ 1762 w 2061"/>
                <a:gd name="T15" fmla="*/ 103 h 224"/>
                <a:gd name="T16" fmla="*/ 1759 w 2061"/>
                <a:gd name="T17" fmla="*/ 36 h 224"/>
                <a:gd name="T18" fmla="*/ 1798 w 2061"/>
                <a:gd name="T19" fmla="*/ 107 h 224"/>
                <a:gd name="T20" fmla="*/ 1762 w 2061"/>
                <a:gd name="T21" fmla="*/ 138 h 224"/>
                <a:gd name="T22" fmla="*/ 1767 w 2061"/>
                <a:gd name="T23" fmla="*/ 4 h 224"/>
                <a:gd name="T24" fmla="*/ 1799 w 2061"/>
                <a:gd name="T25" fmla="*/ 38 h 224"/>
                <a:gd name="T26" fmla="*/ 1604 w 2061"/>
                <a:gd name="T27" fmla="*/ 188 h 224"/>
                <a:gd name="T28" fmla="*/ 1634 w 2061"/>
                <a:gd name="T29" fmla="*/ 180 h 224"/>
                <a:gd name="T30" fmla="*/ 1662 w 2061"/>
                <a:gd name="T31" fmla="*/ 197 h 224"/>
                <a:gd name="T32" fmla="*/ 1627 w 2061"/>
                <a:gd name="T33" fmla="*/ 223 h 224"/>
                <a:gd name="T34" fmla="*/ 1578 w 2061"/>
                <a:gd name="T35" fmla="*/ 209 h 224"/>
                <a:gd name="T36" fmla="*/ 1599 w 2061"/>
                <a:gd name="T37" fmla="*/ 2 h 224"/>
                <a:gd name="T38" fmla="*/ 1421 w 2061"/>
                <a:gd name="T39" fmla="*/ 221 h 224"/>
                <a:gd name="T40" fmla="*/ 1328 w 2061"/>
                <a:gd name="T41" fmla="*/ 97 h 224"/>
                <a:gd name="T42" fmla="*/ 1204 w 2061"/>
                <a:gd name="T43" fmla="*/ 125 h 224"/>
                <a:gd name="T44" fmla="*/ 1077 w 2061"/>
                <a:gd name="T45" fmla="*/ 134 h 224"/>
                <a:gd name="T46" fmla="*/ 1146 w 2061"/>
                <a:gd name="T47" fmla="*/ 221 h 224"/>
                <a:gd name="T48" fmla="*/ 932 w 2061"/>
                <a:gd name="T49" fmla="*/ 221 h 224"/>
                <a:gd name="T50" fmla="*/ 705 w 2061"/>
                <a:gd name="T51" fmla="*/ 0 h 224"/>
                <a:gd name="T52" fmla="*/ 748 w 2061"/>
                <a:gd name="T53" fmla="*/ 22 h 224"/>
                <a:gd name="T54" fmla="*/ 723 w 2061"/>
                <a:gd name="T55" fmla="*/ 46 h 224"/>
                <a:gd name="T56" fmla="*/ 698 w 2061"/>
                <a:gd name="T57" fmla="*/ 32 h 224"/>
                <a:gd name="T58" fmla="*/ 693 w 2061"/>
                <a:gd name="T59" fmla="*/ 70 h 224"/>
                <a:gd name="T60" fmla="*/ 754 w 2061"/>
                <a:gd name="T61" fmla="*/ 148 h 224"/>
                <a:gd name="T62" fmla="*/ 746 w 2061"/>
                <a:gd name="T63" fmla="*/ 205 h 224"/>
                <a:gd name="T64" fmla="*/ 705 w 2061"/>
                <a:gd name="T65" fmla="*/ 224 h 224"/>
                <a:gd name="T66" fmla="*/ 661 w 2061"/>
                <a:gd name="T67" fmla="*/ 202 h 224"/>
                <a:gd name="T68" fmla="*/ 686 w 2061"/>
                <a:gd name="T69" fmla="*/ 176 h 224"/>
                <a:gd name="T70" fmla="*/ 711 w 2061"/>
                <a:gd name="T71" fmla="*/ 191 h 224"/>
                <a:gd name="T72" fmla="*/ 718 w 2061"/>
                <a:gd name="T73" fmla="*/ 152 h 224"/>
                <a:gd name="T74" fmla="*/ 658 w 2061"/>
                <a:gd name="T75" fmla="*/ 76 h 224"/>
                <a:gd name="T76" fmla="*/ 664 w 2061"/>
                <a:gd name="T77" fmla="*/ 18 h 224"/>
                <a:gd name="T78" fmla="*/ 705 w 2061"/>
                <a:gd name="T79" fmla="*/ 0 h 224"/>
                <a:gd name="T80" fmla="*/ 494 w 2061"/>
                <a:gd name="T81" fmla="*/ 185 h 224"/>
                <a:gd name="T82" fmla="*/ 524 w 2061"/>
                <a:gd name="T83" fmla="*/ 185 h 224"/>
                <a:gd name="T84" fmla="*/ 520 w 2061"/>
                <a:gd name="T85" fmla="*/ 33 h 224"/>
                <a:gd name="T86" fmla="*/ 491 w 2061"/>
                <a:gd name="T87" fmla="*/ 46 h 224"/>
                <a:gd name="T88" fmla="*/ 464 w 2061"/>
                <a:gd name="T89" fmla="*/ 22 h 224"/>
                <a:gd name="T90" fmla="*/ 509 w 2061"/>
                <a:gd name="T91" fmla="*/ 0 h 224"/>
                <a:gd name="T92" fmla="*/ 554 w 2061"/>
                <a:gd name="T93" fmla="*/ 22 h 224"/>
                <a:gd name="T94" fmla="*/ 559 w 2061"/>
                <a:gd name="T95" fmla="*/ 187 h 224"/>
                <a:gd name="T96" fmla="*/ 532 w 2061"/>
                <a:gd name="T97" fmla="*/ 220 h 224"/>
                <a:gd name="T98" fmla="*/ 478 w 2061"/>
                <a:gd name="T99" fmla="*/ 215 h 224"/>
                <a:gd name="T100" fmla="*/ 457 w 2061"/>
                <a:gd name="T101" fmla="*/ 168 h 224"/>
                <a:gd name="T102" fmla="*/ 439 w 2061"/>
                <a:gd name="T103" fmla="*/ 2 h 224"/>
                <a:gd name="T104" fmla="*/ 157 w 2061"/>
                <a:gd name="T105" fmla="*/ 33 h 224"/>
                <a:gd name="T106" fmla="*/ 191 w 2061"/>
                <a:gd name="T107" fmla="*/ 83 h 224"/>
                <a:gd name="T108" fmla="*/ 178 w 2061"/>
                <a:gd name="T109" fmla="*/ 33 h 224"/>
                <a:gd name="T110" fmla="*/ 189 w 2061"/>
                <a:gd name="T111" fmla="*/ 141 h 224"/>
                <a:gd name="T112" fmla="*/ 123 w 2061"/>
                <a:gd name="T113" fmla="*/ 2 h 224"/>
                <a:gd name="T114" fmla="*/ 218 w 2061"/>
                <a:gd name="T115" fmla="*/ 18 h 224"/>
                <a:gd name="T116" fmla="*/ 225 w 2061"/>
                <a:gd name="T117" fmla="*/ 85 h 224"/>
                <a:gd name="T118" fmla="*/ 210 w 2061"/>
                <a:gd name="T119" fmla="*/ 117 h 224"/>
                <a:gd name="T120" fmla="*/ 227 w 2061"/>
                <a:gd name="T121" fmla="*/ 194 h 224"/>
                <a:gd name="T122" fmla="*/ 35 w 2061"/>
                <a:gd name="T123" fmla="*/ 12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1" h="224">
                  <a:moveTo>
                    <a:pt x="1982" y="152"/>
                  </a:moveTo>
                  <a:lnTo>
                    <a:pt x="2015" y="152"/>
                  </a:lnTo>
                  <a:lnTo>
                    <a:pt x="1998" y="41"/>
                  </a:lnTo>
                  <a:lnTo>
                    <a:pt x="1982" y="152"/>
                  </a:lnTo>
                  <a:close/>
                  <a:moveTo>
                    <a:pt x="2061" y="221"/>
                  </a:moveTo>
                  <a:lnTo>
                    <a:pt x="2026" y="221"/>
                  </a:lnTo>
                  <a:lnTo>
                    <a:pt x="2020" y="181"/>
                  </a:lnTo>
                  <a:lnTo>
                    <a:pt x="1977" y="181"/>
                  </a:lnTo>
                  <a:lnTo>
                    <a:pt x="1972" y="221"/>
                  </a:lnTo>
                  <a:lnTo>
                    <a:pt x="1940" y="221"/>
                  </a:lnTo>
                  <a:lnTo>
                    <a:pt x="1975" y="2"/>
                  </a:lnTo>
                  <a:lnTo>
                    <a:pt x="2026" y="2"/>
                  </a:lnTo>
                  <a:lnTo>
                    <a:pt x="2061" y="221"/>
                  </a:lnTo>
                  <a:close/>
                  <a:moveTo>
                    <a:pt x="1860" y="33"/>
                  </a:moveTo>
                  <a:lnTo>
                    <a:pt x="1860" y="107"/>
                  </a:lnTo>
                  <a:lnTo>
                    <a:pt x="1877" y="107"/>
                  </a:lnTo>
                  <a:lnTo>
                    <a:pt x="1880" y="107"/>
                  </a:lnTo>
                  <a:lnTo>
                    <a:pt x="1884" y="106"/>
                  </a:lnTo>
                  <a:lnTo>
                    <a:pt x="1886" y="104"/>
                  </a:lnTo>
                  <a:lnTo>
                    <a:pt x="1890" y="103"/>
                  </a:lnTo>
                  <a:lnTo>
                    <a:pt x="1891" y="100"/>
                  </a:lnTo>
                  <a:lnTo>
                    <a:pt x="1893" y="96"/>
                  </a:lnTo>
                  <a:lnTo>
                    <a:pt x="1893" y="92"/>
                  </a:lnTo>
                  <a:lnTo>
                    <a:pt x="1894" y="86"/>
                  </a:lnTo>
                  <a:lnTo>
                    <a:pt x="1894" y="53"/>
                  </a:lnTo>
                  <a:lnTo>
                    <a:pt x="1893" y="48"/>
                  </a:lnTo>
                  <a:lnTo>
                    <a:pt x="1893" y="44"/>
                  </a:lnTo>
                  <a:lnTo>
                    <a:pt x="1891" y="40"/>
                  </a:lnTo>
                  <a:lnTo>
                    <a:pt x="1890" y="38"/>
                  </a:lnTo>
                  <a:lnTo>
                    <a:pt x="1886" y="36"/>
                  </a:lnTo>
                  <a:lnTo>
                    <a:pt x="1884" y="34"/>
                  </a:lnTo>
                  <a:lnTo>
                    <a:pt x="1880" y="33"/>
                  </a:lnTo>
                  <a:lnTo>
                    <a:pt x="1877" y="33"/>
                  </a:lnTo>
                  <a:lnTo>
                    <a:pt x="1860" y="33"/>
                  </a:lnTo>
                  <a:close/>
                  <a:moveTo>
                    <a:pt x="1928" y="56"/>
                  </a:moveTo>
                  <a:lnTo>
                    <a:pt x="1928" y="84"/>
                  </a:lnTo>
                  <a:lnTo>
                    <a:pt x="1928" y="91"/>
                  </a:lnTo>
                  <a:lnTo>
                    <a:pt x="1928" y="97"/>
                  </a:lnTo>
                  <a:lnTo>
                    <a:pt x="1927" y="102"/>
                  </a:lnTo>
                  <a:lnTo>
                    <a:pt x="1924" y="107"/>
                  </a:lnTo>
                  <a:lnTo>
                    <a:pt x="1923" y="113"/>
                  </a:lnTo>
                  <a:lnTo>
                    <a:pt x="1920" y="117"/>
                  </a:lnTo>
                  <a:lnTo>
                    <a:pt x="1918" y="121"/>
                  </a:lnTo>
                  <a:lnTo>
                    <a:pt x="1915" y="124"/>
                  </a:lnTo>
                  <a:lnTo>
                    <a:pt x="1912" y="128"/>
                  </a:lnTo>
                  <a:lnTo>
                    <a:pt x="1908" y="131"/>
                  </a:lnTo>
                  <a:lnTo>
                    <a:pt x="1903" y="133"/>
                  </a:lnTo>
                  <a:lnTo>
                    <a:pt x="1899" y="135"/>
                  </a:lnTo>
                  <a:lnTo>
                    <a:pt x="1894" y="136"/>
                  </a:lnTo>
                  <a:lnTo>
                    <a:pt x="1888" y="138"/>
                  </a:lnTo>
                  <a:lnTo>
                    <a:pt x="1883" y="138"/>
                  </a:lnTo>
                  <a:lnTo>
                    <a:pt x="1877" y="138"/>
                  </a:lnTo>
                  <a:lnTo>
                    <a:pt x="1860" y="138"/>
                  </a:lnTo>
                  <a:lnTo>
                    <a:pt x="1860" y="221"/>
                  </a:lnTo>
                  <a:lnTo>
                    <a:pt x="1826" y="221"/>
                  </a:lnTo>
                  <a:lnTo>
                    <a:pt x="1826" y="2"/>
                  </a:lnTo>
                  <a:lnTo>
                    <a:pt x="1877" y="2"/>
                  </a:lnTo>
                  <a:lnTo>
                    <a:pt x="1883" y="2"/>
                  </a:lnTo>
                  <a:lnTo>
                    <a:pt x="1888" y="3"/>
                  </a:lnTo>
                  <a:lnTo>
                    <a:pt x="1894" y="4"/>
                  </a:lnTo>
                  <a:lnTo>
                    <a:pt x="1899" y="5"/>
                  </a:lnTo>
                  <a:lnTo>
                    <a:pt x="1903" y="7"/>
                  </a:lnTo>
                  <a:lnTo>
                    <a:pt x="1908" y="9"/>
                  </a:lnTo>
                  <a:lnTo>
                    <a:pt x="1912" y="12"/>
                  </a:lnTo>
                  <a:lnTo>
                    <a:pt x="1915" y="15"/>
                  </a:lnTo>
                  <a:lnTo>
                    <a:pt x="1918" y="20"/>
                  </a:lnTo>
                  <a:lnTo>
                    <a:pt x="1920" y="23"/>
                  </a:lnTo>
                  <a:lnTo>
                    <a:pt x="1923" y="28"/>
                  </a:lnTo>
                  <a:lnTo>
                    <a:pt x="1924" y="32"/>
                  </a:lnTo>
                  <a:lnTo>
                    <a:pt x="1927" y="38"/>
                  </a:lnTo>
                  <a:lnTo>
                    <a:pt x="1928" y="43"/>
                  </a:lnTo>
                  <a:lnTo>
                    <a:pt x="1928" y="49"/>
                  </a:lnTo>
                  <a:lnTo>
                    <a:pt x="1928" y="56"/>
                  </a:lnTo>
                  <a:close/>
                  <a:moveTo>
                    <a:pt x="1733" y="33"/>
                  </a:moveTo>
                  <a:lnTo>
                    <a:pt x="1733" y="107"/>
                  </a:lnTo>
                  <a:lnTo>
                    <a:pt x="1749" y="107"/>
                  </a:lnTo>
                  <a:lnTo>
                    <a:pt x="1753" y="107"/>
                  </a:lnTo>
                  <a:lnTo>
                    <a:pt x="1756" y="106"/>
                  </a:lnTo>
                  <a:lnTo>
                    <a:pt x="1759" y="104"/>
                  </a:lnTo>
                  <a:lnTo>
                    <a:pt x="1762" y="103"/>
                  </a:lnTo>
                  <a:lnTo>
                    <a:pt x="1764" y="100"/>
                  </a:lnTo>
                  <a:lnTo>
                    <a:pt x="1765" y="96"/>
                  </a:lnTo>
                  <a:lnTo>
                    <a:pt x="1766" y="92"/>
                  </a:lnTo>
                  <a:lnTo>
                    <a:pt x="1766" y="86"/>
                  </a:lnTo>
                  <a:lnTo>
                    <a:pt x="1766" y="53"/>
                  </a:lnTo>
                  <a:lnTo>
                    <a:pt x="1766" y="48"/>
                  </a:lnTo>
                  <a:lnTo>
                    <a:pt x="1765" y="44"/>
                  </a:lnTo>
                  <a:lnTo>
                    <a:pt x="1764" y="40"/>
                  </a:lnTo>
                  <a:lnTo>
                    <a:pt x="1762" y="38"/>
                  </a:lnTo>
                  <a:lnTo>
                    <a:pt x="1759" y="36"/>
                  </a:lnTo>
                  <a:lnTo>
                    <a:pt x="1756" y="34"/>
                  </a:lnTo>
                  <a:lnTo>
                    <a:pt x="1753" y="33"/>
                  </a:lnTo>
                  <a:lnTo>
                    <a:pt x="1749" y="33"/>
                  </a:lnTo>
                  <a:lnTo>
                    <a:pt x="1733" y="33"/>
                  </a:lnTo>
                  <a:close/>
                  <a:moveTo>
                    <a:pt x="1801" y="56"/>
                  </a:moveTo>
                  <a:lnTo>
                    <a:pt x="1801" y="84"/>
                  </a:lnTo>
                  <a:lnTo>
                    <a:pt x="1801" y="91"/>
                  </a:lnTo>
                  <a:lnTo>
                    <a:pt x="1800" y="97"/>
                  </a:lnTo>
                  <a:lnTo>
                    <a:pt x="1799" y="102"/>
                  </a:lnTo>
                  <a:lnTo>
                    <a:pt x="1798" y="107"/>
                  </a:lnTo>
                  <a:lnTo>
                    <a:pt x="1795" y="113"/>
                  </a:lnTo>
                  <a:lnTo>
                    <a:pt x="1793" y="117"/>
                  </a:lnTo>
                  <a:lnTo>
                    <a:pt x="1790" y="121"/>
                  </a:lnTo>
                  <a:lnTo>
                    <a:pt x="1788" y="124"/>
                  </a:lnTo>
                  <a:lnTo>
                    <a:pt x="1784" y="128"/>
                  </a:lnTo>
                  <a:lnTo>
                    <a:pt x="1781" y="131"/>
                  </a:lnTo>
                  <a:lnTo>
                    <a:pt x="1776" y="133"/>
                  </a:lnTo>
                  <a:lnTo>
                    <a:pt x="1771" y="135"/>
                  </a:lnTo>
                  <a:lnTo>
                    <a:pt x="1767" y="136"/>
                  </a:lnTo>
                  <a:lnTo>
                    <a:pt x="1762" y="138"/>
                  </a:lnTo>
                  <a:lnTo>
                    <a:pt x="1755" y="138"/>
                  </a:lnTo>
                  <a:lnTo>
                    <a:pt x="1749" y="138"/>
                  </a:lnTo>
                  <a:lnTo>
                    <a:pt x="1733" y="138"/>
                  </a:lnTo>
                  <a:lnTo>
                    <a:pt x="1733" y="221"/>
                  </a:lnTo>
                  <a:lnTo>
                    <a:pt x="1698" y="221"/>
                  </a:lnTo>
                  <a:lnTo>
                    <a:pt x="1698" y="2"/>
                  </a:lnTo>
                  <a:lnTo>
                    <a:pt x="1749" y="2"/>
                  </a:lnTo>
                  <a:lnTo>
                    <a:pt x="1755" y="2"/>
                  </a:lnTo>
                  <a:lnTo>
                    <a:pt x="1762" y="3"/>
                  </a:lnTo>
                  <a:lnTo>
                    <a:pt x="1767" y="4"/>
                  </a:lnTo>
                  <a:lnTo>
                    <a:pt x="1771" y="5"/>
                  </a:lnTo>
                  <a:lnTo>
                    <a:pt x="1776" y="7"/>
                  </a:lnTo>
                  <a:lnTo>
                    <a:pt x="1781" y="9"/>
                  </a:lnTo>
                  <a:lnTo>
                    <a:pt x="1784" y="12"/>
                  </a:lnTo>
                  <a:lnTo>
                    <a:pt x="1788" y="15"/>
                  </a:lnTo>
                  <a:lnTo>
                    <a:pt x="1790" y="20"/>
                  </a:lnTo>
                  <a:lnTo>
                    <a:pt x="1793" y="23"/>
                  </a:lnTo>
                  <a:lnTo>
                    <a:pt x="1795" y="28"/>
                  </a:lnTo>
                  <a:lnTo>
                    <a:pt x="1798" y="32"/>
                  </a:lnTo>
                  <a:lnTo>
                    <a:pt x="1799" y="38"/>
                  </a:lnTo>
                  <a:lnTo>
                    <a:pt x="1800" y="43"/>
                  </a:lnTo>
                  <a:lnTo>
                    <a:pt x="1801" y="49"/>
                  </a:lnTo>
                  <a:lnTo>
                    <a:pt x="1801" y="56"/>
                  </a:lnTo>
                  <a:close/>
                  <a:moveTo>
                    <a:pt x="1599" y="2"/>
                  </a:moveTo>
                  <a:lnTo>
                    <a:pt x="1599" y="171"/>
                  </a:lnTo>
                  <a:lnTo>
                    <a:pt x="1599" y="176"/>
                  </a:lnTo>
                  <a:lnTo>
                    <a:pt x="1600" y="180"/>
                  </a:lnTo>
                  <a:lnTo>
                    <a:pt x="1601" y="183"/>
                  </a:lnTo>
                  <a:lnTo>
                    <a:pt x="1602" y="185"/>
                  </a:lnTo>
                  <a:lnTo>
                    <a:pt x="1604" y="188"/>
                  </a:lnTo>
                  <a:lnTo>
                    <a:pt x="1606" y="190"/>
                  </a:lnTo>
                  <a:lnTo>
                    <a:pt x="1609" y="191"/>
                  </a:lnTo>
                  <a:lnTo>
                    <a:pt x="1612" y="192"/>
                  </a:lnTo>
                  <a:lnTo>
                    <a:pt x="1617" y="192"/>
                  </a:lnTo>
                  <a:lnTo>
                    <a:pt x="1621" y="192"/>
                  </a:lnTo>
                  <a:lnTo>
                    <a:pt x="1624" y="191"/>
                  </a:lnTo>
                  <a:lnTo>
                    <a:pt x="1627" y="190"/>
                  </a:lnTo>
                  <a:lnTo>
                    <a:pt x="1629" y="188"/>
                  </a:lnTo>
                  <a:lnTo>
                    <a:pt x="1631" y="185"/>
                  </a:lnTo>
                  <a:lnTo>
                    <a:pt x="1634" y="180"/>
                  </a:lnTo>
                  <a:lnTo>
                    <a:pt x="1634" y="176"/>
                  </a:lnTo>
                  <a:lnTo>
                    <a:pt x="1635" y="171"/>
                  </a:lnTo>
                  <a:lnTo>
                    <a:pt x="1635" y="2"/>
                  </a:lnTo>
                  <a:lnTo>
                    <a:pt x="1667" y="2"/>
                  </a:lnTo>
                  <a:lnTo>
                    <a:pt x="1667" y="169"/>
                  </a:lnTo>
                  <a:lnTo>
                    <a:pt x="1666" y="175"/>
                  </a:lnTo>
                  <a:lnTo>
                    <a:pt x="1666" y="181"/>
                  </a:lnTo>
                  <a:lnTo>
                    <a:pt x="1665" y="187"/>
                  </a:lnTo>
                  <a:lnTo>
                    <a:pt x="1663" y="192"/>
                  </a:lnTo>
                  <a:lnTo>
                    <a:pt x="1662" y="197"/>
                  </a:lnTo>
                  <a:lnTo>
                    <a:pt x="1660" y="202"/>
                  </a:lnTo>
                  <a:lnTo>
                    <a:pt x="1657" y="206"/>
                  </a:lnTo>
                  <a:lnTo>
                    <a:pt x="1654" y="209"/>
                  </a:lnTo>
                  <a:lnTo>
                    <a:pt x="1651" y="212"/>
                  </a:lnTo>
                  <a:lnTo>
                    <a:pt x="1646" y="215"/>
                  </a:lnTo>
                  <a:lnTo>
                    <a:pt x="1644" y="216"/>
                  </a:lnTo>
                  <a:lnTo>
                    <a:pt x="1642" y="218"/>
                  </a:lnTo>
                  <a:lnTo>
                    <a:pt x="1638" y="220"/>
                  </a:lnTo>
                  <a:lnTo>
                    <a:pt x="1633" y="222"/>
                  </a:lnTo>
                  <a:lnTo>
                    <a:pt x="1627" y="223"/>
                  </a:lnTo>
                  <a:lnTo>
                    <a:pt x="1622" y="224"/>
                  </a:lnTo>
                  <a:lnTo>
                    <a:pt x="1616" y="224"/>
                  </a:lnTo>
                  <a:lnTo>
                    <a:pt x="1609" y="224"/>
                  </a:lnTo>
                  <a:lnTo>
                    <a:pt x="1604" y="223"/>
                  </a:lnTo>
                  <a:lnTo>
                    <a:pt x="1599" y="222"/>
                  </a:lnTo>
                  <a:lnTo>
                    <a:pt x="1593" y="220"/>
                  </a:lnTo>
                  <a:lnTo>
                    <a:pt x="1589" y="218"/>
                  </a:lnTo>
                  <a:lnTo>
                    <a:pt x="1585" y="215"/>
                  </a:lnTo>
                  <a:lnTo>
                    <a:pt x="1581" y="212"/>
                  </a:lnTo>
                  <a:lnTo>
                    <a:pt x="1578" y="209"/>
                  </a:lnTo>
                  <a:lnTo>
                    <a:pt x="1574" y="206"/>
                  </a:lnTo>
                  <a:lnTo>
                    <a:pt x="1571" y="202"/>
                  </a:lnTo>
                  <a:lnTo>
                    <a:pt x="1569" y="197"/>
                  </a:lnTo>
                  <a:lnTo>
                    <a:pt x="1567" y="192"/>
                  </a:lnTo>
                  <a:lnTo>
                    <a:pt x="1566" y="187"/>
                  </a:lnTo>
                  <a:lnTo>
                    <a:pt x="1565" y="181"/>
                  </a:lnTo>
                  <a:lnTo>
                    <a:pt x="1565" y="175"/>
                  </a:lnTo>
                  <a:lnTo>
                    <a:pt x="1564" y="169"/>
                  </a:lnTo>
                  <a:lnTo>
                    <a:pt x="1564" y="2"/>
                  </a:lnTo>
                  <a:lnTo>
                    <a:pt x="1599" y="2"/>
                  </a:lnTo>
                  <a:close/>
                  <a:moveTo>
                    <a:pt x="1463" y="152"/>
                  </a:moveTo>
                  <a:lnTo>
                    <a:pt x="1496" y="152"/>
                  </a:lnTo>
                  <a:lnTo>
                    <a:pt x="1480" y="41"/>
                  </a:lnTo>
                  <a:lnTo>
                    <a:pt x="1463" y="152"/>
                  </a:lnTo>
                  <a:close/>
                  <a:moveTo>
                    <a:pt x="1542" y="221"/>
                  </a:moveTo>
                  <a:lnTo>
                    <a:pt x="1508" y="221"/>
                  </a:lnTo>
                  <a:lnTo>
                    <a:pt x="1501" y="181"/>
                  </a:lnTo>
                  <a:lnTo>
                    <a:pt x="1459" y="181"/>
                  </a:lnTo>
                  <a:lnTo>
                    <a:pt x="1453" y="221"/>
                  </a:lnTo>
                  <a:lnTo>
                    <a:pt x="1421" y="221"/>
                  </a:lnTo>
                  <a:lnTo>
                    <a:pt x="1457" y="2"/>
                  </a:lnTo>
                  <a:lnTo>
                    <a:pt x="1507" y="2"/>
                  </a:lnTo>
                  <a:lnTo>
                    <a:pt x="1542" y="221"/>
                  </a:lnTo>
                  <a:close/>
                  <a:moveTo>
                    <a:pt x="1339" y="134"/>
                  </a:moveTo>
                  <a:lnTo>
                    <a:pt x="1328" y="154"/>
                  </a:lnTo>
                  <a:lnTo>
                    <a:pt x="1328" y="221"/>
                  </a:lnTo>
                  <a:lnTo>
                    <a:pt x="1293" y="221"/>
                  </a:lnTo>
                  <a:lnTo>
                    <a:pt x="1293" y="2"/>
                  </a:lnTo>
                  <a:lnTo>
                    <a:pt x="1328" y="2"/>
                  </a:lnTo>
                  <a:lnTo>
                    <a:pt x="1328" y="97"/>
                  </a:lnTo>
                  <a:lnTo>
                    <a:pt x="1372" y="2"/>
                  </a:lnTo>
                  <a:lnTo>
                    <a:pt x="1407" y="2"/>
                  </a:lnTo>
                  <a:lnTo>
                    <a:pt x="1359" y="99"/>
                  </a:lnTo>
                  <a:lnTo>
                    <a:pt x="1407" y="221"/>
                  </a:lnTo>
                  <a:lnTo>
                    <a:pt x="1371" y="221"/>
                  </a:lnTo>
                  <a:lnTo>
                    <a:pt x="1339" y="134"/>
                  </a:lnTo>
                  <a:close/>
                  <a:moveTo>
                    <a:pt x="1204" y="94"/>
                  </a:moveTo>
                  <a:lnTo>
                    <a:pt x="1252" y="94"/>
                  </a:lnTo>
                  <a:lnTo>
                    <a:pt x="1252" y="125"/>
                  </a:lnTo>
                  <a:lnTo>
                    <a:pt x="1204" y="125"/>
                  </a:lnTo>
                  <a:lnTo>
                    <a:pt x="1204" y="190"/>
                  </a:lnTo>
                  <a:lnTo>
                    <a:pt x="1263" y="190"/>
                  </a:lnTo>
                  <a:lnTo>
                    <a:pt x="1263" y="221"/>
                  </a:lnTo>
                  <a:lnTo>
                    <a:pt x="1170" y="221"/>
                  </a:lnTo>
                  <a:lnTo>
                    <a:pt x="1170" y="2"/>
                  </a:lnTo>
                  <a:lnTo>
                    <a:pt x="1263" y="2"/>
                  </a:lnTo>
                  <a:lnTo>
                    <a:pt x="1263" y="33"/>
                  </a:lnTo>
                  <a:lnTo>
                    <a:pt x="1204" y="33"/>
                  </a:lnTo>
                  <a:lnTo>
                    <a:pt x="1204" y="94"/>
                  </a:lnTo>
                  <a:close/>
                  <a:moveTo>
                    <a:pt x="1077" y="134"/>
                  </a:moveTo>
                  <a:lnTo>
                    <a:pt x="1067" y="154"/>
                  </a:lnTo>
                  <a:lnTo>
                    <a:pt x="1067" y="221"/>
                  </a:lnTo>
                  <a:lnTo>
                    <a:pt x="1033" y="221"/>
                  </a:lnTo>
                  <a:lnTo>
                    <a:pt x="1033" y="2"/>
                  </a:lnTo>
                  <a:lnTo>
                    <a:pt x="1067" y="2"/>
                  </a:lnTo>
                  <a:lnTo>
                    <a:pt x="1067" y="97"/>
                  </a:lnTo>
                  <a:lnTo>
                    <a:pt x="1112" y="2"/>
                  </a:lnTo>
                  <a:lnTo>
                    <a:pt x="1146" y="2"/>
                  </a:lnTo>
                  <a:lnTo>
                    <a:pt x="1098" y="99"/>
                  </a:lnTo>
                  <a:lnTo>
                    <a:pt x="1146" y="221"/>
                  </a:lnTo>
                  <a:lnTo>
                    <a:pt x="1111" y="221"/>
                  </a:lnTo>
                  <a:lnTo>
                    <a:pt x="1077" y="134"/>
                  </a:lnTo>
                  <a:close/>
                  <a:moveTo>
                    <a:pt x="965" y="2"/>
                  </a:moveTo>
                  <a:lnTo>
                    <a:pt x="999" y="2"/>
                  </a:lnTo>
                  <a:lnTo>
                    <a:pt x="999" y="221"/>
                  </a:lnTo>
                  <a:lnTo>
                    <a:pt x="965" y="221"/>
                  </a:lnTo>
                  <a:lnTo>
                    <a:pt x="965" y="2"/>
                  </a:lnTo>
                  <a:close/>
                  <a:moveTo>
                    <a:pt x="898" y="2"/>
                  </a:moveTo>
                  <a:lnTo>
                    <a:pt x="932" y="2"/>
                  </a:lnTo>
                  <a:lnTo>
                    <a:pt x="932" y="221"/>
                  </a:lnTo>
                  <a:lnTo>
                    <a:pt x="898" y="221"/>
                  </a:lnTo>
                  <a:lnTo>
                    <a:pt x="898" y="2"/>
                  </a:lnTo>
                  <a:close/>
                  <a:moveTo>
                    <a:pt x="783" y="2"/>
                  </a:moveTo>
                  <a:lnTo>
                    <a:pt x="818" y="2"/>
                  </a:lnTo>
                  <a:lnTo>
                    <a:pt x="818" y="190"/>
                  </a:lnTo>
                  <a:lnTo>
                    <a:pt x="875" y="190"/>
                  </a:lnTo>
                  <a:lnTo>
                    <a:pt x="875" y="221"/>
                  </a:lnTo>
                  <a:lnTo>
                    <a:pt x="783" y="221"/>
                  </a:lnTo>
                  <a:lnTo>
                    <a:pt x="783" y="2"/>
                  </a:lnTo>
                  <a:close/>
                  <a:moveTo>
                    <a:pt x="705" y="0"/>
                  </a:moveTo>
                  <a:lnTo>
                    <a:pt x="711" y="0"/>
                  </a:lnTo>
                  <a:lnTo>
                    <a:pt x="717" y="0"/>
                  </a:lnTo>
                  <a:lnTo>
                    <a:pt x="722" y="1"/>
                  </a:lnTo>
                  <a:lnTo>
                    <a:pt x="727" y="3"/>
                  </a:lnTo>
                  <a:lnTo>
                    <a:pt x="732" y="5"/>
                  </a:lnTo>
                  <a:lnTo>
                    <a:pt x="736" y="7"/>
                  </a:lnTo>
                  <a:lnTo>
                    <a:pt x="740" y="10"/>
                  </a:lnTo>
                  <a:lnTo>
                    <a:pt x="743" y="13"/>
                  </a:lnTo>
                  <a:lnTo>
                    <a:pt x="746" y="18"/>
                  </a:lnTo>
                  <a:lnTo>
                    <a:pt x="748" y="22"/>
                  </a:lnTo>
                  <a:lnTo>
                    <a:pt x="751" y="26"/>
                  </a:lnTo>
                  <a:lnTo>
                    <a:pt x="753" y="31"/>
                  </a:lnTo>
                  <a:lnTo>
                    <a:pt x="754" y="37"/>
                  </a:lnTo>
                  <a:lnTo>
                    <a:pt x="755" y="42"/>
                  </a:lnTo>
                  <a:lnTo>
                    <a:pt x="756" y="48"/>
                  </a:lnTo>
                  <a:lnTo>
                    <a:pt x="756" y="55"/>
                  </a:lnTo>
                  <a:lnTo>
                    <a:pt x="756" y="61"/>
                  </a:lnTo>
                  <a:lnTo>
                    <a:pt x="723" y="61"/>
                  </a:lnTo>
                  <a:lnTo>
                    <a:pt x="723" y="52"/>
                  </a:lnTo>
                  <a:lnTo>
                    <a:pt x="723" y="46"/>
                  </a:lnTo>
                  <a:lnTo>
                    <a:pt x="722" y="42"/>
                  </a:lnTo>
                  <a:lnTo>
                    <a:pt x="721" y="39"/>
                  </a:lnTo>
                  <a:lnTo>
                    <a:pt x="719" y="36"/>
                  </a:lnTo>
                  <a:lnTo>
                    <a:pt x="717" y="33"/>
                  </a:lnTo>
                  <a:lnTo>
                    <a:pt x="714" y="31"/>
                  </a:lnTo>
                  <a:lnTo>
                    <a:pt x="710" y="30"/>
                  </a:lnTo>
                  <a:lnTo>
                    <a:pt x="706" y="30"/>
                  </a:lnTo>
                  <a:lnTo>
                    <a:pt x="702" y="30"/>
                  </a:lnTo>
                  <a:lnTo>
                    <a:pt x="699" y="31"/>
                  </a:lnTo>
                  <a:lnTo>
                    <a:pt x="698" y="32"/>
                  </a:lnTo>
                  <a:lnTo>
                    <a:pt x="696" y="33"/>
                  </a:lnTo>
                  <a:lnTo>
                    <a:pt x="693" y="36"/>
                  </a:lnTo>
                  <a:lnTo>
                    <a:pt x="691" y="39"/>
                  </a:lnTo>
                  <a:lnTo>
                    <a:pt x="690" y="42"/>
                  </a:lnTo>
                  <a:lnTo>
                    <a:pt x="689" y="46"/>
                  </a:lnTo>
                  <a:lnTo>
                    <a:pt x="689" y="52"/>
                  </a:lnTo>
                  <a:lnTo>
                    <a:pt x="689" y="56"/>
                  </a:lnTo>
                  <a:lnTo>
                    <a:pt x="689" y="60"/>
                  </a:lnTo>
                  <a:lnTo>
                    <a:pt x="691" y="67"/>
                  </a:lnTo>
                  <a:lnTo>
                    <a:pt x="693" y="70"/>
                  </a:lnTo>
                  <a:lnTo>
                    <a:pt x="696" y="74"/>
                  </a:lnTo>
                  <a:lnTo>
                    <a:pt x="700" y="80"/>
                  </a:lnTo>
                  <a:lnTo>
                    <a:pt x="704" y="86"/>
                  </a:lnTo>
                  <a:lnTo>
                    <a:pt x="710" y="92"/>
                  </a:lnTo>
                  <a:lnTo>
                    <a:pt x="722" y="103"/>
                  </a:lnTo>
                  <a:lnTo>
                    <a:pt x="735" y="116"/>
                  </a:lnTo>
                  <a:lnTo>
                    <a:pt x="741" y="122"/>
                  </a:lnTo>
                  <a:lnTo>
                    <a:pt x="745" y="130"/>
                  </a:lnTo>
                  <a:lnTo>
                    <a:pt x="750" y="138"/>
                  </a:lnTo>
                  <a:lnTo>
                    <a:pt x="754" y="148"/>
                  </a:lnTo>
                  <a:lnTo>
                    <a:pt x="756" y="157"/>
                  </a:lnTo>
                  <a:lnTo>
                    <a:pt x="756" y="162"/>
                  </a:lnTo>
                  <a:lnTo>
                    <a:pt x="756" y="168"/>
                  </a:lnTo>
                  <a:lnTo>
                    <a:pt x="756" y="175"/>
                  </a:lnTo>
                  <a:lnTo>
                    <a:pt x="756" y="180"/>
                  </a:lnTo>
                  <a:lnTo>
                    <a:pt x="755" y="187"/>
                  </a:lnTo>
                  <a:lnTo>
                    <a:pt x="753" y="192"/>
                  </a:lnTo>
                  <a:lnTo>
                    <a:pt x="752" y="196"/>
                  </a:lnTo>
                  <a:lnTo>
                    <a:pt x="748" y="202"/>
                  </a:lnTo>
                  <a:lnTo>
                    <a:pt x="746" y="205"/>
                  </a:lnTo>
                  <a:lnTo>
                    <a:pt x="743" y="209"/>
                  </a:lnTo>
                  <a:lnTo>
                    <a:pt x="740" y="212"/>
                  </a:lnTo>
                  <a:lnTo>
                    <a:pt x="736" y="215"/>
                  </a:lnTo>
                  <a:lnTo>
                    <a:pt x="734" y="216"/>
                  </a:lnTo>
                  <a:lnTo>
                    <a:pt x="732" y="217"/>
                  </a:lnTo>
                  <a:lnTo>
                    <a:pt x="727" y="220"/>
                  </a:lnTo>
                  <a:lnTo>
                    <a:pt x="722" y="222"/>
                  </a:lnTo>
                  <a:lnTo>
                    <a:pt x="717" y="223"/>
                  </a:lnTo>
                  <a:lnTo>
                    <a:pt x="711" y="223"/>
                  </a:lnTo>
                  <a:lnTo>
                    <a:pt x="705" y="224"/>
                  </a:lnTo>
                  <a:lnTo>
                    <a:pt x="699" y="223"/>
                  </a:lnTo>
                  <a:lnTo>
                    <a:pt x="692" y="223"/>
                  </a:lnTo>
                  <a:lnTo>
                    <a:pt x="687" y="222"/>
                  </a:lnTo>
                  <a:lnTo>
                    <a:pt x="683" y="220"/>
                  </a:lnTo>
                  <a:lnTo>
                    <a:pt x="678" y="217"/>
                  </a:lnTo>
                  <a:lnTo>
                    <a:pt x="673" y="215"/>
                  </a:lnTo>
                  <a:lnTo>
                    <a:pt x="670" y="212"/>
                  </a:lnTo>
                  <a:lnTo>
                    <a:pt x="666" y="209"/>
                  </a:lnTo>
                  <a:lnTo>
                    <a:pt x="664" y="205"/>
                  </a:lnTo>
                  <a:lnTo>
                    <a:pt x="661" y="202"/>
                  </a:lnTo>
                  <a:lnTo>
                    <a:pt x="659" y="196"/>
                  </a:lnTo>
                  <a:lnTo>
                    <a:pt x="656" y="192"/>
                  </a:lnTo>
                  <a:lnTo>
                    <a:pt x="655" y="187"/>
                  </a:lnTo>
                  <a:lnTo>
                    <a:pt x="654" y="180"/>
                  </a:lnTo>
                  <a:lnTo>
                    <a:pt x="653" y="175"/>
                  </a:lnTo>
                  <a:lnTo>
                    <a:pt x="653" y="168"/>
                  </a:lnTo>
                  <a:lnTo>
                    <a:pt x="653" y="155"/>
                  </a:lnTo>
                  <a:lnTo>
                    <a:pt x="686" y="155"/>
                  </a:lnTo>
                  <a:lnTo>
                    <a:pt x="686" y="171"/>
                  </a:lnTo>
                  <a:lnTo>
                    <a:pt x="686" y="176"/>
                  </a:lnTo>
                  <a:lnTo>
                    <a:pt x="687" y="180"/>
                  </a:lnTo>
                  <a:lnTo>
                    <a:pt x="688" y="183"/>
                  </a:lnTo>
                  <a:lnTo>
                    <a:pt x="689" y="184"/>
                  </a:lnTo>
                  <a:lnTo>
                    <a:pt x="691" y="187"/>
                  </a:lnTo>
                  <a:lnTo>
                    <a:pt x="693" y="189"/>
                  </a:lnTo>
                  <a:lnTo>
                    <a:pt x="697" y="191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08" y="191"/>
                  </a:lnTo>
                  <a:lnTo>
                    <a:pt x="711" y="191"/>
                  </a:lnTo>
                  <a:lnTo>
                    <a:pt x="715" y="189"/>
                  </a:lnTo>
                  <a:lnTo>
                    <a:pt x="717" y="187"/>
                  </a:lnTo>
                  <a:lnTo>
                    <a:pt x="719" y="184"/>
                  </a:lnTo>
                  <a:lnTo>
                    <a:pt x="721" y="180"/>
                  </a:lnTo>
                  <a:lnTo>
                    <a:pt x="721" y="176"/>
                  </a:lnTo>
                  <a:lnTo>
                    <a:pt x="722" y="171"/>
                  </a:lnTo>
                  <a:lnTo>
                    <a:pt x="722" y="167"/>
                  </a:lnTo>
                  <a:lnTo>
                    <a:pt x="721" y="162"/>
                  </a:lnTo>
                  <a:lnTo>
                    <a:pt x="719" y="155"/>
                  </a:lnTo>
                  <a:lnTo>
                    <a:pt x="718" y="152"/>
                  </a:lnTo>
                  <a:lnTo>
                    <a:pt x="716" y="149"/>
                  </a:lnTo>
                  <a:lnTo>
                    <a:pt x="711" y="142"/>
                  </a:lnTo>
                  <a:lnTo>
                    <a:pt x="706" y="136"/>
                  </a:lnTo>
                  <a:lnTo>
                    <a:pt x="701" y="131"/>
                  </a:lnTo>
                  <a:lnTo>
                    <a:pt x="688" y="119"/>
                  </a:lnTo>
                  <a:lnTo>
                    <a:pt x="675" y="106"/>
                  </a:lnTo>
                  <a:lnTo>
                    <a:pt x="670" y="100"/>
                  </a:lnTo>
                  <a:lnTo>
                    <a:pt x="665" y="93"/>
                  </a:lnTo>
                  <a:lnTo>
                    <a:pt x="661" y="84"/>
                  </a:lnTo>
                  <a:lnTo>
                    <a:pt x="658" y="76"/>
                  </a:lnTo>
                  <a:lnTo>
                    <a:pt x="655" y="65"/>
                  </a:lnTo>
                  <a:lnTo>
                    <a:pt x="654" y="60"/>
                  </a:lnTo>
                  <a:lnTo>
                    <a:pt x="654" y="55"/>
                  </a:lnTo>
                  <a:lnTo>
                    <a:pt x="654" y="48"/>
                  </a:lnTo>
                  <a:lnTo>
                    <a:pt x="655" y="42"/>
                  </a:lnTo>
                  <a:lnTo>
                    <a:pt x="656" y="37"/>
                  </a:lnTo>
                  <a:lnTo>
                    <a:pt x="658" y="31"/>
                  </a:lnTo>
                  <a:lnTo>
                    <a:pt x="660" y="26"/>
                  </a:lnTo>
                  <a:lnTo>
                    <a:pt x="662" y="22"/>
                  </a:lnTo>
                  <a:lnTo>
                    <a:pt x="664" y="18"/>
                  </a:lnTo>
                  <a:lnTo>
                    <a:pt x="667" y="13"/>
                  </a:lnTo>
                  <a:lnTo>
                    <a:pt x="670" y="10"/>
                  </a:lnTo>
                  <a:lnTo>
                    <a:pt x="674" y="7"/>
                  </a:lnTo>
                  <a:lnTo>
                    <a:pt x="677" y="6"/>
                  </a:lnTo>
                  <a:lnTo>
                    <a:pt x="679" y="5"/>
                  </a:lnTo>
                  <a:lnTo>
                    <a:pt x="683" y="3"/>
                  </a:lnTo>
                  <a:lnTo>
                    <a:pt x="688" y="1"/>
                  </a:lnTo>
                  <a:lnTo>
                    <a:pt x="693" y="0"/>
                  </a:lnTo>
                  <a:lnTo>
                    <a:pt x="699" y="0"/>
                  </a:lnTo>
                  <a:lnTo>
                    <a:pt x="705" y="0"/>
                  </a:lnTo>
                  <a:close/>
                  <a:moveTo>
                    <a:pt x="592" y="2"/>
                  </a:moveTo>
                  <a:lnTo>
                    <a:pt x="626" y="2"/>
                  </a:lnTo>
                  <a:lnTo>
                    <a:pt x="626" y="221"/>
                  </a:lnTo>
                  <a:lnTo>
                    <a:pt x="592" y="221"/>
                  </a:lnTo>
                  <a:lnTo>
                    <a:pt x="592" y="2"/>
                  </a:lnTo>
                  <a:close/>
                  <a:moveTo>
                    <a:pt x="491" y="171"/>
                  </a:moveTo>
                  <a:lnTo>
                    <a:pt x="491" y="176"/>
                  </a:lnTo>
                  <a:lnTo>
                    <a:pt x="493" y="180"/>
                  </a:lnTo>
                  <a:lnTo>
                    <a:pt x="494" y="183"/>
                  </a:lnTo>
                  <a:lnTo>
                    <a:pt x="494" y="185"/>
                  </a:lnTo>
                  <a:lnTo>
                    <a:pt x="496" y="187"/>
                  </a:lnTo>
                  <a:lnTo>
                    <a:pt x="499" y="189"/>
                  </a:lnTo>
                  <a:lnTo>
                    <a:pt x="502" y="191"/>
                  </a:lnTo>
                  <a:lnTo>
                    <a:pt x="505" y="192"/>
                  </a:lnTo>
                  <a:lnTo>
                    <a:pt x="509" y="192"/>
                  </a:lnTo>
                  <a:lnTo>
                    <a:pt x="513" y="192"/>
                  </a:lnTo>
                  <a:lnTo>
                    <a:pt x="517" y="191"/>
                  </a:lnTo>
                  <a:lnTo>
                    <a:pt x="520" y="189"/>
                  </a:lnTo>
                  <a:lnTo>
                    <a:pt x="522" y="187"/>
                  </a:lnTo>
                  <a:lnTo>
                    <a:pt x="524" y="185"/>
                  </a:lnTo>
                  <a:lnTo>
                    <a:pt x="525" y="180"/>
                  </a:lnTo>
                  <a:lnTo>
                    <a:pt x="526" y="176"/>
                  </a:lnTo>
                  <a:lnTo>
                    <a:pt x="527" y="171"/>
                  </a:lnTo>
                  <a:lnTo>
                    <a:pt x="527" y="52"/>
                  </a:lnTo>
                  <a:lnTo>
                    <a:pt x="526" y="46"/>
                  </a:lnTo>
                  <a:lnTo>
                    <a:pt x="525" y="42"/>
                  </a:lnTo>
                  <a:lnTo>
                    <a:pt x="525" y="40"/>
                  </a:lnTo>
                  <a:lnTo>
                    <a:pt x="524" y="39"/>
                  </a:lnTo>
                  <a:lnTo>
                    <a:pt x="522" y="36"/>
                  </a:lnTo>
                  <a:lnTo>
                    <a:pt x="520" y="33"/>
                  </a:lnTo>
                  <a:lnTo>
                    <a:pt x="517" y="31"/>
                  </a:lnTo>
                  <a:lnTo>
                    <a:pt x="513" y="30"/>
                  </a:lnTo>
                  <a:lnTo>
                    <a:pt x="509" y="30"/>
                  </a:lnTo>
                  <a:lnTo>
                    <a:pt x="505" y="30"/>
                  </a:lnTo>
                  <a:lnTo>
                    <a:pt x="502" y="31"/>
                  </a:lnTo>
                  <a:lnTo>
                    <a:pt x="499" y="33"/>
                  </a:lnTo>
                  <a:lnTo>
                    <a:pt x="496" y="36"/>
                  </a:lnTo>
                  <a:lnTo>
                    <a:pt x="494" y="39"/>
                  </a:lnTo>
                  <a:lnTo>
                    <a:pt x="493" y="42"/>
                  </a:lnTo>
                  <a:lnTo>
                    <a:pt x="491" y="46"/>
                  </a:lnTo>
                  <a:lnTo>
                    <a:pt x="491" y="52"/>
                  </a:lnTo>
                  <a:lnTo>
                    <a:pt x="491" y="171"/>
                  </a:lnTo>
                  <a:close/>
                  <a:moveTo>
                    <a:pt x="457" y="55"/>
                  </a:moveTo>
                  <a:lnTo>
                    <a:pt x="457" y="48"/>
                  </a:lnTo>
                  <a:lnTo>
                    <a:pt x="458" y="42"/>
                  </a:lnTo>
                  <a:lnTo>
                    <a:pt x="459" y="37"/>
                  </a:lnTo>
                  <a:lnTo>
                    <a:pt x="460" y="33"/>
                  </a:lnTo>
                  <a:lnTo>
                    <a:pt x="460" y="31"/>
                  </a:lnTo>
                  <a:lnTo>
                    <a:pt x="462" y="26"/>
                  </a:lnTo>
                  <a:lnTo>
                    <a:pt x="464" y="22"/>
                  </a:lnTo>
                  <a:lnTo>
                    <a:pt x="467" y="18"/>
                  </a:lnTo>
                  <a:lnTo>
                    <a:pt x="470" y="13"/>
                  </a:lnTo>
                  <a:lnTo>
                    <a:pt x="473" y="10"/>
                  </a:lnTo>
                  <a:lnTo>
                    <a:pt x="478" y="7"/>
                  </a:lnTo>
                  <a:lnTo>
                    <a:pt x="482" y="5"/>
                  </a:lnTo>
                  <a:lnTo>
                    <a:pt x="486" y="3"/>
                  </a:lnTo>
                  <a:lnTo>
                    <a:pt x="491" y="1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0"/>
                  </a:lnTo>
                  <a:lnTo>
                    <a:pt x="515" y="0"/>
                  </a:lnTo>
                  <a:lnTo>
                    <a:pt x="521" y="0"/>
                  </a:lnTo>
                  <a:lnTo>
                    <a:pt x="526" y="1"/>
                  </a:lnTo>
                  <a:lnTo>
                    <a:pt x="532" y="3"/>
                  </a:lnTo>
                  <a:lnTo>
                    <a:pt x="536" y="5"/>
                  </a:lnTo>
                  <a:lnTo>
                    <a:pt x="540" y="7"/>
                  </a:lnTo>
                  <a:lnTo>
                    <a:pt x="544" y="10"/>
                  </a:lnTo>
                  <a:lnTo>
                    <a:pt x="548" y="13"/>
                  </a:lnTo>
                  <a:lnTo>
                    <a:pt x="551" y="18"/>
                  </a:lnTo>
                  <a:lnTo>
                    <a:pt x="554" y="22"/>
                  </a:lnTo>
                  <a:lnTo>
                    <a:pt x="556" y="26"/>
                  </a:lnTo>
                  <a:lnTo>
                    <a:pt x="558" y="31"/>
                  </a:lnTo>
                  <a:lnTo>
                    <a:pt x="559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1" y="168"/>
                  </a:lnTo>
                  <a:lnTo>
                    <a:pt x="561" y="175"/>
                  </a:lnTo>
                  <a:lnTo>
                    <a:pt x="560" y="180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8" y="192"/>
                  </a:lnTo>
                  <a:lnTo>
                    <a:pt x="556" y="196"/>
                  </a:lnTo>
                  <a:lnTo>
                    <a:pt x="554" y="202"/>
                  </a:lnTo>
                  <a:lnTo>
                    <a:pt x="551" y="205"/>
                  </a:lnTo>
                  <a:lnTo>
                    <a:pt x="548" y="209"/>
                  </a:lnTo>
                  <a:lnTo>
                    <a:pt x="544" y="212"/>
                  </a:lnTo>
                  <a:lnTo>
                    <a:pt x="540" y="215"/>
                  </a:lnTo>
                  <a:lnTo>
                    <a:pt x="536" y="217"/>
                  </a:lnTo>
                  <a:lnTo>
                    <a:pt x="532" y="220"/>
                  </a:lnTo>
                  <a:lnTo>
                    <a:pt x="526" y="222"/>
                  </a:lnTo>
                  <a:lnTo>
                    <a:pt x="521" y="223"/>
                  </a:lnTo>
                  <a:lnTo>
                    <a:pt x="515" y="223"/>
                  </a:lnTo>
                  <a:lnTo>
                    <a:pt x="509" y="224"/>
                  </a:lnTo>
                  <a:lnTo>
                    <a:pt x="503" y="223"/>
                  </a:lnTo>
                  <a:lnTo>
                    <a:pt x="497" y="223"/>
                  </a:lnTo>
                  <a:lnTo>
                    <a:pt x="491" y="222"/>
                  </a:lnTo>
                  <a:lnTo>
                    <a:pt x="486" y="220"/>
                  </a:lnTo>
                  <a:lnTo>
                    <a:pt x="482" y="217"/>
                  </a:lnTo>
                  <a:lnTo>
                    <a:pt x="478" y="215"/>
                  </a:lnTo>
                  <a:lnTo>
                    <a:pt x="473" y="212"/>
                  </a:lnTo>
                  <a:lnTo>
                    <a:pt x="470" y="209"/>
                  </a:lnTo>
                  <a:lnTo>
                    <a:pt x="467" y="205"/>
                  </a:lnTo>
                  <a:lnTo>
                    <a:pt x="464" y="202"/>
                  </a:lnTo>
                  <a:lnTo>
                    <a:pt x="462" y="196"/>
                  </a:lnTo>
                  <a:lnTo>
                    <a:pt x="460" y="192"/>
                  </a:lnTo>
                  <a:lnTo>
                    <a:pt x="459" y="187"/>
                  </a:lnTo>
                  <a:lnTo>
                    <a:pt x="458" y="180"/>
                  </a:lnTo>
                  <a:lnTo>
                    <a:pt x="457" y="175"/>
                  </a:lnTo>
                  <a:lnTo>
                    <a:pt x="457" y="168"/>
                  </a:lnTo>
                  <a:lnTo>
                    <a:pt x="457" y="55"/>
                  </a:lnTo>
                  <a:close/>
                  <a:moveTo>
                    <a:pt x="370" y="134"/>
                  </a:moveTo>
                  <a:lnTo>
                    <a:pt x="359" y="154"/>
                  </a:lnTo>
                  <a:lnTo>
                    <a:pt x="359" y="221"/>
                  </a:lnTo>
                  <a:lnTo>
                    <a:pt x="324" y="221"/>
                  </a:lnTo>
                  <a:lnTo>
                    <a:pt x="324" y="2"/>
                  </a:lnTo>
                  <a:lnTo>
                    <a:pt x="359" y="2"/>
                  </a:lnTo>
                  <a:lnTo>
                    <a:pt x="359" y="97"/>
                  </a:lnTo>
                  <a:lnTo>
                    <a:pt x="404" y="2"/>
                  </a:lnTo>
                  <a:lnTo>
                    <a:pt x="439" y="2"/>
                  </a:lnTo>
                  <a:lnTo>
                    <a:pt x="390" y="99"/>
                  </a:lnTo>
                  <a:lnTo>
                    <a:pt x="439" y="221"/>
                  </a:lnTo>
                  <a:lnTo>
                    <a:pt x="403" y="221"/>
                  </a:lnTo>
                  <a:lnTo>
                    <a:pt x="370" y="134"/>
                  </a:lnTo>
                  <a:close/>
                  <a:moveTo>
                    <a:pt x="257" y="2"/>
                  </a:moveTo>
                  <a:lnTo>
                    <a:pt x="292" y="2"/>
                  </a:lnTo>
                  <a:lnTo>
                    <a:pt x="292" y="221"/>
                  </a:lnTo>
                  <a:lnTo>
                    <a:pt x="257" y="221"/>
                  </a:lnTo>
                  <a:lnTo>
                    <a:pt x="257" y="2"/>
                  </a:lnTo>
                  <a:close/>
                  <a:moveTo>
                    <a:pt x="157" y="33"/>
                  </a:moveTo>
                  <a:lnTo>
                    <a:pt x="15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9" y="99"/>
                  </a:lnTo>
                  <a:lnTo>
                    <a:pt x="184" y="98"/>
                  </a:lnTo>
                  <a:lnTo>
                    <a:pt x="185" y="97"/>
                  </a:lnTo>
                  <a:lnTo>
                    <a:pt x="186" y="95"/>
                  </a:lnTo>
                  <a:lnTo>
                    <a:pt x="189" y="93"/>
                  </a:lnTo>
                  <a:lnTo>
                    <a:pt x="190" y="88"/>
                  </a:lnTo>
                  <a:lnTo>
                    <a:pt x="191" y="83"/>
                  </a:lnTo>
                  <a:lnTo>
                    <a:pt x="192" y="77"/>
                  </a:lnTo>
                  <a:lnTo>
                    <a:pt x="192" y="56"/>
                  </a:lnTo>
                  <a:lnTo>
                    <a:pt x="191" y="50"/>
                  </a:lnTo>
                  <a:lnTo>
                    <a:pt x="191" y="45"/>
                  </a:lnTo>
                  <a:lnTo>
                    <a:pt x="189" y="42"/>
                  </a:lnTo>
                  <a:lnTo>
                    <a:pt x="188" y="39"/>
                  </a:lnTo>
                  <a:lnTo>
                    <a:pt x="185" y="36"/>
                  </a:lnTo>
                  <a:lnTo>
                    <a:pt x="184" y="34"/>
                  </a:lnTo>
                  <a:lnTo>
                    <a:pt x="183" y="34"/>
                  </a:lnTo>
                  <a:lnTo>
                    <a:pt x="178" y="33"/>
                  </a:lnTo>
                  <a:lnTo>
                    <a:pt x="174" y="33"/>
                  </a:lnTo>
                  <a:lnTo>
                    <a:pt x="157" y="33"/>
                  </a:lnTo>
                  <a:close/>
                  <a:moveTo>
                    <a:pt x="195" y="221"/>
                  </a:moveTo>
                  <a:lnTo>
                    <a:pt x="193" y="212"/>
                  </a:lnTo>
                  <a:lnTo>
                    <a:pt x="192" y="205"/>
                  </a:lnTo>
                  <a:lnTo>
                    <a:pt x="192" y="194"/>
                  </a:lnTo>
                  <a:lnTo>
                    <a:pt x="192" y="159"/>
                  </a:lnTo>
                  <a:lnTo>
                    <a:pt x="192" y="153"/>
                  </a:lnTo>
                  <a:lnTo>
                    <a:pt x="191" y="147"/>
                  </a:lnTo>
                  <a:lnTo>
                    <a:pt x="189" y="141"/>
                  </a:lnTo>
                  <a:lnTo>
                    <a:pt x="187" y="138"/>
                  </a:lnTo>
                  <a:lnTo>
                    <a:pt x="185" y="136"/>
                  </a:lnTo>
                  <a:lnTo>
                    <a:pt x="184" y="135"/>
                  </a:lnTo>
                  <a:lnTo>
                    <a:pt x="179" y="133"/>
                  </a:lnTo>
                  <a:lnTo>
                    <a:pt x="175" y="132"/>
                  </a:lnTo>
                  <a:lnTo>
                    <a:pt x="170" y="132"/>
                  </a:lnTo>
                  <a:lnTo>
                    <a:pt x="157" y="132"/>
                  </a:lnTo>
                  <a:lnTo>
                    <a:pt x="157" y="221"/>
                  </a:lnTo>
                  <a:lnTo>
                    <a:pt x="123" y="221"/>
                  </a:lnTo>
                  <a:lnTo>
                    <a:pt x="123" y="2"/>
                  </a:lnTo>
                  <a:lnTo>
                    <a:pt x="175" y="2"/>
                  </a:lnTo>
                  <a:lnTo>
                    <a:pt x="182" y="2"/>
                  </a:lnTo>
                  <a:lnTo>
                    <a:pt x="188" y="3"/>
                  </a:lnTo>
                  <a:lnTo>
                    <a:pt x="193" y="4"/>
                  </a:lnTo>
                  <a:lnTo>
                    <a:pt x="199" y="5"/>
                  </a:lnTo>
                  <a:lnTo>
                    <a:pt x="203" y="7"/>
                  </a:lnTo>
                  <a:lnTo>
                    <a:pt x="207" y="9"/>
                  </a:lnTo>
                  <a:lnTo>
                    <a:pt x="211" y="11"/>
                  </a:lnTo>
                  <a:lnTo>
                    <a:pt x="214" y="14"/>
                  </a:lnTo>
                  <a:lnTo>
                    <a:pt x="218" y="18"/>
                  </a:lnTo>
                  <a:lnTo>
                    <a:pt x="220" y="21"/>
                  </a:lnTo>
                  <a:lnTo>
                    <a:pt x="222" y="25"/>
                  </a:lnTo>
                  <a:lnTo>
                    <a:pt x="223" y="30"/>
                  </a:lnTo>
                  <a:lnTo>
                    <a:pt x="225" y="34"/>
                  </a:lnTo>
                  <a:lnTo>
                    <a:pt x="226" y="40"/>
                  </a:lnTo>
                  <a:lnTo>
                    <a:pt x="226" y="46"/>
                  </a:lnTo>
                  <a:lnTo>
                    <a:pt x="226" y="52"/>
                  </a:lnTo>
                  <a:lnTo>
                    <a:pt x="226" y="69"/>
                  </a:lnTo>
                  <a:lnTo>
                    <a:pt x="226" y="78"/>
                  </a:lnTo>
                  <a:lnTo>
                    <a:pt x="225" y="85"/>
                  </a:lnTo>
                  <a:lnTo>
                    <a:pt x="223" y="92"/>
                  </a:lnTo>
                  <a:lnTo>
                    <a:pt x="221" y="97"/>
                  </a:lnTo>
                  <a:lnTo>
                    <a:pt x="220" y="100"/>
                  </a:lnTo>
                  <a:lnTo>
                    <a:pt x="218" y="102"/>
                  </a:lnTo>
                  <a:lnTo>
                    <a:pt x="215" y="104"/>
                  </a:lnTo>
                  <a:lnTo>
                    <a:pt x="213" y="107"/>
                  </a:lnTo>
                  <a:lnTo>
                    <a:pt x="209" y="111"/>
                  </a:lnTo>
                  <a:lnTo>
                    <a:pt x="204" y="114"/>
                  </a:lnTo>
                  <a:lnTo>
                    <a:pt x="207" y="115"/>
                  </a:lnTo>
                  <a:lnTo>
                    <a:pt x="210" y="117"/>
                  </a:lnTo>
                  <a:lnTo>
                    <a:pt x="212" y="119"/>
                  </a:lnTo>
                  <a:lnTo>
                    <a:pt x="214" y="121"/>
                  </a:lnTo>
                  <a:lnTo>
                    <a:pt x="219" y="125"/>
                  </a:lnTo>
                  <a:lnTo>
                    <a:pt x="222" y="131"/>
                  </a:lnTo>
                  <a:lnTo>
                    <a:pt x="224" y="137"/>
                  </a:lnTo>
                  <a:lnTo>
                    <a:pt x="225" y="144"/>
                  </a:lnTo>
                  <a:lnTo>
                    <a:pt x="226" y="149"/>
                  </a:lnTo>
                  <a:lnTo>
                    <a:pt x="226" y="152"/>
                  </a:lnTo>
                  <a:lnTo>
                    <a:pt x="227" y="160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9"/>
                  </a:lnTo>
                  <a:lnTo>
                    <a:pt x="228" y="215"/>
                  </a:lnTo>
                  <a:lnTo>
                    <a:pt x="229" y="217"/>
                  </a:lnTo>
                  <a:lnTo>
                    <a:pt x="230" y="221"/>
                  </a:lnTo>
                  <a:lnTo>
                    <a:pt x="195" y="221"/>
                  </a:lnTo>
                  <a:close/>
                  <a:moveTo>
                    <a:pt x="35" y="94"/>
                  </a:moveTo>
                  <a:lnTo>
                    <a:pt x="82" y="94"/>
                  </a:lnTo>
                  <a:lnTo>
                    <a:pt x="82" y="125"/>
                  </a:lnTo>
                  <a:lnTo>
                    <a:pt x="35" y="125"/>
                  </a:lnTo>
                  <a:lnTo>
                    <a:pt x="35" y="190"/>
                  </a:lnTo>
                  <a:lnTo>
                    <a:pt x="94" y="190"/>
                  </a:lnTo>
                  <a:lnTo>
                    <a:pt x="94" y="221"/>
                  </a:lnTo>
                  <a:lnTo>
                    <a:pt x="0" y="221"/>
                  </a:lnTo>
                  <a:lnTo>
                    <a:pt x="0" y="2"/>
                  </a:lnTo>
                  <a:lnTo>
                    <a:pt x="94" y="2"/>
                  </a:lnTo>
                  <a:lnTo>
                    <a:pt x="94" y="33"/>
                  </a:lnTo>
                  <a:lnTo>
                    <a:pt x="35" y="33"/>
                  </a:lnTo>
                  <a:lnTo>
                    <a:pt x="35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05988341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BEB5BC28-A82D-4F9E-A1D1-D667A6DFF130}" type="datetime1">
              <a:rPr lang="fi-FI" smtClean="0"/>
              <a:t>28.2.2018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 smtClean="0"/>
              <a:t>Do not add text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6185918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8.xml"/><Relationship Id="rId13" Type="http://schemas.openxmlformats.org/officeDocument/2006/relationships/slideLayout" Target="../slideLayouts/slideLayout263.xml"/><Relationship Id="rId18" Type="http://schemas.openxmlformats.org/officeDocument/2006/relationships/slideLayout" Target="../slideLayouts/slideLayout268.xml"/><Relationship Id="rId26" Type="http://schemas.openxmlformats.org/officeDocument/2006/relationships/slideLayout" Target="../slideLayouts/slideLayout276.xml"/><Relationship Id="rId3" Type="http://schemas.openxmlformats.org/officeDocument/2006/relationships/slideLayout" Target="../slideLayouts/slideLayout253.xml"/><Relationship Id="rId21" Type="http://schemas.openxmlformats.org/officeDocument/2006/relationships/slideLayout" Target="../slideLayouts/slideLayout271.xml"/><Relationship Id="rId7" Type="http://schemas.openxmlformats.org/officeDocument/2006/relationships/slideLayout" Target="../slideLayouts/slideLayout257.xml"/><Relationship Id="rId12" Type="http://schemas.openxmlformats.org/officeDocument/2006/relationships/slideLayout" Target="../slideLayouts/slideLayout262.xml"/><Relationship Id="rId17" Type="http://schemas.openxmlformats.org/officeDocument/2006/relationships/slideLayout" Target="../slideLayouts/slideLayout267.xml"/><Relationship Id="rId25" Type="http://schemas.openxmlformats.org/officeDocument/2006/relationships/slideLayout" Target="../slideLayouts/slideLayout275.xml"/><Relationship Id="rId2" Type="http://schemas.openxmlformats.org/officeDocument/2006/relationships/slideLayout" Target="../slideLayouts/slideLayout252.xml"/><Relationship Id="rId16" Type="http://schemas.openxmlformats.org/officeDocument/2006/relationships/slideLayout" Target="../slideLayouts/slideLayout266.xml"/><Relationship Id="rId20" Type="http://schemas.openxmlformats.org/officeDocument/2006/relationships/slideLayout" Target="../slideLayouts/slideLayout270.xml"/><Relationship Id="rId1" Type="http://schemas.openxmlformats.org/officeDocument/2006/relationships/slideLayout" Target="../slideLayouts/slideLayout251.xml"/><Relationship Id="rId6" Type="http://schemas.openxmlformats.org/officeDocument/2006/relationships/slideLayout" Target="../slideLayouts/slideLayout256.xml"/><Relationship Id="rId11" Type="http://schemas.openxmlformats.org/officeDocument/2006/relationships/slideLayout" Target="../slideLayouts/slideLayout261.xml"/><Relationship Id="rId24" Type="http://schemas.openxmlformats.org/officeDocument/2006/relationships/slideLayout" Target="../slideLayouts/slideLayout274.xml"/><Relationship Id="rId5" Type="http://schemas.openxmlformats.org/officeDocument/2006/relationships/slideLayout" Target="../slideLayouts/slideLayout255.xml"/><Relationship Id="rId15" Type="http://schemas.openxmlformats.org/officeDocument/2006/relationships/slideLayout" Target="../slideLayouts/slideLayout265.xml"/><Relationship Id="rId23" Type="http://schemas.openxmlformats.org/officeDocument/2006/relationships/slideLayout" Target="../slideLayouts/slideLayout273.xml"/><Relationship Id="rId28" Type="http://schemas.openxmlformats.org/officeDocument/2006/relationships/theme" Target="../theme/theme10.xml"/><Relationship Id="rId10" Type="http://schemas.openxmlformats.org/officeDocument/2006/relationships/slideLayout" Target="../slideLayouts/slideLayout260.xml"/><Relationship Id="rId19" Type="http://schemas.openxmlformats.org/officeDocument/2006/relationships/slideLayout" Target="../slideLayouts/slideLayout269.xml"/><Relationship Id="rId4" Type="http://schemas.openxmlformats.org/officeDocument/2006/relationships/slideLayout" Target="../slideLayouts/slideLayout254.xml"/><Relationship Id="rId9" Type="http://schemas.openxmlformats.org/officeDocument/2006/relationships/slideLayout" Target="../slideLayouts/slideLayout259.xml"/><Relationship Id="rId14" Type="http://schemas.openxmlformats.org/officeDocument/2006/relationships/slideLayout" Target="../slideLayouts/slideLayout264.xml"/><Relationship Id="rId22" Type="http://schemas.openxmlformats.org/officeDocument/2006/relationships/slideLayout" Target="../slideLayouts/slideLayout272.xml"/><Relationship Id="rId27" Type="http://schemas.openxmlformats.org/officeDocument/2006/relationships/slideLayout" Target="../slideLayouts/slideLayout277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5.xml"/><Relationship Id="rId13" Type="http://schemas.openxmlformats.org/officeDocument/2006/relationships/slideLayout" Target="../slideLayouts/slideLayout290.xml"/><Relationship Id="rId18" Type="http://schemas.openxmlformats.org/officeDocument/2006/relationships/slideLayout" Target="../slideLayouts/slideLayout295.xml"/><Relationship Id="rId26" Type="http://schemas.openxmlformats.org/officeDocument/2006/relationships/slideLayout" Target="../slideLayouts/slideLayout303.xml"/><Relationship Id="rId3" Type="http://schemas.openxmlformats.org/officeDocument/2006/relationships/slideLayout" Target="../slideLayouts/slideLayout280.xml"/><Relationship Id="rId21" Type="http://schemas.openxmlformats.org/officeDocument/2006/relationships/slideLayout" Target="../slideLayouts/slideLayout298.xml"/><Relationship Id="rId7" Type="http://schemas.openxmlformats.org/officeDocument/2006/relationships/slideLayout" Target="../slideLayouts/slideLayout284.xml"/><Relationship Id="rId12" Type="http://schemas.openxmlformats.org/officeDocument/2006/relationships/slideLayout" Target="../slideLayouts/slideLayout289.xml"/><Relationship Id="rId17" Type="http://schemas.openxmlformats.org/officeDocument/2006/relationships/slideLayout" Target="../slideLayouts/slideLayout294.xml"/><Relationship Id="rId25" Type="http://schemas.openxmlformats.org/officeDocument/2006/relationships/slideLayout" Target="../slideLayouts/slideLayout302.xml"/><Relationship Id="rId2" Type="http://schemas.openxmlformats.org/officeDocument/2006/relationships/slideLayout" Target="../slideLayouts/slideLayout279.xml"/><Relationship Id="rId16" Type="http://schemas.openxmlformats.org/officeDocument/2006/relationships/slideLayout" Target="../slideLayouts/slideLayout293.xml"/><Relationship Id="rId20" Type="http://schemas.openxmlformats.org/officeDocument/2006/relationships/slideLayout" Target="../slideLayouts/slideLayout297.xml"/><Relationship Id="rId1" Type="http://schemas.openxmlformats.org/officeDocument/2006/relationships/slideLayout" Target="../slideLayouts/slideLayout278.xml"/><Relationship Id="rId6" Type="http://schemas.openxmlformats.org/officeDocument/2006/relationships/slideLayout" Target="../slideLayouts/slideLayout283.xml"/><Relationship Id="rId11" Type="http://schemas.openxmlformats.org/officeDocument/2006/relationships/slideLayout" Target="../slideLayouts/slideLayout288.xml"/><Relationship Id="rId24" Type="http://schemas.openxmlformats.org/officeDocument/2006/relationships/slideLayout" Target="../slideLayouts/slideLayout301.xml"/><Relationship Id="rId5" Type="http://schemas.openxmlformats.org/officeDocument/2006/relationships/slideLayout" Target="../slideLayouts/slideLayout282.xml"/><Relationship Id="rId15" Type="http://schemas.openxmlformats.org/officeDocument/2006/relationships/slideLayout" Target="../slideLayouts/slideLayout292.xml"/><Relationship Id="rId23" Type="http://schemas.openxmlformats.org/officeDocument/2006/relationships/slideLayout" Target="../slideLayouts/slideLayout300.xml"/><Relationship Id="rId28" Type="http://schemas.openxmlformats.org/officeDocument/2006/relationships/theme" Target="../theme/theme11.xml"/><Relationship Id="rId10" Type="http://schemas.openxmlformats.org/officeDocument/2006/relationships/slideLayout" Target="../slideLayouts/slideLayout287.xml"/><Relationship Id="rId19" Type="http://schemas.openxmlformats.org/officeDocument/2006/relationships/slideLayout" Target="../slideLayouts/slideLayout296.xml"/><Relationship Id="rId4" Type="http://schemas.openxmlformats.org/officeDocument/2006/relationships/slideLayout" Target="../slideLayouts/slideLayout281.xml"/><Relationship Id="rId9" Type="http://schemas.openxmlformats.org/officeDocument/2006/relationships/slideLayout" Target="../slideLayouts/slideLayout286.xml"/><Relationship Id="rId14" Type="http://schemas.openxmlformats.org/officeDocument/2006/relationships/slideLayout" Target="../slideLayouts/slideLayout291.xml"/><Relationship Id="rId22" Type="http://schemas.openxmlformats.org/officeDocument/2006/relationships/slideLayout" Target="../slideLayouts/slideLayout299.xml"/><Relationship Id="rId27" Type="http://schemas.openxmlformats.org/officeDocument/2006/relationships/slideLayout" Target="../slideLayouts/slideLayout304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2.xml"/><Relationship Id="rId13" Type="http://schemas.openxmlformats.org/officeDocument/2006/relationships/slideLayout" Target="../slideLayouts/slideLayout317.xml"/><Relationship Id="rId18" Type="http://schemas.openxmlformats.org/officeDocument/2006/relationships/slideLayout" Target="../slideLayouts/slideLayout322.xml"/><Relationship Id="rId26" Type="http://schemas.openxmlformats.org/officeDocument/2006/relationships/slideLayout" Target="../slideLayouts/slideLayout330.xml"/><Relationship Id="rId3" Type="http://schemas.openxmlformats.org/officeDocument/2006/relationships/slideLayout" Target="../slideLayouts/slideLayout307.xml"/><Relationship Id="rId21" Type="http://schemas.openxmlformats.org/officeDocument/2006/relationships/slideLayout" Target="../slideLayouts/slideLayout325.xml"/><Relationship Id="rId7" Type="http://schemas.openxmlformats.org/officeDocument/2006/relationships/slideLayout" Target="../slideLayouts/slideLayout311.xml"/><Relationship Id="rId12" Type="http://schemas.openxmlformats.org/officeDocument/2006/relationships/slideLayout" Target="../slideLayouts/slideLayout316.xml"/><Relationship Id="rId17" Type="http://schemas.openxmlformats.org/officeDocument/2006/relationships/slideLayout" Target="../slideLayouts/slideLayout321.xml"/><Relationship Id="rId25" Type="http://schemas.openxmlformats.org/officeDocument/2006/relationships/slideLayout" Target="../slideLayouts/slideLayout329.xml"/><Relationship Id="rId2" Type="http://schemas.openxmlformats.org/officeDocument/2006/relationships/slideLayout" Target="../slideLayouts/slideLayout306.xml"/><Relationship Id="rId16" Type="http://schemas.openxmlformats.org/officeDocument/2006/relationships/slideLayout" Target="../slideLayouts/slideLayout320.xml"/><Relationship Id="rId20" Type="http://schemas.openxmlformats.org/officeDocument/2006/relationships/slideLayout" Target="../slideLayouts/slideLayout324.xml"/><Relationship Id="rId1" Type="http://schemas.openxmlformats.org/officeDocument/2006/relationships/slideLayout" Target="../slideLayouts/slideLayout305.xml"/><Relationship Id="rId6" Type="http://schemas.openxmlformats.org/officeDocument/2006/relationships/slideLayout" Target="../slideLayouts/slideLayout310.xml"/><Relationship Id="rId11" Type="http://schemas.openxmlformats.org/officeDocument/2006/relationships/slideLayout" Target="../slideLayouts/slideLayout315.xml"/><Relationship Id="rId24" Type="http://schemas.openxmlformats.org/officeDocument/2006/relationships/slideLayout" Target="../slideLayouts/slideLayout328.xml"/><Relationship Id="rId5" Type="http://schemas.openxmlformats.org/officeDocument/2006/relationships/slideLayout" Target="../slideLayouts/slideLayout309.xml"/><Relationship Id="rId15" Type="http://schemas.openxmlformats.org/officeDocument/2006/relationships/slideLayout" Target="../slideLayouts/slideLayout319.xml"/><Relationship Id="rId23" Type="http://schemas.openxmlformats.org/officeDocument/2006/relationships/slideLayout" Target="../slideLayouts/slideLayout327.xml"/><Relationship Id="rId28" Type="http://schemas.openxmlformats.org/officeDocument/2006/relationships/theme" Target="../theme/theme12.xml"/><Relationship Id="rId10" Type="http://schemas.openxmlformats.org/officeDocument/2006/relationships/slideLayout" Target="../slideLayouts/slideLayout314.xml"/><Relationship Id="rId19" Type="http://schemas.openxmlformats.org/officeDocument/2006/relationships/slideLayout" Target="../slideLayouts/slideLayout323.xml"/><Relationship Id="rId4" Type="http://schemas.openxmlformats.org/officeDocument/2006/relationships/slideLayout" Target="../slideLayouts/slideLayout308.xml"/><Relationship Id="rId9" Type="http://schemas.openxmlformats.org/officeDocument/2006/relationships/slideLayout" Target="../slideLayouts/slideLayout313.xml"/><Relationship Id="rId14" Type="http://schemas.openxmlformats.org/officeDocument/2006/relationships/slideLayout" Target="../slideLayouts/slideLayout318.xml"/><Relationship Id="rId22" Type="http://schemas.openxmlformats.org/officeDocument/2006/relationships/slideLayout" Target="../slideLayouts/slideLayout326.xml"/><Relationship Id="rId27" Type="http://schemas.openxmlformats.org/officeDocument/2006/relationships/slideLayout" Target="../slideLayouts/slideLayout331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44.xml"/><Relationship Id="rId18" Type="http://schemas.openxmlformats.org/officeDocument/2006/relationships/slideLayout" Target="../slideLayouts/slideLayout349.xml"/><Relationship Id="rId26" Type="http://schemas.openxmlformats.org/officeDocument/2006/relationships/slideLayout" Target="../slideLayouts/slideLayout357.xml"/><Relationship Id="rId3" Type="http://schemas.openxmlformats.org/officeDocument/2006/relationships/slideLayout" Target="../slideLayouts/slideLayout334.xml"/><Relationship Id="rId21" Type="http://schemas.openxmlformats.org/officeDocument/2006/relationships/slideLayout" Target="../slideLayouts/slideLayout352.xml"/><Relationship Id="rId34" Type="http://schemas.openxmlformats.org/officeDocument/2006/relationships/slideLayout" Target="../slideLayouts/slideLayout365.xml"/><Relationship Id="rId7" Type="http://schemas.openxmlformats.org/officeDocument/2006/relationships/slideLayout" Target="../slideLayouts/slideLayout338.xml"/><Relationship Id="rId12" Type="http://schemas.openxmlformats.org/officeDocument/2006/relationships/slideLayout" Target="../slideLayouts/slideLayout343.xml"/><Relationship Id="rId17" Type="http://schemas.openxmlformats.org/officeDocument/2006/relationships/slideLayout" Target="../slideLayouts/slideLayout348.xml"/><Relationship Id="rId25" Type="http://schemas.openxmlformats.org/officeDocument/2006/relationships/slideLayout" Target="../slideLayouts/slideLayout356.xml"/><Relationship Id="rId33" Type="http://schemas.openxmlformats.org/officeDocument/2006/relationships/slideLayout" Target="../slideLayouts/slideLayout364.xml"/><Relationship Id="rId2" Type="http://schemas.openxmlformats.org/officeDocument/2006/relationships/slideLayout" Target="../slideLayouts/slideLayout333.xml"/><Relationship Id="rId16" Type="http://schemas.openxmlformats.org/officeDocument/2006/relationships/slideLayout" Target="../slideLayouts/slideLayout347.xml"/><Relationship Id="rId20" Type="http://schemas.openxmlformats.org/officeDocument/2006/relationships/slideLayout" Target="../slideLayouts/slideLayout351.xml"/><Relationship Id="rId29" Type="http://schemas.openxmlformats.org/officeDocument/2006/relationships/slideLayout" Target="../slideLayouts/slideLayout360.xml"/><Relationship Id="rId1" Type="http://schemas.openxmlformats.org/officeDocument/2006/relationships/slideLayout" Target="../slideLayouts/slideLayout332.xml"/><Relationship Id="rId6" Type="http://schemas.openxmlformats.org/officeDocument/2006/relationships/slideLayout" Target="../slideLayouts/slideLayout337.xml"/><Relationship Id="rId11" Type="http://schemas.openxmlformats.org/officeDocument/2006/relationships/slideLayout" Target="../slideLayouts/slideLayout342.xml"/><Relationship Id="rId24" Type="http://schemas.openxmlformats.org/officeDocument/2006/relationships/slideLayout" Target="../slideLayouts/slideLayout355.xml"/><Relationship Id="rId32" Type="http://schemas.openxmlformats.org/officeDocument/2006/relationships/slideLayout" Target="../slideLayouts/slideLayout363.xml"/><Relationship Id="rId5" Type="http://schemas.openxmlformats.org/officeDocument/2006/relationships/slideLayout" Target="../slideLayouts/slideLayout336.xml"/><Relationship Id="rId15" Type="http://schemas.openxmlformats.org/officeDocument/2006/relationships/slideLayout" Target="../slideLayouts/slideLayout346.xml"/><Relationship Id="rId23" Type="http://schemas.openxmlformats.org/officeDocument/2006/relationships/slideLayout" Target="../slideLayouts/slideLayout354.xml"/><Relationship Id="rId28" Type="http://schemas.openxmlformats.org/officeDocument/2006/relationships/slideLayout" Target="../slideLayouts/slideLayout359.xml"/><Relationship Id="rId10" Type="http://schemas.openxmlformats.org/officeDocument/2006/relationships/slideLayout" Target="../slideLayouts/slideLayout341.xml"/><Relationship Id="rId19" Type="http://schemas.openxmlformats.org/officeDocument/2006/relationships/slideLayout" Target="../slideLayouts/slideLayout350.xml"/><Relationship Id="rId31" Type="http://schemas.openxmlformats.org/officeDocument/2006/relationships/slideLayout" Target="../slideLayouts/slideLayout362.xml"/><Relationship Id="rId4" Type="http://schemas.openxmlformats.org/officeDocument/2006/relationships/slideLayout" Target="../slideLayouts/slideLayout335.xml"/><Relationship Id="rId9" Type="http://schemas.openxmlformats.org/officeDocument/2006/relationships/slideLayout" Target="../slideLayouts/slideLayout340.xml"/><Relationship Id="rId14" Type="http://schemas.openxmlformats.org/officeDocument/2006/relationships/slideLayout" Target="../slideLayouts/slideLayout345.xml"/><Relationship Id="rId22" Type="http://schemas.openxmlformats.org/officeDocument/2006/relationships/slideLayout" Target="../slideLayouts/slideLayout353.xml"/><Relationship Id="rId27" Type="http://schemas.openxmlformats.org/officeDocument/2006/relationships/slideLayout" Target="../slideLayouts/slideLayout358.xml"/><Relationship Id="rId30" Type="http://schemas.openxmlformats.org/officeDocument/2006/relationships/slideLayout" Target="../slideLayouts/slideLayout361.xml"/><Relationship Id="rId35" Type="http://schemas.openxmlformats.org/officeDocument/2006/relationships/theme" Target="../theme/theme13.xml"/><Relationship Id="rId8" Type="http://schemas.openxmlformats.org/officeDocument/2006/relationships/slideLayout" Target="../slideLayouts/slideLayout339.xml"/></Relationships>
</file>

<file path=ppt/slideMasters/_rels/slideMaster1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8.xml"/><Relationship Id="rId18" Type="http://schemas.openxmlformats.org/officeDocument/2006/relationships/slideLayout" Target="../slideLayouts/slideLayout383.xml"/><Relationship Id="rId26" Type="http://schemas.openxmlformats.org/officeDocument/2006/relationships/slideLayout" Target="../slideLayouts/slideLayout391.xml"/><Relationship Id="rId3" Type="http://schemas.openxmlformats.org/officeDocument/2006/relationships/slideLayout" Target="../slideLayouts/slideLayout368.xml"/><Relationship Id="rId21" Type="http://schemas.openxmlformats.org/officeDocument/2006/relationships/slideLayout" Target="../slideLayouts/slideLayout386.xml"/><Relationship Id="rId34" Type="http://schemas.openxmlformats.org/officeDocument/2006/relationships/slideLayout" Target="../slideLayouts/slideLayout399.xml"/><Relationship Id="rId7" Type="http://schemas.openxmlformats.org/officeDocument/2006/relationships/slideLayout" Target="../slideLayouts/slideLayout372.xml"/><Relationship Id="rId12" Type="http://schemas.openxmlformats.org/officeDocument/2006/relationships/slideLayout" Target="../slideLayouts/slideLayout377.xml"/><Relationship Id="rId17" Type="http://schemas.openxmlformats.org/officeDocument/2006/relationships/slideLayout" Target="../slideLayouts/slideLayout382.xml"/><Relationship Id="rId25" Type="http://schemas.openxmlformats.org/officeDocument/2006/relationships/slideLayout" Target="../slideLayouts/slideLayout390.xml"/><Relationship Id="rId33" Type="http://schemas.openxmlformats.org/officeDocument/2006/relationships/slideLayout" Target="../slideLayouts/slideLayout398.xml"/><Relationship Id="rId2" Type="http://schemas.openxmlformats.org/officeDocument/2006/relationships/slideLayout" Target="../slideLayouts/slideLayout367.xml"/><Relationship Id="rId16" Type="http://schemas.openxmlformats.org/officeDocument/2006/relationships/slideLayout" Target="../slideLayouts/slideLayout381.xml"/><Relationship Id="rId20" Type="http://schemas.openxmlformats.org/officeDocument/2006/relationships/slideLayout" Target="../slideLayouts/slideLayout385.xml"/><Relationship Id="rId29" Type="http://schemas.openxmlformats.org/officeDocument/2006/relationships/slideLayout" Target="../slideLayouts/slideLayout394.xml"/><Relationship Id="rId1" Type="http://schemas.openxmlformats.org/officeDocument/2006/relationships/slideLayout" Target="../slideLayouts/slideLayout366.xml"/><Relationship Id="rId6" Type="http://schemas.openxmlformats.org/officeDocument/2006/relationships/slideLayout" Target="../slideLayouts/slideLayout371.xml"/><Relationship Id="rId11" Type="http://schemas.openxmlformats.org/officeDocument/2006/relationships/slideLayout" Target="../slideLayouts/slideLayout376.xml"/><Relationship Id="rId24" Type="http://schemas.openxmlformats.org/officeDocument/2006/relationships/slideLayout" Target="../slideLayouts/slideLayout389.xml"/><Relationship Id="rId32" Type="http://schemas.openxmlformats.org/officeDocument/2006/relationships/slideLayout" Target="../slideLayouts/slideLayout397.xml"/><Relationship Id="rId5" Type="http://schemas.openxmlformats.org/officeDocument/2006/relationships/slideLayout" Target="../slideLayouts/slideLayout370.xml"/><Relationship Id="rId15" Type="http://schemas.openxmlformats.org/officeDocument/2006/relationships/slideLayout" Target="../slideLayouts/slideLayout380.xml"/><Relationship Id="rId23" Type="http://schemas.openxmlformats.org/officeDocument/2006/relationships/slideLayout" Target="../slideLayouts/slideLayout388.xml"/><Relationship Id="rId28" Type="http://schemas.openxmlformats.org/officeDocument/2006/relationships/slideLayout" Target="../slideLayouts/slideLayout393.xml"/><Relationship Id="rId36" Type="http://schemas.openxmlformats.org/officeDocument/2006/relationships/theme" Target="../theme/theme14.xml"/><Relationship Id="rId10" Type="http://schemas.openxmlformats.org/officeDocument/2006/relationships/slideLayout" Target="../slideLayouts/slideLayout375.xml"/><Relationship Id="rId19" Type="http://schemas.openxmlformats.org/officeDocument/2006/relationships/slideLayout" Target="../slideLayouts/slideLayout384.xml"/><Relationship Id="rId31" Type="http://schemas.openxmlformats.org/officeDocument/2006/relationships/slideLayout" Target="../slideLayouts/slideLayout396.xml"/><Relationship Id="rId4" Type="http://schemas.openxmlformats.org/officeDocument/2006/relationships/slideLayout" Target="../slideLayouts/slideLayout369.xml"/><Relationship Id="rId9" Type="http://schemas.openxmlformats.org/officeDocument/2006/relationships/slideLayout" Target="../slideLayouts/slideLayout374.xml"/><Relationship Id="rId14" Type="http://schemas.openxmlformats.org/officeDocument/2006/relationships/slideLayout" Target="../slideLayouts/slideLayout379.xml"/><Relationship Id="rId22" Type="http://schemas.openxmlformats.org/officeDocument/2006/relationships/slideLayout" Target="../slideLayouts/slideLayout387.xml"/><Relationship Id="rId27" Type="http://schemas.openxmlformats.org/officeDocument/2006/relationships/slideLayout" Target="../slideLayouts/slideLayout392.xml"/><Relationship Id="rId30" Type="http://schemas.openxmlformats.org/officeDocument/2006/relationships/slideLayout" Target="../slideLayouts/slideLayout395.xml"/><Relationship Id="rId35" Type="http://schemas.openxmlformats.org/officeDocument/2006/relationships/slideLayout" Target="../slideLayouts/slideLayout400.xml"/><Relationship Id="rId8" Type="http://schemas.openxmlformats.org/officeDocument/2006/relationships/slideLayout" Target="../slideLayouts/slideLayout373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8.xml"/><Relationship Id="rId13" Type="http://schemas.openxmlformats.org/officeDocument/2006/relationships/slideLayout" Target="../slideLayouts/slideLayout413.xml"/><Relationship Id="rId18" Type="http://schemas.openxmlformats.org/officeDocument/2006/relationships/image" Target="../media/image10.png"/><Relationship Id="rId3" Type="http://schemas.openxmlformats.org/officeDocument/2006/relationships/slideLayout" Target="../slideLayouts/slideLayout403.xml"/><Relationship Id="rId7" Type="http://schemas.openxmlformats.org/officeDocument/2006/relationships/slideLayout" Target="../slideLayouts/slideLayout407.xml"/><Relationship Id="rId12" Type="http://schemas.openxmlformats.org/officeDocument/2006/relationships/slideLayout" Target="../slideLayouts/slideLayout412.xml"/><Relationship Id="rId17" Type="http://schemas.openxmlformats.org/officeDocument/2006/relationships/image" Target="../media/image9.png"/><Relationship Id="rId2" Type="http://schemas.openxmlformats.org/officeDocument/2006/relationships/slideLayout" Target="../slideLayouts/slideLayout402.xml"/><Relationship Id="rId16" Type="http://schemas.openxmlformats.org/officeDocument/2006/relationships/theme" Target="../theme/theme15.xml"/><Relationship Id="rId1" Type="http://schemas.openxmlformats.org/officeDocument/2006/relationships/slideLayout" Target="../slideLayouts/slideLayout401.xml"/><Relationship Id="rId6" Type="http://schemas.openxmlformats.org/officeDocument/2006/relationships/slideLayout" Target="../slideLayouts/slideLayout406.xml"/><Relationship Id="rId11" Type="http://schemas.openxmlformats.org/officeDocument/2006/relationships/slideLayout" Target="../slideLayouts/slideLayout411.xml"/><Relationship Id="rId5" Type="http://schemas.openxmlformats.org/officeDocument/2006/relationships/slideLayout" Target="../slideLayouts/slideLayout405.xml"/><Relationship Id="rId15" Type="http://schemas.openxmlformats.org/officeDocument/2006/relationships/slideLayout" Target="../slideLayouts/slideLayout415.xml"/><Relationship Id="rId10" Type="http://schemas.openxmlformats.org/officeDocument/2006/relationships/slideLayout" Target="../slideLayouts/slideLayout410.xml"/><Relationship Id="rId4" Type="http://schemas.openxmlformats.org/officeDocument/2006/relationships/slideLayout" Target="../slideLayouts/slideLayout404.xml"/><Relationship Id="rId9" Type="http://schemas.openxmlformats.org/officeDocument/2006/relationships/slideLayout" Target="../slideLayouts/slideLayout409.xml"/><Relationship Id="rId14" Type="http://schemas.openxmlformats.org/officeDocument/2006/relationships/slideLayout" Target="../slideLayouts/slideLayout414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3.xml"/><Relationship Id="rId13" Type="http://schemas.openxmlformats.org/officeDocument/2006/relationships/slideLayout" Target="../slideLayouts/slideLayout428.xml"/><Relationship Id="rId18" Type="http://schemas.openxmlformats.org/officeDocument/2006/relationships/slideLayout" Target="../slideLayouts/slideLayout433.xml"/><Relationship Id="rId26" Type="http://schemas.openxmlformats.org/officeDocument/2006/relationships/slideLayout" Target="../slideLayouts/slideLayout441.xml"/><Relationship Id="rId3" Type="http://schemas.openxmlformats.org/officeDocument/2006/relationships/slideLayout" Target="../slideLayouts/slideLayout418.xml"/><Relationship Id="rId21" Type="http://schemas.openxmlformats.org/officeDocument/2006/relationships/slideLayout" Target="../slideLayouts/slideLayout436.xml"/><Relationship Id="rId7" Type="http://schemas.openxmlformats.org/officeDocument/2006/relationships/slideLayout" Target="../slideLayouts/slideLayout422.xml"/><Relationship Id="rId12" Type="http://schemas.openxmlformats.org/officeDocument/2006/relationships/slideLayout" Target="../slideLayouts/slideLayout427.xml"/><Relationship Id="rId17" Type="http://schemas.openxmlformats.org/officeDocument/2006/relationships/slideLayout" Target="../slideLayouts/slideLayout432.xml"/><Relationship Id="rId25" Type="http://schemas.openxmlformats.org/officeDocument/2006/relationships/slideLayout" Target="../slideLayouts/slideLayout440.xml"/><Relationship Id="rId2" Type="http://schemas.openxmlformats.org/officeDocument/2006/relationships/slideLayout" Target="../slideLayouts/slideLayout417.xml"/><Relationship Id="rId16" Type="http://schemas.openxmlformats.org/officeDocument/2006/relationships/slideLayout" Target="../slideLayouts/slideLayout431.xml"/><Relationship Id="rId20" Type="http://schemas.openxmlformats.org/officeDocument/2006/relationships/slideLayout" Target="../slideLayouts/slideLayout435.xml"/><Relationship Id="rId1" Type="http://schemas.openxmlformats.org/officeDocument/2006/relationships/slideLayout" Target="../slideLayouts/slideLayout416.xml"/><Relationship Id="rId6" Type="http://schemas.openxmlformats.org/officeDocument/2006/relationships/slideLayout" Target="../slideLayouts/slideLayout421.xml"/><Relationship Id="rId11" Type="http://schemas.openxmlformats.org/officeDocument/2006/relationships/slideLayout" Target="../slideLayouts/slideLayout426.xml"/><Relationship Id="rId24" Type="http://schemas.openxmlformats.org/officeDocument/2006/relationships/slideLayout" Target="../slideLayouts/slideLayout439.xml"/><Relationship Id="rId5" Type="http://schemas.openxmlformats.org/officeDocument/2006/relationships/slideLayout" Target="../slideLayouts/slideLayout420.xml"/><Relationship Id="rId15" Type="http://schemas.openxmlformats.org/officeDocument/2006/relationships/slideLayout" Target="../slideLayouts/slideLayout430.xml"/><Relationship Id="rId23" Type="http://schemas.openxmlformats.org/officeDocument/2006/relationships/slideLayout" Target="../slideLayouts/slideLayout438.xml"/><Relationship Id="rId28" Type="http://schemas.openxmlformats.org/officeDocument/2006/relationships/theme" Target="../theme/theme16.xml"/><Relationship Id="rId10" Type="http://schemas.openxmlformats.org/officeDocument/2006/relationships/slideLayout" Target="../slideLayouts/slideLayout425.xml"/><Relationship Id="rId19" Type="http://schemas.openxmlformats.org/officeDocument/2006/relationships/slideLayout" Target="../slideLayouts/slideLayout434.xml"/><Relationship Id="rId4" Type="http://schemas.openxmlformats.org/officeDocument/2006/relationships/slideLayout" Target="../slideLayouts/slideLayout419.xml"/><Relationship Id="rId9" Type="http://schemas.openxmlformats.org/officeDocument/2006/relationships/slideLayout" Target="../slideLayouts/slideLayout424.xml"/><Relationship Id="rId14" Type="http://schemas.openxmlformats.org/officeDocument/2006/relationships/slideLayout" Target="../slideLayouts/slideLayout429.xml"/><Relationship Id="rId22" Type="http://schemas.openxmlformats.org/officeDocument/2006/relationships/slideLayout" Target="../slideLayouts/slideLayout437.xml"/><Relationship Id="rId27" Type="http://schemas.openxmlformats.org/officeDocument/2006/relationships/slideLayout" Target="../slideLayouts/slideLayout442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0.xml"/><Relationship Id="rId13" Type="http://schemas.openxmlformats.org/officeDocument/2006/relationships/slideLayout" Target="../slideLayouts/slideLayout455.xml"/><Relationship Id="rId18" Type="http://schemas.openxmlformats.org/officeDocument/2006/relationships/slideLayout" Target="../slideLayouts/slideLayout460.xml"/><Relationship Id="rId26" Type="http://schemas.openxmlformats.org/officeDocument/2006/relationships/slideLayout" Target="../slideLayouts/slideLayout468.xml"/><Relationship Id="rId3" Type="http://schemas.openxmlformats.org/officeDocument/2006/relationships/slideLayout" Target="../slideLayouts/slideLayout445.xml"/><Relationship Id="rId21" Type="http://schemas.openxmlformats.org/officeDocument/2006/relationships/slideLayout" Target="../slideLayouts/slideLayout463.xml"/><Relationship Id="rId7" Type="http://schemas.openxmlformats.org/officeDocument/2006/relationships/slideLayout" Target="../slideLayouts/slideLayout449.xml"/><Relationship Id="rId12" Type="http://schemas.openxmlformats.org/officeDocument/2006/relationships/slideLayout" Target="../slideLayouts/slideLayout454.xml"/><Relationship Id="rId17" Type="http://schemas.openxmlformats.org/officeDocument/2006/relationships/slideLayout" Target="../slideLayouts/slideLayout459.xml"/><Relationship Id="rId25" Type="http://schemas.openxmlformats.org/officeDocument/2006/relationships/slideLayout" Target="../slideLayouts/slideLayout467.xml"/><Relationship Id="rId2" Type="http://schemas.openxmlformats.org/officeDocument/2006/relationships/slideLayout" Target="../slideLayouts/slideLayout444.xml"/><Relationship Id="rId16" Type="http://schemas.openxmlformats.org/officeDocument/2006/relationships/slideLayout" Target="../slideLayouts/slideLayout458.xml"/><Relationship Id="rId20" Type="http://schemas.openxmlformats.org/officeDocument/2006/relationships/slideLayout" Target="../slideLayouts/slideLayout462.xml"/><Relationship Id="rId1" Type="http://schemas.openxmlformats.org/officeDocument/2006/relationships/slideLayout" Target="../slideLayouts/slideLayout443.xml"/><Relationship Id="rId6" Type="http://schemas.openxmlformats.org/officeDocument/2006/relationships/slideLayout" Target="../slideLayouts/slideLayout448.xml"/><Relationship Id="rId11" Type="http://schemas.openxmlformats.org/officeDocument/2006/relationships/slideLayout" Target="../slideLayouts/slideLayout453.xml"/><Relationship Id="rId24" Type="http://schemas.openxmlformats.org/officeDocument/2006/relationships/slideLayout" Target="../slideLayouts/slideLayout466.xml"/><Relationship Id="rId5" Type="http://schemas.openxmlformats.org/officeDocument/2006/relationships/slideLayout" Target="../slideLayouts/slideLayout447.xml"/><Relationship Id="rId15" Type="http://schemas.openxmlformats.org/officeDocument/2006/relationships/slideLayout" Target="../slideLayouts/slideLayout457.xml"/><Relationship Id="rId23" Type="http://schemas.openxmlformats.org/officeDocument/2006/relationships/slideLayout" Target="../slideLayouts/slideLayout465.xml"/><Relationship Id="rId28" Type="http://schemas.openxmlformats.org/officeDocument/2006/relationships/theme" Target="../theme/theme17.xml"/><Relationship Id="rId10" Type="http://schemas.openxmlformats.org/officeDocument/2006/relationships/slideLayout" Target="../slideLayouts/slideLayout452.xml"/><Relationship Id="rId19" Type="http://schemas.openxmlformats.org/officeDocument/2006/relationships/slideLayout" Target="../slideLayouts/slideLayout461.xml"/><Relationship Id="rId4" Type="http://schemas.openxmlformats.org/officeDocument/2006/relationships/slideLayout" Target="../slideLayouts/slideLayout446.xml"/><Relationship Id="rId9" Type="http://schemas.openxmlformats.org/officeDocument/2006/relationships/slideLayout" Target="../slideLayouts/slideLayout451.xml"/><Relationship Id="rId14" Type="http://schemas.openxmlformats.org/officeDocument/2006/relationships/slideLayout" Target="../slideLayouts/slideLayout456.xml"/><Relationship Id="rId22" Type="http://schemas.openxmlformats.org/officeDocument/2006/relationships/slideLayout" Target="../slideLayouts/slideLayout464.xml"/><Relationship Id="rId27" Type="http://schemas.openxmlformats.org/officeDocument/2006/relationships/slideLayout" Target="../slideLayouts/slideLayout469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7.xml"/><Relationship Id="rId13" Type="http://schemas.openxmlformats.org/officeDocument/2006/relationships/slideLayout" Target="../slideLayouts/slideLayout482.xml"/><Relationship Id="rId3" Type="http://schemas.openxmlformats.org/officeDocument/2006/relationships/slideLayout" Target="../slideLayouts/slideLayout472.xml"/><Relationship Id="rId7" Type="http://schemas.openxmlformats.org/officeDocument/2006/relationships/slideLayout" Target="../slideLayouts/slideLayout476.xml"/><Relationship Id="rId12" Type="http://schemas.openxmlformats.org/officeDocument/2006/relationships/slideLayout" Target="../slideLayouts/slideLayout481.xml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471.xml"/><Relationship Id="rId16" Type="http://schemas.openxmlformats.org/officeDocument/2006/relationships/image" Target="../media/image9.png"/><Relationship Id="rId1" Type="http://schemas.openxmlformats.org/officeDocument/2006/relationships/slideLayout" Target="../slideLayouts/slideLayout470.xml"/><Relationship Id="rId6" Type="http://schemas.openxmlformats.org/officeDocument/2006/relationships/slideLayout" Target="../slideLayouts/slideLayout475.xml"/><Relationship Id="rId11" Type="http://schemas.openxmlformats.org/officeDocument/2006/relationships/slideLayout" Target="../slideLayouts/slideLayout480.xml"/><Relationship Id="rId5" Type="http://schemas.openxmlformats.org/officeDocument/2006/relationships/slideLayout" Target="../slideLayouts/slideLayout474.xml"/><Relationship Id="rId15" Type="http://schemas.openxmlformats.org/officeDocument/2006/relationships/theme" Target="../theme/theme18.xml"/><Relationship Id="rId10" Type="http://schemas.openxmlformats.org/officeDocument/2006/relationships/slideLayout" Target="../slideLayouts/slideLayout479.xml"/><Relationship Id="rId4" Type="http://schemas.openxmlformats.org/officeDocument/2006/relationships/slideLayout" Target="../slideLayouts/slideLayout473.xml"/><Relationship Id="rId9" Type="http://schemas.openxmlformats.org/officeDocument/2006/relationships/slideLayout" Target="../slideLayouts/slideLayout478.xml"/><Relationship Id="rId14" Type="http://schemas.openxmlformats.org/officeDocument/2006/relationships/slideLayout" Target="../slideLayouts/slideLayout483.xml"/></Relationships>
</file>

<file path=ppt/slideMasters/_rels/slideMaster1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96.xml"/><Relationship Id="rId18" Type="http://schemas.openxmlformats.org/officeDocument/2006/relationships/slideLayout" Target="../slideLayouts/slideLayout501.xml"/><Relationship Id="rId26" Type="http://schemas.openxmlformats.org/officeDocument/2006/relationships/slideLayout" Target="../slideLayouts/slideLayout509.xml"/><Relationship Id="rId3" Type="http://schemas.openxmlformats.org/officeDocument/2006/relationships/slideLayout" Target="../slideLayouts/slideLayout486.xml"/><Relationship Id="rId21" Type="http://schemas.openxmlformats.org/officeDocument/2006/relationships/slideLayout" Target="../slideLayouts/slideLayout504.xml"/><Relationship Id="rId7" Type="http://schemas.openxmlformats.org/officeDocument/2006/relationships/slideLayout" Target="../slideLayouts/slideLayout490.xml"/><Relationship Id="rId12" Type="http://schemas.openxmlformats.org/officeDocument/2006/relationships/slideLayout" Target="../slideLayouts/slideLayout495.xml"/><Relationship Id="rId17" Type="http://schemas.openxmlformats.org/officeDocument/2006/relationships/slideLayout" Target="../slideLayouts/slideLayout500.xml"/><Relationship Id="rId25" Type="http://schemas.openxmlformats.org/officeDocument/2006/relationships/slideLayout" Target="../slideLayouts/slideLayout508.xml"/><Relationship Id="rId33" Type="http://schemas.openxmlformats.org/officeDocument/2006/relationships/image" Target="../media/image11.emf"/><Relationship Id="rId2" Type="http://schemas.openxmlformats.org/officeDocument/2006/relationships/slideLayout" Target="../slideLayouts/slideLayout485.xml"/><Relationship Id="rId16" Type="http://schemas.openxmlformats.org/officeDocument/2006/relationships/slideLayout" Target="../slideLayouts/slideLayout499.xml"/><Relationship Id="rId20" Type="http://schemas.openxmlformats.org/officeDocument/2006/relationships/slideLayout" Target="../slideLayouts/slideLayout503.xml"/><Relationship Id="rId29" Type="http://schemas.openxmlformats.org/officeDocument/2006/relationships/theme" Target="../theme/theme19.xml"/><Relationship Id="rId1" Type="http://schemas.openxmlformats.org/officeDocument/2006/relationships/slideLayout" Target="../slideLayouts/slideLayout484.xml"/><Relationship Id="rId6" Type="http://schemas.openxmlformats.org/officeDocument/2006/relationships/slideLayout" Target="../slideLayouts/slideLayout489.xml"/><Relationship Id="rId11" Type="http://schemas.openxmlformats.org/officeDocument/2006/relationships/slideLayout" Target="../slideLayouts/slideLayout494.xml"/><Relationship Id="rId24" Type="http://schemas.openxmlformats.org/officeDocument/2006/relationships/slideLayout" Target="../slideLayouts/slideLayout507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488.xml"/><Relationship Id="rId15" Type="http://schemas.openxmlformats.org/officeDocument/2006/relationships/slideLayout" Target="../slideLayouts/slideLayout498.xml"/><Relationship Id="rId23" Type="http://schemas.openxmlformats.org/officeDocument/2006/relationships/slideLayout" Target="../slideLayouts/slideLayout506.xml"/><Relationship Id="rId28" Type="http://schemas.openxmlformats.org/officeDocument/2006/relationships/slideLayout" Target="../slideLayouts/slideLayout511.xml"/><Relationship Id="rId10" Type="http://schemas.openxmlformats.org/officeDocument/2006/relationships/slideLayout" Target="../slideLayouts/slideLayout493.xml"/><Relationship Id="rId19" Type="http://schemas.openxmlformats.org/officeDocument/2006/relationships/slideLayout" Target="../slideLayouts/slideLayout502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487.xml"/><Relationship Id="rId9" Type="http://schemas.openxmlformats.org/officeDocument/2006/relationships/slideLayout" Target="../slideLayouts/slideLayout492.xml"/><Relationship Id="rId14" Type="http://schemas.openxmlformats.org/officeDocument/2006/relationships/slideLayout" Target="../slideLayouts/slideLayout497.xml"/><Relationship Id="rId22" Type="http://schemas.openxmlformats.org/officeDocument/2006/relationships/slideLayout" Target="../slideLayouts/slideLayout505.xml"/><Relationship Id="rId27" Type="http://schemas.openxmlformats.org/officeDocument/2006/relationships/slideLayout" Target="../slideLayouts/slideLayout510.xml"/><Relationship Id="rId30" Type="http://schemas.openxmlformats.org/officeDocument/2006/relationships/vmlDrawing" Target="../drawings/vmlDrawing1.vml"/><Relationship Id="rId8" Type="http://schemas.openxmlformats.org/officeDocument/2006/relationships/slideLayout" Target="../slideLayouts/slideLayout49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34" Type="http://schemas.openxmlformats.org/officeDocument/2006/relationships/slideLayout" Target="../slideLayouts/slideLayout61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33" Type="http://schemas.openxmlformats.org/officeDocument/2006/relationships/slideLayout" Target="../slideLayouts/slideLayout60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29" Type="http://schemas.openxmlformats.org/officeDocument/2006/relationships/slideLayout" Target="../slideLayouts/slideLayout56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32" Type="http://schemas.openxmlformats.org/officeDocument/2006/relationships/slideLayout" Target="../slideLayouts/slideLayout59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31" Type="http://schemas.openxmlformats.org/officeDocument/2006/relationships/slideLayout" Target="../slideLayouts/slideLayout58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Relationship Id="rId30" Type="http://schemas.openxmlformats.org/officeDocument/2006/relationships/slideLayout" Target="../slideLayouts/slideLayout57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35.xml"/></Relationships>
</file>

<file path=ppt/slideMasters/_rels/slideMaster2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4.xml"/><Relationship Id="rId18" Type="http://schemas.openxmlformats.org/officeDocument/2006/relationships/slideLayout" Target="../slideLayouts/slideLayout529.xml"/><Relationship Id="rId26" Type="http://schemas.openxmlformats.org/officeDocument/2006/relationships/slideLayout" Target="../slideLayouts/slideLayout537.xml"/><Relationship Id="rId3" Type="http://schemas.openxmlformats.org/officeDocument/2006/relationships/slideLayout" Target="../slideLayouts/slideLayout514.xml"/><Relationship Id="rId21" Type="http://schemas.openxmlformats.org/officeDocument/2006/relationships/slideLayout" Target="../slideLayouts/slideLayout532.xml"/><Relationship Id="rId7" Type="http://schemas.openxmlformats.org/officeDocument/2006/relationships/slideLayout" Target="../slideLayouts/slideLayout518.xml"/><Relationship Id="rId12" Type="http://schemas.openxmlformats.org/officeDocument/2006/relationships/slideLayout" Target="../slideLayouts/slideLayout523.xml"/><Relationship Id="rId17" Type="http://schemas.openxmlformats.org/officeDocument/2006/relationships/slideLayout" Target="../slideLayouts/slideLayout528.xml"/><Relationship Id="rId25" Type="http://schemas.openxmlformats.org/officeDocument/2006/relationships/slideLayout" Target="../slideLayouts/slideLayout536.xml"/><Relationship Id="rId33" Type="http://schemas.openxmlformats.org/officeDocument/2006/relationships/image" Target="../media/image12.emf"/><Relationship Id="rId2" Type="http://schemas.openxmlformats.org/officeDocument/2006/relationships/slideLayout" Target="../slideLayouts/slideLayout513.xml"/><Relationship Id="rId16" Type="http://schemas.openxmlformats.org/officeDocument/2006/relationships/slideLayout" Target="../slideLayouts/slideLayout527.xml"/><Relationship Id="rId20" Type="http://schemas.openxmlformats.org/officeDocument/2006/relationships/slideLayout" Target="../slideLayouts/slideLayout531.xml"/><Relationship Id="rId29" Type="http://schemas.openxmlformats.org/officeDocument/2006/relationships/theme" Target="../theme/theme20.xml"/><Relationship Id="rId1" Type="http://schemas.openxmlformats.org/officeDocument/2006/relationships/slideLayout" Target="../slideLayouts/slideLayout512.xml"/><Relationship Id="rId6" Type="http://schemas.openxmlformats.org/officeDocument/2006/relationships/slideLayout" Target="../slideLayouts/slideLayout517.xml"/><Relationship Id="rId11" Type="http://schemas.openxmlformats.org/officeDocument/2006/relationships/slideLayout" Target="../slideLayouts/slideLayout522.xml"/><Relationship Id="rId24" Type="http://schemas.openxmlformats.org/officeDocument/2006/relationships/slideLayout" Target="../slideLayouts/slideLayout535.xml"/><Relationship Id="rId32" Type="http://schemas.openxmlformats.org/officeDocument/2006/relationships/oleObject" Target="../embeddings/oleObject5.bin"/><Relationship Id="rId5" Type="http://schemas.openxmlformats.org/officeDocument/2006/relationships/slideLayout" Target="../slideLayouts/slideLayout516.xml"/><Relationship Id="rId15" Type="http://schemas.openxmlformats.org/officeDocument/2006/relationships/slideLayout" Target="../slideLayouts/slideLayout526.xml"/><Relationship Id="rId23" Type="http://schemas.openxmlformats.org/officeDocument/2006/relationships/slideLayout" Target="../slideLayouts/slideLayout534.xml"/><Relationship Id="rId28" Type="http://schemas.openxmlformats.org/officeDocument/2006/relationships/slideLayout" Target="../slideLayouts/slideLayout539.xml"/><Relationship Id="rId10" Type="http://schemas.openxmlformats.org/officeDocument/2006/relationships/slideLayout" Target="../slideLayouts/slideLayout521.xml"/><Relationship Id="rId19" Type="http://schemas.openxmlformats.org/officeDocument/2006/relationships/slideLayout" Target="../slideLayouts/slideLayout530.xml"/><Relationship Id="rId31" Type="http://schemas.openxmlformats.org/officeDocument/2006/relationships/tags" Target="../tags/tag5.xml"/><Relationship Id="rId4" Type="http://schemas.openxmlformats.org/officeDocument/2006/relationships/slideLayout" Target="../slideLayouts/slideLayout515.xml"/><Relationship Id="rId9" Type="http://schemas.openxmlformats.org/officeDocument/2006/relationships/slideLayout" Target="../slideLayouts/slideLayout520.xml"/><Relationship Id="rId14" Type="http://schemas.openxmlformats.org/officeDocument/2006/relationships/slideLayout" Target="../slideLayouts/slideLayout525.xml"/><Relationship Id="rId22" Type="http://schemas.openxmlformats.org/officeDocument/2006/relationships/slideLayout" Target="../slideLayouts/slideLayout533.xml"/><Relationship Id="rId27" Type="http://schemas.openxmlformats.org/officeDocument/2006/relationships/slideLayout" Target="../slideLayouts/slideLayout538.xml"/><Relationship Id="rId30" Type="http://schemas.openxmlformats.org/officeDocument/2006/relationships/vmlDrawing" Target="../drawings/vmlDrawing5.vml"/><Relationship Id="rId8" Type="http://schemas.openxmlformats.org/officeDocument/2006/relationships/slideLayout" Target="../slideLayouts/slideLayout519.xml"/></Relationships>
</file>

<file path=ppt/slideMasters/_rels/slideMaster2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2.xml"/><Relationship Id="rId18" Type="http://schemas.openxmlformats.org/officeDocument/2006/relationships/slideLayout" Target="../slideLayouts/slideLayout557.xml"/><Relationship Id="rId26" Type="http://schemas.openxmlformats.org/officeDocument/2006/relationships/slideLayout" Target="../slideLayouts/slideLayout565.xml"/><Relationship Id="rId3" Type="http://schemas.openxmlformats.org/officeDocument/2006/relationships/slideLayout" Target="../slideLayouts/slideLayout542.xml"/><Relationship Id="rId21" Type="http://schemas.openxmlformats.org/officeDocument/2006/relationships/slideLayout" Target="../slideLayouts/slideLayout560.xml"/><Relationship Id="rId7" Type="http://schemas.openxmlformats.org/officeDocument/2006/relationships/slideLayout" Target="../slideLayouts/slideLayout546.xml"/><Relationship Id="rId12" Type="http://schemas.openxmlformats.org/officeDocument/2006/relationships/slideLayout" Target="../slideLayouts/slideLayout551.xml"/><Relationship Id="rId17" Type="http://schemas.openxmlformats.org/officeDocument/2006/relationships/slideLayout" Target="../slideLayouts/slideLayout556.xml"/><Relationship Id="rId25" Type="http://schemas.openxmlformats.org/officeDocument/2006/relationships/slideLayout" Target="../slideLayouts/slideLayout564.xml"/><Relationship Id="rId33" Type="http://schemas.openxmlformats.org/officeDocument/2006/relationships/image" Target="../media/image12.emf"/><Relationship Id="rId2" Type="http://schemas.openxmlformats.org/officeDocument/2006/relationships/slideLayout" Target="../slideLayouts/slideLayout541.xml"/><Relationship Id="rId16" Type="http://schemas.openxmlformats.org/officeDocument/2006/relationships/slideLayout" Target="../slideLayouts/slideLayout555.xml"/><Relationship Id="rId20" Type="http://schemas.openxmlformats.org/officeDocument/2006/relationships/slideLayout" Target="../slideLayouts/slideLayout559.xml"/><Relationship Id="rId29" Type="http://schemas.openxmlformats.org/officeDocument/2006/relationships/theme" Target="../theme/theme21.xml"/><Relationship Id="rId1" Type="http://schemas.openxmlformats.org/officeDocument/2006/relationships/slideLayout" Target="../slideLayouts/slideLayout540.xml"/><Relationship Id="rId6" Type="http://schemas.openxmlformats.org/officeDocument/2006/relationships/slideLayout" Target="../slideLayouts/slideLayout545.xml"/><Relationship Id="rId11" Type="http://schemas.openxmlformats.org/officeDocument/2006/relationships/slideLayout" Target="../slideLayouts/slideLayout550.xml"/><Relationship Id="rId24" Type="http://schemas.openxmlformats.org/officeDocument/2006/relationships/slideLayout" Target="../slideLayouts/slideLayout563.xml"/><Relationship Id="rId32" Type="http://schemas.openxmlformats.org/officeDocument/2006/relationships/oleObject" Target="../embeddings/oleObject9.bin"/><Relationship Id="rId5" Type="http://schemas.openxmlformats.org/officeDocument/2006/relationships/slideLayout" Target="../slideLayouts/slideLayout544.xml"/><Relationship Id="rId15" Type="http://schemas.openxmlformats.org/officeDocument/2006/relationships/slideLayout" Target="../slideLayouts/slideLayout554.xml"/><Relationship Id="rId23" Type="http://schemas.openxmlformats.org/officeDocument/2006/relationships/slideLayout" Target="../slideLayouts/slideLayout562.xml"/><Relationship Id="rId28" Type="http://schemas.openxmlformats.org/officeDocument/2006/relationships/slideLayout" Target="../slideLayouts/slideLayout567.xml"/><Relationship Id="rId10" Type="http://schemas.openxmlformats.org/officeDocument/2006/relationships/slideLayout" Target="../slideLayouts/slideLayout549.xml"/><Relationship Id="rId19" Type="http://schemas.openxmlformats.org/officeDocument/2006/relationships/slideLayout" Target="../slideLayouts/slideLayout558.xml"/><Relationship Id="rId31" Type="http://schemas.openxmlformats.org/officeDocument/2006/relationships/tags" Target="../tags/tag9.xml"/><Relationship Id="rId4" Type="http://schemas.openxmlformats.org/officeDocument/2006/relationships/slideLayout" Target="../slideLayouts/slideLayout543.xml"/><Relationship Id="rId9" Type="http://schemas.openxmlformats.org/officeDocument/2006/relationships/slideLayout" Target="../slideLayouts/slideLayout548.xml"/><Relationship Id="rId14" Type="http://schemas.openxmlformats.org/officeDocument/2006/relationships/slideLayout" Target="../slideLayouts/slideLayout553.xml"/><Relationship Id="rId22" Type="http://schemas.openxmlformats.org/officeDocument/2006/relationships/slideLayout" Target="../slideLayouts/slideLayout561.xml"/><Relationship Id="rId27" Type="http://schemas.openxmlformats.org/officeDocument/2006/relationships/slideLayout" Target="../slideLayouts/slideLayout566.xml"/><Relationship Id="rId30" Type="http://schemas.openxmlformats.org/officeDocument/2006/relationships/vmlDrawing" Target="../drawings/vmlDrawing9.vml"/><Relationship Id="rId8" Type="http://schemas.openxmlformats.org/officeDocument/2006/relationships/slideLayout" Target="../slideLayouts/slideLayout547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5.xml"/><Relationship Id="rId13" Type="http://schemas.openxmlformats.org/officeDocument/2006/relationships/slideLayout" Target="../slideLayouts/slideLayout580.xml"/><Relationship Id="rId18" Type="http://schemas.openxmlformats.org/officeDocument/2006/relationships/slideLayout" Target="../slideLayouts/slideLayout585.xml"/><Relationship Id="rId26" Type="http://schemas.openxmlformats.org/officeDocument/2006/relationships/slideLayout" Target="../slideLayouts/slideLayout593.xml"/><Relationship Id="rId3" Type="http://schemas.openxmlformats.org/officeDocument/2006/relationships/slideLayout" Target="../slideLayouts/slideLayout570.xml"/><Relationship Id="rId21" Type="http://schemas.openxmlformats.org/officeDocument/2006/relationships/slideLayout" Target="../slideLayouts/slideLayout588.xml"/><Relationship Id="rId7" Type="http://schemas.openxmlformats.org/officeDocument/2006/relationships/slideLayout" Target="../slideLayouts/slideLayout574.xml"/><Relationship Id="rId12" Type="http://schemas.openxmlformats.org/officeDocument/2006/relationships/slideLayout" Target="../slideLayouts/slideLayout579.xml"/><Relationship Id="rId17" Type="http://schemas.openxmlformats.org/officeDocument/2006/relationships/slideLayout" Target="../slideLayouts/slideLayout584.xml"/><Relationship Id="rId25" Type="http://schemas.openxmlformats.org/officeDocument/2006/relationships/slideLayout" Target="../slideLayouts/slideLayout592.xml"/><Relationship Id="rId2" Type="http://schemas.openxmlformats.org/officeDocument/2006/relationships/slideLayout" Target="../slideLayouts/slideLayout569.xml"/><Relationship Id="rId16" Type="http://schemas.openxmlformats.org/officeDocument/2006/relationships/slideLayout" Target="../slideLayouts/slideLayout583.xml"/><Relationship Id="rId20" Type="http://schemas.openxmlformats.org/officeDocument/2006/relationships/slideLayout" Target="../slideLayouts/slideLayout587.xml"/><Relationship Id="rId29" Type="http://schemas.openxmlformats.org/officeDocument/2006/relationships/theme" Target="../theme/theme22.xml"/><Relationship Id="rId1" Type="http://schemas.openxmlformats.org/officeDocument/2006/relationships/slideLayout" Target="../slideLayouts/slideLayout568.xml"/><Relationship Id="rId6" Type="http://schemas.openxmlformats.org/officeDocument/2006/relationships/slideLayout" Target="../slideLayouts/slideLayout573.xml"/><Relationship Id="rId11" Type="http://schemas.openxmlformats.org/officeDocument/2006/relationships/slideLayout" Target="../slideLayouts/slideLayout578.xml"/><Relationship Id="rId24" Type="http://schemas.openxmlformats.org/officeDocument/2006/relationships/slideLayout" Target="../slideLayouts/slideLayout591.xml"/><Relationship Id="rId5" Type="http://schemas.openxmlformats.org/officeDocument/2006/relationships/slideLayout" Target="../slideLayouts/slideLayout572.xml"/><Relationship Id="rId15" Type="http://schemas.openxmlformats.org/officeDocument/2006/relationships/slideLayout" Target="../slideLayouts/slideLayout582.xml"/><Relationship Id="rId23" Type="http://schemas.openxmlformats.org/officeDocument/2006/relationships/slideLayout" Target="../slideLayouts/slideLayout590.xml"/><Relationship Id="rId28" Type="http://schemas.openxmlformats.org/officeDocument/2006/relationships/slideLayout" Target="../slideLayouts/slideLayout595.xml"/><Relationship Id="rId10" Type="http://schemas.openxmlformats.org/officeDocument/2006/relationships/slideLayout" Target="../slideLayouts/slideLayout577.xml"/><Relationship Id="rId19" Type="http://schemas.openxmlformats.org/officeDocument/2006/relationships/slideLayout" Target="../slideLayouts/slideLayout586.xml"/><Relationship Id="rId4" Type="http://schemas.openxmlformats.org/officeDocument/2006/relationships/slideLayout" Target="../slideLayouts/slideLayout571.xml"/><Relationship Id="rId9" Type="http://schemas.openxmlformats.org/officeDocument/2006/relationships/slideLayout" Target="../slideLayouts/slideLayout576.xml"/><Relationship Id="rId14" Type="http://schemas.openxmlformats.org/officeDocument/2006/relationships/slideLayout" Target="../slideLayouts/slideLayout581.xml"/><Relationship Id="rId22" Type="http://schemas.openxmlformats.org/officeDocument/2006/relationships/slideLayout" Target="../slideLayouts/slideLayout589.xml"/><Relationship Id="rId27" Type="http://schemas.openxmlformats.org/officeDocument/2006/relationships/slideLayout" Target="../slideLayouts/slideLayout59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slideLayout" Target="../slideLayouts/slideLayout87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slideLayout" Target="../slideLayouts/slideLayout86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slideLayout" Target="../slideLayouts/slideLayout8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slideLayout" Target="../slideLayouts/slideLayout101.xml"/><Relationship Id="rId18" Type="http://schemas.openxmlformats.org/officeDocument/2006/relationships/slideLayout" Target="../slideLayouts/slideLayout106.xml"/><Relationship Id="rId26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91.xml"/><Relationship Id="rId21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17" Type="http://schemas.openxmlformats.org/officeDocument/2006/relationships/slideLayout" Target="../slideLayouts/slideLayout105.xml"/><Relationship Id="rId25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90.xml"/><Relationship Id="rId16" Type="http://schemas.openxmlformats.org/officeDocument/2006/relationships/slideLayout" Target="../slideLayouts/slideLayout104.xml"/><Relationship Id="rId20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24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93.xml"/><Relationship Id="rId15" Type="http://schemas.openxmlformats.org/officeDocument/2006/relationships/slideLayout" Target="../slideLayouts/slideLayout103.xml"/><Relationship Id="rId23" Type="http://schemas.openxmlformats.org/officeDocument/2006/relationships/slideLayout" Target="../slideLayouts/slideLayout111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98.xml"/><Relationship Id="rId19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Relationship Id="rId22" Type="http://schemas.openxmlformats.org/officeDocument/2006/relationships/slideLayout" Target="../slideLayouts/slideLayout110.xml"/><Relationship Id="rId27" Type="http://schemas.openxmlformats.org/officeDocument/2006/relationships/slideLayout" Target="../slideLayouts/slideLayout11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26" Type="http://schemas.openxmlformats.org/officeDocument/2006/relationships/slideLayout" Target="../slideLayouts/slideLayout141.xml"/><Relationship Id="rId3" Type="http://schemas.openxmlformats.org/officeDocument/2006/relationships/slideLayout" Target="../slideLayouts/slideLayout118.xml"/><Relationship Id="rId21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5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24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23" Type="http://schemas.openxmlformats.org/officeDocument/2006/relationships/slideLayout" Target="../slideLayouts/slideLayout138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Relationship Id="rId22" Type="http://schemas.openxmlformats.org/officeDocument/2006/relationships/slideLayout" Target="../slideLayouts/slideLayout137.xml"/><Relationship Id="rId27" Type="http://schemas.openxmlformats.org/officeDocument/2006/relationships/slideLayout" Target="../slideLayouts/slideLayout14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slideLayout" Target="../slideLayouts/slideLayout155.xml"/><Relationship Id="rId18" Type="http://schemas.openxmlformats.org/officeDocument/2006/relationships/slideLayout" Target="../slideLayouts/slideLayout160.xml"/><Relationship Id="rId26" Type="http://schemas.openxmlformats.org/officeDocument/2006/relationships/slideLayout" Target="../slideLayouts/slideLayout168.xml"/><Relationship Id="rId3" Type="http://schemas.openxmlformats.org/officeDocument/2006/relationships/slideLayout" Target="../slideLayouts/slideLayout145.xml"/><Relationship Id="rId21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4.xml"/><Relationship Id="rId17" Type="http://schemas.openxmlformats.org/officeDocument/2006/relationships/slideLayout" Target="../slideLayouts/slideLayout159.xml"/><Relationship Id="rId25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44.xml"/><Relationship Id="rId16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24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47.xml"/><Relationship Id="rId15" Type="http://schemas.openxmlformats.org/officeDocument/2006/relationships/slideLayout" Target="../slideLayouts/slideLayout157.xml"/><Relationship Id="rId23" Type="http://schemas.openxmlformats.org/officeDocument/2006/relationships/slideLayout" Target="../slideLayouts/slideLayout165.xml"/><Relationship Id="rId28" Type="http://schemas.openxmlformats.org/officeDocument/2006/relationships/theme" Target="../theme/theme6.xml"/><Relationship Id="rId10" Type="http://schemas.openxmlformats.org/officeDocument/2006/relationships/slideLayout" Target="../slideLayouts/slideLayout152.xml"/><Relationship Id="rId19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slideLayout" Target="../slideLayouts/slideLayout156.xml"/><Relationship Id="rId22" Type="http://schemas.openxmlformats.org/officeDocument/2006/relationships/slideLayout" Target="../slideLayouts/slideLayout164.xml"/><Relationship Id="rId27" Type="http://schemas.openxmlformats.org/officeDocument/2006/relationships/slideLayout" Target="../slideLayouts/slideLayout1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7.xml"/><Relationship Id="rId13" Type="http://schemas.openxmlformats.org/officeDocument/2006/relationships/slideLayout" Target="../slideLayouts/slideLayout182.xml"/><Relationship Id="rId18" Type="http://schemas.openxmlformats.org/officeDocument/2006/relationships/slideLayout" Target="../slideLayouts/slideLayout187.xml"/><Relationship Id="rId26" Type="http://schemas.openxmlformats.org/officeDocument/2006/relationships/slideLayout" Target="../slideLayouts/slideLayout195.xml"/><Relationship Id="rId3" Type="http://schemas.openxmlformats.org/officeDocument/2006/relationships/slideLayout" Target="../slideLayouts/slideLayout172.xml"/><Relationship Id="rId21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76.xml"/><Relationship Id="rId12" Type="http://schemas.openxmlformats.org/officeDocument/2006/relationships/slideLayout" Target="../slideLayouts/slideLayout181.xml"/><Relationship Id="rId17" Type="http://schemas.openxmlformats.org/officeDocument/2006/relationships/slideLayout" Target="../slideLayouts/slideLayout186.xml"/><Relationship Id="rId25" Type="http://schemas.openxmlformats.org/officeDocument/2006/relationships/slideLayout" Target="../slideLayouts/slideLayout194.xml"/><Relationship Id="rId2" Type="http://schemas.openxmlformats.org/officeDocument/2006/relationships/slideLayout" Target="../slideLayouts/slideLayout171.xml"/><Relationship Id="rId16" Type="http://schemas.openxmlformats.org/officeDocument/2006/relationships/slideLayout" Target="../slideLayouts/slideLayout185.xml"/><Relationship Id="rId20" Type="http://schemas.openxmlformats.org/officeDocument/2006/relationships/slideLayout" Target="../slideLayouts/slideLayout189.xml"/><Relationship Id="rId1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75.xml"/><Relationship Id="rId11" Type="http://schemas.openxmlformats.org/officeDocument/2006/relationships/slideLayout" Target="../slideLayouts/slideLayout180.xml"/><Relationship Id="rId24" Type="http://schemas.openxmlformats.org/officeDocument/2006/relationships/slideLayout" Target="../slideLayouts/slideLayout193.xml"/><Relationship Id="rId5" Type="http://schemas.openxmlformats.org/officeDocument/2006/relationships/slideLayout" Target="../slideLayouts/slideLayout174.xml"/><Relationship Id="rId15" Type="http://schemas.openxmlformats.org/officeDocument/2006/relationships/slideLayout" Target="../slideLayouts/slideLayout184.xml"/><Relationship Id="rId23" Type="http://schemas.openxmlformats.org/officeDocument/2006/relationships/slideLayout" Target="../slideLayouts/slideLayout192.xml"/><Relationship Id="rId28" Type="http://schemas.openxmlformats.org/officeDocument/2006/relationships/theme" Target="../theme/theme7.xml"/><Relationship Id="rId10" Type="http://schemas.openxmlformats.org/officeDocument/2006/relationships/slideLayout" Target="../slideLayouts/slideLayout179.xml"/><Relationship Id="rId19" Type="http://schemas.openxmlformats.org/officeDocument/2006/relationships/slideLayout" Target="../slideLayouts/slideLayout188.xml"/><Relationship Id="rId4" Type="http://schemas.openxmlformats.org/officeDocument/2006/relationships/slideLayout" Target="../slideLayouts/slideLayout173.xml"/><Relationship Id="rId9" Type="http://schemas.openxmlformats.org/officeDocument/2006/relationships/slideLayout" Target="../slideLayouts/slideLayout178.xml"/><Relationship Id="rId14" Type="http://schemas.openxmlformats.org/officeDocument/2006/relationships/slideLayout" Target="../slideLayouts/slideLayout183.xml"/><Relationship Id="rId22" Type="http://schemas.openxmlformats.org/officeDocument/2006/relationships/slideLayout" Target="../slideLayouts/slideLayout191.xml"/><Relationship Id="rId27" Type="http://schemas.openxmlformats.org/officeDocument/2006/relationships/slideLayout" Target="../slideLayouts/slideLayout19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4.xml"/><Relationship Id="rId13" Type="http://schemas.openxmlformats.org/officeDocument/2006/relationships/slideLayout" Target="../slideLayouts/slideLayout209.xml"/><Relationship Id="rId18" Type="http://schemas.openxmlformats.org/officeDocument/2006/relationships/slideLayout" Target="../slideLayouts/slideLayout214.xml"/><Relationship Id="rId26" Type="http://schemas.openxmlformats.org/officeDocument/2006/relationships/slideLayout" Target="../slideLayouts/slideLayout222.xml"/><Relationship Id="rId3" Type="http://schemas.openxmlformats.org/officeDocument/2006/relationships/slideLayout" Target="../slideLayouts/slideLayout199.xml"/><Relationship Id="rId21" Type="http://schemas.openxmlformats.org/officeDocument/2006/relationships/slideLayout" Target="../slideLayouts/slideLayout217.xml"/><Relationship Id="rId7" Type="http://schemas.openxmlformats.org/officeDocument/2006/relationships/slideLayout" Target="../slideLayouts/slideLayout203.xml"/><Relationship Id="rId12" Type="http://schemas.openxmlformats.org/officeDocument/2006/relationships/slideLayout" Target="../slideLayouts/slideLayout208.xml"/><Relationship Id="rId17" Type="http://schemas.openxmlformats.org/officeDocument/2006/relationships/slideLayout" Target="../slideLayouts/slideLayout213.xml"/><Relationship Id="rId25" Type="http://schemas.openxmlformats.org/officeDocument/2006/relationships/slideLayout" Target="../slideLayouts/slideLayout221.xml"/><Relationship Id="rId2" Type="http://schemas.openxmlformats.org/officeDocument/2006/relationships/slideLayout" Target="../slideLayouts/slideLayout198.xml"/><Relationship Id="rId16" Type="http://schemas.openxmlformats.org/officeDocument/2006/relationships/slideLayout" Target="../slideLayouts/slideLayout212.xml"/><Relationship Id="rId20" Type="http://schemas.openxmlformats.org/officeDocument/2006/relationships/slideLayout" Target="../slideLayouts/slideLayout216.xml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11" Type="http://schemas.openxmlformats.org/officeDocument/2006/relationships/slideLayout" Target="../slideLayouts/slideLayout207.xml"/><Relationship Id="rId24" Type="http://schemas.openxmlformats.org/officeDocument/2006/relationships/slideLayout" Target="../slideLayouts/slideLayout220.xml"/><Relationship Id="rId5" Type="http://schemas.openxmlformats.org/officeDocument/2006/relationships/slideLayout" Target="../slideLayouts/slideLayout201.xml"/><Relationship Id="rId15" Type="http://schemas.openxmlformats.org/officeDocument/2006/relationships/slideLayout" Target="../slideLayouts/slideLayout211.xml"/><Relationship Id="rId23" Type="http://schemas.openxmlformats.org/officeDocument/2006/relationships/slideLayout" Target="../slideLayouts/slideLayout219.xml"/><Relationship Id="rId28" Type="http://schemas.openxmlformats.org/officeDocument/2006/relationships/theme" Target="../theme/theme8.xml"/><Relationship Id="rId10" Type="http://schemas.openxmlformats.org/officeDocument/2006/relationships/slideLayout" Target="../slideLayouts/slideLayout206.xml"/><Relationship Id="rId19" Type="http://schemas.openxmlformats.org/officeDocument/2006/relationships/slideLayout" Target="../slideLayouts/slideLayout215.xml"/><Relationship Id="rId4" Type="http://schemas.openxmlformats.org/officeDocument/2006/relationships/slideLayout" Target="../slideLayouts/slideLayout200.xml"/><Relationship Id="rId9" Type="http://schemas.openxmlformats.org/officeDocument/2006/relationships/slideLayout" Target="../slideLayouts/slideLayout205.xml"/><Relationship Id="rId14" Type="http://schemas.openxmlformats.org/officeDocument/2006/relationships/slideLayout" Target="../slideLayouts/slideLayout210.xml"/><Relationship Id="rId22" Type="http://schemas.openxmlformats.org/officeDocument/2006/relationships/slideLayout" Target="../slideLayouts/slideLayout218.xml"/><Relationship Id="rId27" Type="http://schemas.openxmlformats.org/officeDocument/2006/relationships/slideLayout" Target="../slideLayouts/slideLayout22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1.xml"/><Relationship Id="rId13" Type="http://schemas.openxmlformats.org/officeDocument/2006/relationships/slideLayout" Target="../slideLayouts/slideLayout236.xml"/><Relationship Id="rId18" Type="http://schemas.openxmlformats.org/officeDocument/2006/relationships/slideLayout" Target="../slideLayouts/slideLayout241.xml"/><Relationship Id="rId26" Type="http://schemas.openxmlformats.org/officeDocument/2006/relationships/slideLayout" Target="../slideLayouts/slideLayout249.xml"/><Relationship Id="rId3" Type="http://schemas.openxmlformats.org/officeDocument/2006/relationships/slideLayout" Target="../slideLayouts/slideLayout226.xml"/><Relationship Id="rId21" Type="http://schemas.openxmlformats.org/officeDocument/2006/relationships/slideLayout" Target="../slideLayouts/slideLayout244.xml"/><Relationship Id="rId7" Type="http://schemas.openxmlformats.org/officeDocument/2006/relationships/slideLayout" Target="../slideLayouts/slideLayout230.xml"/><Relationship Id="rId12" Type="http://schemas.openxmlformats.org/officeDocument/2006/relationships/slideLayout" Target="../slideLayouts/slideLayout235.xml"/><Relationship Id="rId17" Type="http://schemas.openxmlformats.org/officeDocument/2006/relationships/slideLayout" Target="../slideLayouts/slideLayout240.xml"/><Relationship Id="rId25" Type="http://schemas.openxmlformats.org/officeDocument/2006/relationships/slideLayout" Target="../slideLayouts/slideLayout248.xml"/><Relationship Id="rId2" Type="http://schemas.openxmlformats.org/officeDocument/2006/relationships/slideLayout" Target="../slideLayouts/slideLayout225.xml"/><Relationship Id="rId16" Type="http://schemas.openxmlformats.org/officeDocument/2006/relationships/slideLayout" Target="../slideLayouts/slideLayout239.xml"/><Relationship Id="rId20" Type="http://schemas.openxmlformats.org/officeDocument/2006/relationships/slideLayout" Target="../slideLayouts/slideLayout243.xml"/><Relationship Id="rId1" Type="http://schemas.openxmlformats.org/officeDocument/2006/relationships/slideLayout" Target="../slideLayouts/slideLayout224.xml"/><Relationship Id="rId6" Type="http://schemas.openxmlformats.org/officeDocument/2006/relationships/slideLayout" Target="../slideLayouts/slideLayout229.xml"/><Relationship Id="rId11" Type="http://schemas.openxmlformats.org/officeDocument/2006/relationships/slideLayout" Target="../slideLayouts/slideLayout234.xml"/><Relationship Id="rId24" Type="http://schemas.openxmlformats.org/officeDocument/2006/relationships/slideLayout" Target="../slideLayouts/slideLayout247.xml"/><Relationship Id="rId5" Type="http://schemas.openxmlformats.org/officeDocument/2006/relationships/slideLayout" Target="../slideLayouts/slideLayout228.xml"/><Relationship Id="rId15" Type="http://schemas.openxmlformats.org/officeDocument/2006/relationships/slideLayout" Target="../slideLayouts/slideLayout238.xml"/><Relationship Id="rId23" Type="http://schemas.openxmlformats.org/officeDocument/2006/relationships/slideLayout" Target="../slideLayouts/slideLayout246.xml"/><Relationship Id="rId28" Type="http://schemas.openxmlformats.org/officeDocument/2006/relationships/theme" Target="../theme/theme9.xml"/><Relationship Id="rId10" Type="http://schemas.openxmlformats.org/officeDocument/2006/relationships/slideLayout" Target="../slideLayouts/slideLayout233.xml"/><Relationship Id="rId19" Type="http://schemas.openxmlformats.org/officeDocument/2006/relationships/slideLayout" Target="../slideLayouts/slideLayout242.xml"/><Relationship Id="rId4" Type="http://schemas.openxmlformats.org/officeDocument/2006/relationships/slideLayout" Target="../slideLayouts/slideLayout227.xml"/><Relationship Id="rId9" Type="http://schemas.openxmlformats.org/officeDocument/2006/relationships/slideLayout" Target="../slideLayouts/slideLayout232.xml"/><Relationship Id="rId14" Type="http://schemas.openxmlformats.org/officeDocument/2006/relationships/slideLayout" Target="../slideLayouts/slideLayout237.xml"/><Relationship Id="rId22" Type="http://schemas.openxmlformats.org/officeDocument/2006/relationships/slideLayout" Target="../slideLayouts/slideLayout245.xml"/><Relationship Id="rId27" Type="http://schemas.openxmlformats.org/officeDocument/2006/relationships/slideLayout" Target="../slideLayouts/slideLayout2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F16F5BAB-7685-4FFE-9938-FDEA972F02F8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Freeform 7"/>
          <p:cNvSpPr>
            <a:spLocks noEditPoints="1"/>
          </p:cNvSpPr>
          <p:nvPr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9119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49" r:id="rId2"/>
    <p:sldLayoutId id="2147483665" r:id="rId3"/>
    <p:sldLayoutId id="2147483678" r:id="rId4"/>
    <p:sldLayoutId id="2147483650" r:id="rId5"/>
    <p:sldLayoutId id="2147483661" r:id="rId6"/>
    <p:sldLayoutId id="2147483668" r:id="rId7"/>
    <p:sldLayoutId id="2147483664" r:id="rId8"/>
    <p:sldLayoutId id="2147483667" r:id="rId9"/>
    <p:sldLayoutId id="2147483679" r:id="rId10"/>
    <p:sldLayoutId id="2147483676" r:id="rId11"/>
    <p:sldLayoutId id="2147483652" r:id="rId12"/>
    <p:sldLayoutId id="2147483662" r:id="rId13"/>
    <p:sldLayoutId id="2147483672" r:id="rId14"/>
    <p:sldLayoutId id="2147483674" r:id="rId15"/>
    <p:sldLayoutId id="2147483673" r:id="rId16"/>
    <p:sldLayoutId id="2147483677" r:id="rId17"/>
    <p:sldLayoutId id="2147483680" r:id="rId18"/>
    <p:sldLayoutId id="2147483681" r:id="rId19"/>
    <p:sldLayoutId id="2147483952" r:id="rId20"/>
    <p:sldLayoutId id="2147483669" r:id="rId21"/>
    <p:sldLayoutId id="2147483653" r:id="rId22"/>
    <p:sldLayoutId id="2147483663" r:id="rId23"/>
    <p:sldLayoutId id="2147483670" r:id="rId24"/>
    <p:sldLayoutId id="2147483671" r:id="rId25"/>
    <p:sldLayoutId id="2147483654" r:id="rId26"/>
    <p:sldLayoutId id="2147483655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1FAB95F8-AB5E-4D4E-AE92-E9C1A60DEDB8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Freeform 7"/>
          <p:cNvSpPr>
            <a:spLocks noEditPoints="1"/>
          </p:cNvSpPr>
          <p:nvPr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9" name="Group 8"/>
          <p:cNvGrpSpPr/>
          <p:nvPr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1" name="Round Same Side Corner Rectangle 10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28" name="Freeform 24"/>
            <p:cNvSpPr>
              <a:spLocks noEditPoints="1"/>
            </p:cNvSpPr>
            <p:nvPr userDrawn="1"/>
          </p:nvSpPr>
          <p:spPr bwMode="auto">
            <a:xfrm>
              <a:off x="9011200" y="6428428"/>
              <a:ext cx="1668858" cy="290400"/>
            </a:xfrm>
            <a:custGeom>
              <a:avLst/>
              <a:gdLst>
                <a:gd name="T0" fmla="*/ 1770 w 1770"/>
                <a:gd name="T1" fmla="*/ 305 h 308"/>
                <a:gd name="T2" fmla="*/ 1629 w 1770"/>
                <a:gd name="T3" fmla="*/ 305 h 308"/>
                <a:gd name="T4" fmla="*/ 1524 w 1770"/>
                <a:gd name="T5" fmla="*/ 164 h 308"/>
                <a:gd name="T6" fmla="*/ 1557 w 1770"/>
                <a:gd name="T7" fmla="*/ 158 h 308"/>
                <a:gd name="T8" fmla="*/ 1563 w 1770"/>
                <a:gd name="T9" fmla="*/ 111 h 308"/>
                <a:gd name="T10" fmla="*/ 1559 w 1770"/>
                <a:gd name="T11" fmla="*/ 91 h 308"/>
                <a:gd name="T12" fmla="*/ 1524 w 1770"/>
                <a:gd name="T13" fmla="*/ 86 h 308"/>
                <a:gd name="T14" fmla="*/ 1564 w 1770"/>
                <a:gd name="T15" fmla="*/ 273 h 308"/>
                <a:gd name="T16" fmla="*/ 1558 w 1770"/>
                <a:gd name="T17" fmla="*/ 207 h 308"/>
                <a:gd name="T18" fmla="*/ 1538 w 1770"/>
                <a:gd name="T19" fmla="*/ 200 h 308"/>
                <a:gd name="T20" fmla="*/ 1544 w 1770"/>
                <a:gd name="T21" fmla="*/ 49 h 308"/>
                <a:gd name="T22" fmla="*/ 1577 w 1770"/>
                <a:gd name="T23" fmla="*/ 54 h 308"/>
                <a:gd name="T24" fmla="*/ 1596 w 1770"/>
                <a:gd name="T25" fmla="*/ 72 h 308"/>
                <a:gd name="T26" fmla="*/ 1604 w 1770"/>
                <a:gd name="T27" fmla="*/ 100 h 308"/>
                <a:gd name="T28" fmla="*/ 1600 w 1770"/>
                <a:gd name="T29" fmla="*/ 153 h 308"/>
                <a:gd name="T30" fmla="*/ 1578 w 1770"/>
                <a:gd name="T31" fmla="*/ 180 h 308"/>
                <a:gd name="T32" fmla="*/ 1593 w 1770"/>
                <a:gd name="T33" fmla="*/ 190 h 308"/>
                <a:gd name="T34" fmla="*/ 1604 w 1770"/>
                <a:gd name="T35" fmla="*/ 224 h 308"/>
                <a:gd name="T36" fmla="*/ 1607 w 1770"/>
                <a:gd name="T37" fmla="*/ 297 h 308"/>
                <a:gd name="T38" fmla="*/ 1384 w 1770"/>
                <a:gd name="T39" fmla="*/ 94 h 308"/>
                <a:gd name="T40" fmla="*/ 1359 w 1770"/>
                <a:gd name="T41" fmla="*/ 258 h 308"/>
                <a:gd name="T42" fmla="*/ 1456 w 1770"/>
                <a:gd name="T43" fmla="*/ 305 h 308"/>
                <a:gd name="T44" fmla="*/ 1208 w 1770"/>
                <a:gd name="T45" fmla="*/ 305 h 308"/>
                <a:gd name="T46" fmla="*/ 1108 w 1770"/>
                <a:gd name="T47" fmla="*/ 223 h 308"/>
                <a:gd name="T48" fmla="*/ 1113 w 1770"/>
                <a:gd name="T49" fmla="*/ 258 h 308"/>
                <a:gd name="T50" fmla="*/ 1119 w 1770"/>
                <a:gd name="T51" fmla="*/ 49 h 308"/>
                <a:gd name="T52" fmla="*/ 975 w 1770"/>
                <a:gd name="T53" fmla="*/ 86 h 308"/>
                <a:gd name="T54" fmla="*/ 893 w 1770"/>
                <a:gd name="T55" fmla="*/ 49 h 308"/>
                <a:gd name="T56" fmla="*/ 854 w 1770"/>
                <a:gd name="T57" fmla="*/ 0 h 308"/>
                <a:gd name="T58" fmla="*/ 791 w 1770"/>
                <a:gd name="T59" fmla="*/ 261 h 308"/>
                <a:gd name="T60" fmla="*/ 809 w 1770"/>
                <a:gd name="T61" fmla="*/ 271 h 308"/>
                <a:gd name="T62" fmla="*/ 826 w 1770"/>
                <a:gd name="T63" fmla="*/ 261 h 308"/>
                <a:gd name="T64" fmla="*/ 829 w 1770"/>
                <a:gd name="T65" fmla="*/ 102 h 308"/>
                <a:gd name="T66" fmla="*/ 821 w 1770"/>
                <a:gd name="T67" fmla="*/ 86 h 308"/>
                <a:gd name="T68" fmla="*/ 800 w 1770"/>
                <a:gd name="T69" fmla="*/ 84 h 308"/>
                <a:gd name="T70" fmla="*/ 788 w 1770"/>
                <a:gd name="T71" fmla="*/ 102 h 308"/>
                <a:gd name="T72" fmla="*/ 764 w 1770"/>
                <a:gd name="T73" fmla="*/ 35 h 308"/>
                <a:gd name="T74" fmla="*/ 749 w 1770"/>
                <a:gd name="T75" fmla="*/ 95 h 308"/>
                <a:gd name="T76" fmla="*/ 760 w 1770"/>
                <a:gd name="T77" fmla="*/ 67 h 308"/>
                <a:gd name="T78" fmla="*/ 783 w 1770"/>
                <a:gd name="T79" fmla="*/ 50 h 308"/>
                <a:gd name="T80" fmla="*/ 816 w 1770"/>
                <a:gd name="T81" fmla="*/ 45 h 308"/>
                <a:gd name="T82" fmla="*/ 845 w 1770"/>
                <a:gd name="T83" fmla="*/ 55 h 308"/>
                <a:gd name="T84" fmla="*/ 863 w 1770"/>
                <a:gd name="T85" fmla="*/ 77 h 308"/>
                <a:gd name="T86" fmla="*/ 870 w 1770"/>
                <a:gd name="T87" fmla="*/ 110 h 308"/>
                <a:gd name="T88" fmla="*/ 867 w 1770"/>
                <a:gd name="T89" fmla="*/ 271 h 308"/>
                <a:gd name="T90" fmla="*/ 851 w 1770"/>
                <a:gd name="T91" fmla="*/ 294 h 308"/>
                <a:gd name="T92" fmla="*/ 823 w 1770"/>
                <a:gd name="T93" fmla="*/ 307 h 308"/>
                <a:gd name="T94" fmla="*/ 788 w 1770"/>
                <a:gd name="T95" fmla="*/ 305 h 308"/>
                <a:gd name="T96" fmla="*/ 764 w 1770"/>
                <a:gd name="T97" fmla="*/ 291 h 308"/>
                <a:gd name="T98" fmla="*/ 750 w 1770"/>
                <a:gd name="T99" fmla="*/ 264 h 308"/>
                <a:gd name="T100" fmla="*/ 600 w 1770"/>
                <a:gd name="T101" fmla="*/ 49 h 308"/>
                <a:gd name="T102" fmla="*/ 642 w 1770"/>
                <a:gd name="T103" fmla="*/ 305 h 308"/>
                <a:gd name="T104" fmla="*/ 585 w 1770"/>
                <a:gd name="T105" fmla="*/ 49 h 308"/>
                <a:gd name="T106" fmla="*/ 503 w 1770"/>
                <a:gd name="T107" fmla="*/ 86 h 308"/>
                <a:gd name="T108" fmla="*/ 348 w 1770"/>
                <a:gd name="T109" fmla="*/ 49 h 308"/>
                <a:gd name="T110" fmla="*/ 397 w 1770"/>
                <a:gd name="T111" fmla="*/ 305 h 308"/>
                <a:gd name="T112" fmla="*/ 231 w 1770"/>
                <a:gd name="T113" fmla="*/ 35 h 308"/>
                <a:gd name="T114" fmla="*/ 219 w 1770"/>
                <a:gd name="T115" fmla="*/ 94 h 308"/>
                <a:gd name="T116" fmla="*/ 175 w 1770"/>
                <a:gd name="T117" fmla="*/ 0 h 308"/>
                <a:gd name="T118" fmla="*/ 194 w 1770"/>
                <a:gd name="T119" fmla="*/ 258 h 308"/>
                <a:gd name="T120" fmla="*/ 291 w 1770"/>
                <a:gd name="T121" fmla="*/ 305 h 308"/>
                <a:gd name="T122" fmla="*/ 0 w 1770"/>
                <a:gd name="T123" fmla="*/ 49 h 308"/>
                <a:gd name="T124" fmla="*/ 78 w 1770"/>
                <a:gd name="T125" fmla="*/ 16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0" h="308">
                  <a:moveTo>
                    <a:pt x="1679" y="223"/>
                  </a:moveTo>
                  <a:lnTo>
                    <a:pt x="1717" y="223"/>
                  </a:lnTo>
                  <a:lnTo>
                    <a:pt x="1698" y="94"/>
                  </a:lnTo>
                  <a:lnTo>
                    <a:pt x="1679" y="223"/>
                  </a:lnTo>
                  <a:close/>
                  <a:moveTo>
                    <a:pt x="1770" y="305"/>
                  </a:moveTo>
                  <a:lnTo>
                    <a:pt x="1729" y="305"/>
                  </a:lnTo>
                  <a:lnTo>
                    <a:pt x="1722" y="258"/>
                  </a:lnTo>
                  <a:lnTo>
                    <a:pt x="1673" y="258"/>
                  </a:lnTo>
                  <a:lnTo>
                    <a:pt x="1666" y="305"/>
                  </a:lnTo>
                  <a:lnTo>
                    <a:pt x="1629" y="305"/>
                  </a:lnTo>
                  <a:lnTo>
                    <a:pt x="1670" y="49"/>
                  </a:lnTo>
                  <a:lnTo>
                    <a:pt x="1729" y="49"/>
                  </a:lnTo>
                  <a:lnTo>
                    <a:pt x="1770" y="305"/>
                  </a:lnTo>
                  <a:close/>
                  <a:moveTo>
                    <a:pt x="1524" y="86"/>
                  </a:moveTo>
                  <a:lnTo>
                    <a:pt x="1524" y="164"/>
                  </a:lnTo>
                  <a:lnTo>
                    <a:pt x="1540" y="164"/>
                  </a:lnTo>
                  <a:lnTo>
                    <a:pt x="1545" y="163"/>
                  </a:lnTo>
                  <a:lnTo>
                    <a:pt x="1550" y="163"/>
                  </a:lnTo>
                  <a:lnTo>
                    <a:pt x="1554" y="161"/>
                  </a:lnTo>
                  <a:lnTo>
                    <a:pt x="1557" y="158"/>
                  </a:lnTo>
                  <a:lnTo>
                    <a:pt x="1560" y="154"/>
                  </a:lnTo>
                  <a:lnTo>
                    <a:pt x="1562" y="149"/>
                  </a:lnTo>
                  <a:lnTo>
                    <a:pt x="1563" y="144"/>
                  </a:lnTo>
                  <a:lnTo>
                    <a:pt x="1563" y="136"/>
                  </a:lnTo>
                  <a:lnTo>
                    <a:pt x="1563" y="111"/>
                  </a:lnTo>
                  <a:lnTo>
                    <a:pt x="1563" y="105"/>
                  </a:lnTo>
                  <a:lnTo>
                    <a:pt x="1562" y="99"/>
                  </a:lnTo>
                  <a:lnTo>
                    <a:pt x="1562" y="97"/>
                  </a:lnTo>
                  <a:lnTo>
                    <a:pt x="1561" y="95"/>
                  </a:lnTo>
                  <a:lnTo>
                    <a:pt x="1559" y="91"/>
                  </a:lnTo>
                  <a:lnTo>
                    <a:pt x="1556" y="89"/>
                  </a:lnTo>
                  <a:lnTo>
                    <a:pt x="1553" y="87"/>
                  </a:lnTo>
                  <a:lnTo>
                    <a:pt x="1549" y="86"/>
                  </a:lnTo>
                  <a:lnTo>
                    <a:pt x="1543" y="86"/>
                  </a:lnTo>
                  <a:lnTo>
                    <a:pt x="1524" y="86"/>
                  </a:lnTo>
                  <a:close/>
                  <a:moveTo>
                    <a:pt x="1568" y="305"/>
                  </a:moveTo>
                  <a:lnTo>
                    <a:pt x="1567" y="299"/>
                  </a:lnTo>
                  <a:lnTo>
                    <a:pt x="1566" y="294"/>
                  </a:lnTo>
                  <a:lnTo>
                    <a:pt x="1564" y="286"/>
                  </a:lnTo>
                  <a:lnTo>
                    <a:pt x="1564" y="273"/>
                  </a:lnTo>
                  <a:lnTo>
                    <a:pt x="1564" y="233"/>
                  </a:lnTo>
                  <a:lnTo>
                    <a:pt x="1563" y="224"/>
                  </a:lnTo>
                  <a:lnTo>
                    <a:pt x="1562" y="218"/>
                  </a:lnTo>
                  <a:lnTo>
                    <a:pt x="1560" y="212"/>
                  </a:lnTo>
                  <a:lnTo>
                    <a:pt x="1558" y="207"/>
                  </a:lnTo>
                  <a:lnTo>
                    <a:pt x="1554" y="204"/>
                  </a:lnTo>
                  <a:lnTo>
                    <a:pt x="1552" y="203"/>
                  </a:lnTo>
                  <a:lnTo>
                    <a:pt x="1550" y="202"/>
                  </a:lnTo>
                  <a:lnTo>
                    <a:pt x="1544" y="201"/>
                  </a:lnTo>
                  <a:lnTo>
                    <a:pt x="1538" y="200"/>
                  </a:lnTo>
                  <a:lnTo>
                    <a:pt x="1524" y="200"/>
                  </a:lnTo>
                  <a:lnTo>
                    <a:pt x="1524" y="305"/>
                  </a:lnTo>
                  <a:lnTo>
                    <a:pt x="1484" y="305"/>
                  </a:lnTo>
                  <a:lnTo>
                    <a:pt x="1484" y="49"/>
                  </a:lnTo>
                  <a:lnTo>
                    <a:pt x="1544" y="49"/>
                  </a:lnTo>
                  <a:lnTo>
                    <a:pt x="1552" y="49"/>
                  </a:lnTo>
                  <a:lnTo>
                    <a:pt x="1559" y="50"/>
                  </a:lnTo>
                  <a:lnTo>
                    <a:pt x="1566" y="51"/>
                  </a:lnTo>
                  <a:lnTo>
                    <a:pt x="1572" y="52"/>
                  </a:lnTo>
                  <a:lnTo>
                    <a:pt x="1577" y="54"/>
                  </a:lnTo>
                  <a:lnTo>
                    <a:pt x="1581" y="57"/>
                  </a:lnTo>
                  <a:lnTo>
                    <a:pt x="1586" y="60"/>
                  </a:lnTo>
                  <a:lnTo>
                    <a:pt x="1590" y="63"/>
                  </a:lnTo>
                  <a:lnTo>
                    <a:pt x="1593" y="67"/>
                  </a:lnTo>
                  <a:lnTo>
                    <a:pt x="1596" y="72"/>
                  </a:lnTo>
                  <a:lnTo>
                    <a:pt x="1598" y="76"/>
                  </a:lnTo>
                  <a:lnTo>
                    <a:pt x="1600" y="81"/>
                  </a:lnTo>
                  <a:lnTo>
                    <a:pt x="1603" y="88"/>
                  </a:lnTo>
                  <a:lnTo>
                    <a:pt x="1604" y="93"/>
                  </a:lnTo>
                  <a:lnTo>
                    <a:pt x="1604" y="100"/>
                  </a:lnTo>
                  <a:lnTo>
                    <a:pt x="1604" y="108"/>
                  </a:lnTo>
                  <a:lnTo>
                    <a:pt x="1604" y="128"/>
                  </a:lnTo>
                  <a:lnTo>
                    <a:pt x="1604" y="137"/>
                  </a:lnTo>
                  <a:lnTo>
                    <a:pt x="1603" y="146"/>
                  </a:lnTo>
                  <a:lnTo>
                    <a:pt x="1600" y="153"/>
                  </a:lnTo>
                  <a:lnTo>
                    <a:pt x="1597" y="160"/>
                  </a:lnTo>
                  <a:lnTo>
                    <a:pt x="1594" y="166"/>
                  </a:lnTo>
                  <a:lnTo>
                    <a:pt x="1590" y="171"/>
                  </a:lnTo>
                  <a:lnTo>
                    <a:pt x="1584" y="176"/>
                  </a:lnTo>
                  <a:lnTo>
                    <a:pt x="1578" y="180"/>
                  </a:lnTo>
                  <a:lnTo>
                    <a:pt x="1581" y="181"/>
                  </a:lnTo>
                  <a:lnTo>
                    <a:pt x="1585" y="183"/>
                  </a:lnTo>
                  <a:lnTo>
                    <a:pt x="1588" y="185"/>
                  </a:lnTo>
                  <a:lnTo>
                    <a:pt x="1590" y="187"/>
                  </a:lnTo>
                  <a:lnTo>
                    <a:pt x="1593" y="190"/>
                  </a:lnTo>
                  <a:lnTo>
                    <a:pt x="1595" y="194"/>
                  </a:lnTo>
                  <a:lnTo>
                    <a:pt x="1598" y="200"/>
                  </a:lnTo>
                  <a:lnTo>
                    <a:pt x="1601" y="207"/>
                  </a:lnTo>
                  <a:lnTo>
                    <a:pt x="1603" y="216"/>
                  </a:lnTo>
                  <a:lnTo>
                    <a:pt x="1604" y="224"/>
                  </a:lnTo>
                  <a:lnTo>
                    <a:pt x="1605" y="234"/>
                  </a:lnTo>
                  <a:lnTo>
                    <a:pt x="1605" y="273"/>
                  </a:lnTo>
                  <a:lnTo>
                    <a:pt x="1605" y="282"/>
                  </a:lnTo>
                  <a:lnTo>
                    <a:pt x="1605" y="290"/>
                  </a:lnTo>
                  <a:lnTo>
                    <a:pt x="1607" y="297"/>
                  </a:lnTo>
                  <a:lnTo>
                    <a:pt x="1609" y="305"/>
                  </a:lnTo>
                  <a:lnTo>
                    <a:pt x="1568" y="305"/>
                  </a:lnTo>
                  <a:close/>
                  <a:moveTo>
                    <a:pt x="1365" y="223"/>
                  </a:moveTo>
                  <a:lnTo>
                    <a:pt x="1403" y="223"/>
                  </a:lnTo>
                  <a:lnTo>
                    <a:pt x="1384" y="94"/>
                  </a:lnTo>
                  <a:lnTo>
                    <a:pt x="1365" y="223"/>
                  </a:lnTo>
                  <a:close/>
                  <a:moveTo>
                    <a:pt x="1456" y="305"/>
                  </a:moveTo>
                  <a:lnTo>
                    <a:pt x="1415" y="305"/>
                  </a:lnTo>
                  <a:lnTo>
                    <a:pt x="1409" y="258"/>
                  </a:lnTo>
                  <a:lnTo>
                    <a:pt x="1359" y="258"/>
                  </a:lnTo>
                  <a:lnTo>
                    <a:pt x="1352" y="305"/>
                  </a:lnTo>
                  <a:lnTo>
                    <a:pt x="1315" y="305"/>
                  </a:lnTo>
                  <a:lnTo>
                    <a:pt x="1356" y="49"/>
                  </a:lnTo>
                  <a:lnTo>
                    <a:pt x="1415" y="49"/>
                  </a:lnTo>
                  <a:lnTo>
                    <a:pt x="1456" y="305"/>
                  </a:lnTo>
                  <a:close/>
                  <a:moveTo>
                    <a:pt x="1240" y="257"/>
                  </a:moveTo>
                  <a:lnTo>
                    <a:pt x="1270" y="49"/>
                  </a:lnTo>
                  <a:lnTo>
                    <a:pt x="1307" y="49"/>
                  </a:lnTo>
                  <a:lnTo>
                    <a:pt x="1268" y="305"/>
                  </a:lnTo>
                  <a:lnTo>
                    <a:pt x="1208" y="305"/>
                  </a:lnTo>
                  <a:lnTo>
                    <a:pt x="1169" y="49"/>
                  </a:lnTo>
                  <a:lnTo>
                    <a:pt x="1209" y="49"/>
                  </a:lnTo>
                  <a:lnTo>
                    <a:pt x="1240" y="257"/>
                  </a:lnTo>
                  <a:close/>
                  <a:moveTo>
                    <a:pt x="1068" y="223"/>
                  </a:moveTo>
                  <a:lnTo>
                    <a:pt x="1108" y="223"/>
                  </a:lnTo>
                  <a:lnTo>
                    <a:pt x="1089" y="94"/>
                  </a:lnTo>
                  <a:lnTo>
                    <a:pt x="1068" y="223"/>
                  </a:lnTo>
                  <a:close/>
                  <a:moveTo>
                    <a:pt x="1160" y="305"/>
                  </a:moveTo>
                  <a:lnTo>
                    <a:pt x="1120" y="305"/>
                  </a:lnTo>
                  <a:lnTo>
                    <a:pt x="1113" y="258"/>
                  </a:lnTo>
                  <a:lnTo>
                    <a:pt x="1063" y="258"/>
                  </a:lnTo>
                  <a:lnTo>
                    <a:pt x="1057" y="305"/>
                  </a:lnTo>
                  <a:lnTo>
                    <a:pt x="1020" y="305"/>
                  </a:lnTo>
                  <a:lnTo>
                    <a:pt x="1061" y="49"/>
                  </a:lnTo>
                  <a:lnTo>
                    <a:pt x="1119" y="49"/>
                  </a:lnTo>
                  <a:lnTo>
                    <a:pt x="1160" y="305"/>
                  </a:lnTo>
                  <a:close/>
                  <a:moveTo>
                    <a:pt x="893" y="49"/>
                  </a:moveTo>
                  <a:lnTo>
                    <a:pt x="1018" y="49"/>
                  </a:lnTo>
                  <a:lnTo>
                    <a:pt x="1018" y="86"/>
                  </a:lnTo>
                  <a:lnTo>
                    <a:pt x="975" y="86"/>
                  </a:lnTo>
                  <a:lnTo>
                    <a:pt x="975" y="305"/>
                  </a:lnTo>
                  <a:lnTo>
                    <a:pt x="935" y="305"/>
                  </a:lnTo>
                  <a:lnTo>
                    <a:pt x="935" y="86"/>
                  </a:lnTo>
                  <a:lnTo>
                    <a:pt x="893" y="86"/>
                  </a:lnTo>
                  <a:lnTo>
                    <a:pt x="893" y="49"/>
                  </a:lnTo>
                  <a:close/>
                  <a:moveTo>
                    <a:pt x="854" y="0"/>
                  </a:moveTo>
                  <a:lnTo>
                    <a:pt x="854" y="35"/>
                  </a:lnTo>
                  <a:lnTo>
                    <a:pt x="819" y="35"/>
                  </a:lnTo>
                  <a:lnTo>
                    <a:pt x="819" y="0"/>
                  </a:lnTo>
                  <a:lnTo>
                    <a:pt x="854" y="0"/>
                  </a:lnTo>
                  <a:close/>
                  <a:moveTo>
                    <a:pt x="788" y="245"/>
                  </a:moveTo>
                  <a:lnTo>
                    <a:pt x="788" y="252"/>
                  </a:lnTo>
                  <a:lnTo>
                    <a:pt x="789" y="257"/>
                  </a:lnTo>
                  <a:lnTo>
                    <a:pt x="790" y="259"/>
                  </a:lnTo>
                  <a:lnTo>
                    <a:pt x="791" y="261"/>
                  </a:lnTo>
                  <a:lnTo>
                    <a:pt x="794" y="265"/>
                  </a:lnTo>
                  <a:lnTo>
                    <a:pt x="797" y="268"/>
                  </a:lnTo>
                  <a:lnTo>
                    <a:pt x="800" y="270"/>
                  </a:lnTo>
                  <a:lnTo>
                    <a:pt x="804" y="271"/>
                  </a:lnTo>
                  <a:lnTo>
                    <a:pt x="809" y="271"/>
                  </a:lnTo>
                  <a:lnTo>
                    <a:pt x="814" y="271"/>
                  </a:lnTo>
                  <a:lnTo>
                    <a:pt x="818" y="270"/>
                  </a:lnTo>
                  <a:lnTo>
                    <a:pt x="821" y="268"/>
                  </a:lnTo>
                  <a:lnTo>
                    <a:pt x="824" y="265"/>
                  </a:lnTo>
                  <a:lnTo>
                    <a:pt x="826" y="261"/>
                  </a:lnTo>
                  <a:lnTo>
                    <a:pt x="828" y="257"/>
                  </a:lnTo>
                  <a:lnTo>
                    <a:pt x="829" y="252"/>
                  </a:lnTo>
                  <a:lnTo>
                    <a:pt x="829" y="245"/>
                  </a:lnTo>
                  <a:lnTo>
                    <a:pt x="829" y="108"/>
                  </a:lnTo>
                  <a:lnTo>
                    <a:pt x="829" y="102"/>
                  </a:lnTo>
                  <a:lnTo>
                    <a:pt x="828" y="96"/>
                  </a:lnTo>
                  <a:lnTo>
                    <a:pt x="827" y="93"/>
                  </a:lnTo>
                  <a:lnTo>
                    <a:pt x="826" y="91"/>
                  </a:lnTo>
                  <a:lnTo>
                    <a:pt x="824" y="88"/>
                  </a:lnTo>
                  <a:lnTo>
                    <a:pt x="821" y="86"/>
                  </a:lnTo>
                  <a:lnTo>
                    <a:pt x="818" y="84"/>
                  </a:lnTo>
                  <a:lnTo>
                    <a:pt x="814" y="82"/>
                  </a:lnTo>
                  <a:lnTo>
                    <a:pt x="809" y="82"/>
                  </a:lnTo>
                  <a:lnTo>
                    <a:pt x="804" y="82"/>
                  </a:lnTo>
                  <a:lnTo>
                    <a:pt x="800" y="84"/>
                  </a:lnTo>
                  <a:lnTo>
                    <a:pt x="797" y="86"/>
                  </a:lnTo>
                  <a:lnTo>
                    <a:pt x="794" y="88"/>
                  </a:lnTo>
                  <a:lnTo>
                    <a:pt x="791" y="91"/>
                  </a:lnTo>
                  <a:lnTo>
                    <a:pt x="789" y="96"/>
                  </a:lnTo>
                  <a:lnTo>
                    <a:pt x="788" y="102"/>
                  </a:lnTo>
                  <a:lnTo>
                    <a:pt x="788" y="108"/>
                  </a:lnTo>
                  <a:lnTo>
                    <a:pt x="788" y="245"/>
                  </a:lnTo>
                  <a:close/>
                  <a:moveTo>
                    <a:pt x="799" y="0"/>
                  </a:moveTo>
                  <a:lnTo>
                    <a:pt x="799" y="35"/>
                  </a:lnTo>
                  <a:lnTo>
                    <a:pt x="764" y="35"/>
                  </a:lnTo>
                  <a:lnTo>
                    <a:pt x="764" y="0"/>
                  </a:lnTo>
                  <a:lnTo>
                    <a:pt x="799" y="0"/>
                  </a:lnTo>
                  <a:close/>
                  <a:moveTo>
                    <a:pt x="748" y="110"/>
                  </a:moveTo>
                  <a:lnTo>
                    <a:pt x="748" y="103"/>
                  </a:lnTo>
                  <a:lnTo>
                    <a:pt x="749" y="95"/>
                  </a:lnTo>
                  <a:lnTo>
                    <a:pt x="750" y="89"/>
                  </a:lnTo>
                  <a:lnTo>
                    <a:pt x="752" y="82"/>
                  </a:lnTo>
                  <a:lnTo>
                    <a:pt x="754" y="77"/>
                  </a:lnTo>
                  <a:lnTo>
                    <a:pt x="757" y="72"/>
                  </a:lnTo>
                  <a:lnTo>
                    <a:pt x="760" y="67"/>
                  </a:lnTo>
                  <a:lnTo>
                    <a:pt x="764" y="62"/>
                  </a:lnTo>
                  <a:lnTo>
                    <a:pt x="768" y="58"/>
                  </a:lnTo>
                  <a:lnTo>
                    <a:pt x="772" y="55"/>
                  </a:lnTo>
                  <a:lnTo>
                    <a:pt x="778" y="53"/>
                  </a:lnTo>
                  <a:lnTo>
                    <a:pt x="783" y="50"/>
                  </a:lnTo>
                  <a:lnTo>
                    <a:pt x="788" y="48"/>
                  </a:lnTo>
                  <a:lnTo>
                    <a:pt x="795" y="47"/>
                  </a:lnTo>
                  <a:lnTo>
                    <a:pt x="802" y="45"/>
                  </a:lnTo>
                  <a:lnTo>
                    <a:pt x="809" y="45"/>
                  </a:lnTo>
                  <a:lnTo>
                    <a:pt x="816" y="45"/>
                  </a:lnTo>
                  <a:lnTo>
                    <a:pt x="823" y="47"/>
                  </a:lnTo>
                  <a:lnTo>
                    <a:pt x="829" y="48"/>
                  </a:lnTo>
                  <a:lnTo>
                    <a:pt x="835" y="50"/>
                  </a:lnTo>
                  <a:lnTo>
                    <a:pt x="840" y="53"/>
                  </a:lnTo>
                  <a:lnTo>
                    <a:pt x="845" y="55"/>
                  </a:lnTo>
                  <a:lnTo>
                    <a:pt x="851" y="58"/>
                  </a:lnTo>
                  <a:lnTo>
                    <a:pt x="854" y="62"/>
                  </a:lnTo>
                  <a:lnTo>
                    <a:pt x="858" y="67"/>
                  </a:lnTo>
                  <a:lnTo>
                    <a:pt x="861" y="72"/>
                  </a:lnTo>
                  <a:lnTo>
                    <a:pt x="863" y="77"/>
                  </a:lnTo>
                  <a:lnTo>
                    <a:pt x="867" y="82"/>
                  </a:lnTo>
                  <a:lnTo>
                    <a:pt x="868" y="89"/>
                  </a:lnTo>
                  <a:lnTo>
                    <a:pt x="869" y="95"/>
                  </a:lnTo>
                  <a:lnTo>
                    <a:pt x="870" y="103"/>
                  </a:lnTo>
                  <a:lnTo>
                    <a:pt x="870" y="110"/>
                  </a:lnTo>
                  <a:lnTo>
                    <a:pt x="870" y="243"/>
                  </a:lnTo>
                  <a:lnTo>
                    <a:pt x="870" y="251"/>
                  </a:lnTo>
                  <a:lnTo>
                    <a:pt x="869" y="257"/>
                  </a:lnTo>
                  <a:lnTo>
                    <a:pt x="868" y="264"/>
                  </a:lnTo>
                  <a:lnTo>
                    <a:pt x="867" y="271"/>
                  </a:lnTo>
                  <a:lnTo>
                    <a:pt x="863" y="276"/>
                  </a:lnTo>
                  <a:lnTo>
                    <a:pt x="861" y="281"/>
                  </a:lnTo>
                  <a:lnTo>
                    <a:pt x="858" y="287"/>
                  </a:lnTo>
                  <a:lnTo>
                    <a:pt x="854" y="291"/>
                  </a:lnTo>
                  <a:lnTo>
                    <a:pt x="851" y="294"/>
                  </a:lnTo>
                  <a:lnTo>
                    <a:pt x="845" y="298"/>
                  </a:lnTo>
                  <a:lnTo>
                    <a:pt x="840" y="300"/>
                  </a:lnTo>
                  <a:lnTo>
                    <a:pt x="835" y="302"/>
                  </a:lnTo>
                  <a:lnTo>
                    <a:pt x="829" y="305"/>
                  </a:lnTo>
                  <a:lnTo>
                    <a:pt x="823" y="307"/>
                  </a:lnTo>
                  <a:lnTo>
                    <a:pt x="816" y="307"/>
                  </a:lnTo>
                  <a:lnTo>
                    <a:pt x="809" y="308"/>
                  </a:lnTo>
                  <a:lnTo>
                    <a:pt x="802" y="307"/>
                  </a:lnTo>
                  <a:lnTo>
                    <a:pt x="795" y="307"/>
                  </a:lnTo>
                  <a:lnTo>
                    <a:pt x="788" y="305"/>
                  </a:lnTo>
                  <a:lnTo>
                    <a:pt x="783" y="302"/>
                  </a:lnTo>
                  <a:lnTo>
                    <a:pt x="778" y="300"/>
                  </a:lnTo>
                  <a:lnTo>
                    <a:pt x="772" y="298"/>
                  </a:lnTo>
                  <a:lnTo>
                    <a:pt x="768" y="294"/>
                  </a:lnTo>
                  <a:lnTo>
                    <a:pt x="764" y="291"/>
                  </a:lnTo>
                  <a:lnTo>
                    <a:pt x="760" y="287"/>
                  </a:lnTo>
                  <a:lnTo>
                    <a:pt x="757" y="281"/>
                  </a:lnTo>
                  <a:lnTo>
                    <a:pt x="754" y="276"/>
                  </a:lnTo>
                  <a:lnTo>
                    <a:pt x="752" y="271"/>
                  </a:lnTo>
                  <a:lnTo>
                    <a:pt x="750" y="264"/>
                  </a:lnTo>
                  <a:lnTo>
                    <a:pt x="749" y="257"/>
                  </a:lnTo>
                  <a:lnTo>
                    <a:pt x="748" y="251"/>
                  </a:lnTo>
                  <a:lnTo>
                    <a:pt x="748" y="243"/>
                  </a:lnTo>
                  <a:lnTo>
                    <a:pt x="748" y="110"/>
                  </a:lnTo>
                  <a:close/>
                  <a:moveTo>
                    <a:pt x="600" y="49"/>
                  </a:moveTo>
                  <a:lnTo>
                    <a:pt x="725" y="49"/>
                  </a:lnTo>
                  <a:lnTo>
                    <a:pt x="725" y="86"/>
                  </a:lnTo>
                  <a:lnTo>
                    <a:pt x="682" y="86"/>
                  </a:lnTo>
                  <a:lnTo>
                    <a:pt x="682" y="305"/>
                  </a:lnTo>
                  <a:lnTo>
                    <a:pt x="642" y="305"/>
                  </a:lnTo>
                  <a:lnTo>
                    <a:pt x="642" y="86"/>
                  </a:lnTo>
                  <a:lnTo>
                    <a:pt x="600" y="86"/>
                  </a:lnTo>
                  <a:lnTo>
                    <a:pt x="600" y="49"/>
                  </a:lnTo>
                  <a:close/>
                  <a:moveTo>
                    <a:pt x="461" y="49"/>
                  </a:moveTo>
                  <a:lnTo>
                    <a:pt x="585" y="49"/>
                  </a:lnTo>
                  <a:lnTo>
                    <a:pt x="585" y="86"/>
                  </a:lnTo>
                  <a:lnTo>
                    <a:pt x="543" y="86"/>
                  </a:lnTo>
                  <a:lnTo>
                    <a:pt x="543" y="305"/>
                  </a:lnTo>
                  <a:lnTo>
                    <a:pt x="503" y="305"/>
                  </a:lnTo>
                  <a:lnTo>
                    <a:pt x="503" y="86"/>
                  </a:lnTo>
                  <a:lnTo>
                    <a:pt x="461" y="86"/>
                  </a:lnTo>
                  <a:lnTo>
                    <a:pt x="461" y="49"/>
                  </a:lnTo>
                  <a:close/>
                  <a:moveTo>
                    <a:pt x="357" y="220"/>
                  </a:moveTo>
                  <a:lnTo>
                    <a:pt x="306" y="49"/>
                  </a:lnTo>
                  <a:lnTo>
                    <a:pt x="348" y="49"/>
                  </a:lnTo>
                  <a:lnTo>
                    <a:pt x="379" y="165"/>
                  </a:lnTo>
                  <a:lnTo>
                    <a:pt x="410" y="49"/>
                  </a:lnTo>
                  <a:lnTo>
                    <a:pt x="448" y="49"/>
                  </a:lnTo>
                  <a:lnTo>
                    <a:pt x="397" y="220"/>
                  </a:lnTo>
                  <a:lnTo>
                    <a:pt x="397" y="305"/>
                  </a:lnTo>
                  <a:lnTo>
                    <a:pt x="357" y="305"/>
                  </a:lnTo>
                  <a:lnTo>
                    <a:pt x="357" y="220"/>
                  </a:lnTo>
                  <a:close/>
                  <a:moveTo>
                    <a:pt x="266" y="0"/>
                  </a:moveTo>
                  <a:lnTo>
                    <a:pt x="266" y="35"/>
                  </a:lnTo>
                  <a:lnTo>
                    <a:pt x="231" y="35"/>
                  </a:lnTo>
                  <a:lnTo>
                    <a:pt x="231" y="0"/>
                  </a:lnTo>
                  <a:lnTo>
                    <a:pt x="266" y="0"/>
                  </a:lnTo>
                  <a:close/>
                  <a:moveTo>
                    <a:pt x="199" y="223"/>
                  </a:moveTo>
                  <a:lnTo>
                    <a:pt x="238" y="223"/>
                  </a:lnTo>
                  <a:lnTo>
                    <a:pt x="219" y="94"/>
                  </a:lnTo>
                  <a:lnTo>
                    <a:pt x="199" y="223"/>
                  </a:lnTo>
                  <a:close/>
                  <a:moveTo>
                    <a:pt x="211" y="0"/>
                  </a:moveTo>
                  <a:lnTo>
                    <a:pt x="211" y="35"/>
                  </a:lnTo>
                  <a:lnTo>
                    <a:pt x="175" y="35"/>
                  </a:lnTo>
                  <a:lnTo>
                    <a:pt x="175" y="0"/>
                  </a:lnTo>
                  <a:lnTo>
                    <a:pt x="211" y="0"/>
                  </a:lnTo>
                  <a:close/>
                  <a:moveTo>
                    <a:pt x="291" y="305"/>
                  </a:moveTo>
                  <a:lnTo>
                    <a:pt x="251" y="305"/>
                  </a:lnTo>
                  <a:lnTo>
                    <a:pt x="244" y="258"/>
                  </a:lnTo>
                  <a:lnTo>
                    <a:pt x="194" y="258"/>
                  </a:lnTo>
                  <a:lnTo>
                    <a:pt x="188" y="305"/>
                  </a:lnTo>
                  <a:lnTo>
                    <a:pt x="151" y="305"/>
                  </a:lnTo>
                  <a:lnTo>
                    <a:pt x="192" y="49"/>
                  </a:lnTo>
                  <a:lnTo>
                    <a:pt x="250" y="49"/>
                  </a:lnTo>
                  <a:lnTo>
                    <a:pt x="291" y="305"/>
                  </a:lnTo>
                  <a:close/>
                  <a:moveTo>
                    <a:pt x="53" y="202"/>
                  </a:moveTo>
                  <a:lnTo>
                    <a:pt x="41" y="226"/>
                  </a:lnTo>
                  <a:lnTo>
                    <a:pt x="41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41" y="49"/>
                  </a:lnTo>
                  <a:lnTo>
                    <a:pt x="41" y="160"/>
                  </a:lnTo>
                  <a:lnTo>
                    <a:pt x="93" y="49"/>
                  </a:lnTo>
                  <a:lnTo>
                    <a:pt x="134" y="49"/>
                  </a:lnTo>
                  <a:lnTo>
                    <a:pt x="78" y="163"/>
                  </a:lnTo>
                  <a:lnTo>
                    <a:pt x="134" y="305"/>
                  </a:lnTo>
                  <a:lnTo>
                    <a:pt x="92" y="305"/>
                  </a:lnTo>
                  <a:lnTo>
                    <a:pt x="5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210851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08" r:id="rId10"/>
    <p:sldLayoutId id="2147483909" r:id="rId11"/>
    <p:sldLayoutId id="2147483910" r:id="rId12"/>
    <p:sldLayoutId id="2147483911" r:id="rId13"/>
    <p:sldLayoutId id="2147483912" r:id="rId14"/>
    <p:sldLayoutId id="2147483913" r:id="rId15"/>
    <p:sldLayoutId id="2147483914" r:id="rId16"/>
    <p:sldLayoutId id="2147483915" r:id="rId17"/>
    <p:sldLayoutId id="2147483916" r:id="rId18"/>
    <p:sldLayoutId id="2147483917" r:id="rId19"/>
    <p:sldLayoutId id="2147483961" r:id="rId20"/>
    <p:sldLayoutId id="2147483918" r:id="rId21"/>
    <p:sldLayoutId id="2147483919" r:id="rId22"/>
    <p:sldLayoutId id="2147483920" r:id="rId23"/>
    <p:sldLayoutId id="2147483921" r:id="rId24"/>
    <p:sldLayoutId id="2147483922" r:id="rId25"/>
    <p:sldLayoutId id="2147483923" r:id="rId26"/>
    <p:sldLayoutId id="2147483924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5AE5E4F6-9DB9-4737-B2FE-A8AE20F827CE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Freeform 7"/>
          <p:cNvSpPr>
            <a:spLocks noEditPoints="1"/>
          </p:cNvSpPr>
          <p:nvPr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9" name="Group 8"/>
          <p:cNvGrpSpPr/>
          <p:nvPr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1" name="Round Same Side Corner Rectangle 10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26" name="Freeform 22"/>
            <p:cNvSpPr>
              <a:spLocks noEditPoints="1"/>
            </p:cNvSpPr>
            <p:nvPr userDrawn="1"/>
          </p:nvSpPr>
          <p:spPr bwMode="auto">
            <a:xfrm>
              <a:off x="8843371" y="6428428"/>
              <a:ext cx="2004515" cy="290400"/>
            </a:xfrm>
            <a:custGeom>
              <a:avLst/>
              <a:gdLst>
                <a:gd name="T0" fmla="*/ 2079 w 2127"/>
                <a:gd name="T1" fmla="*/ 258 h 308"/>
                <a:gd name="T2" fmla="*/ 1880 w 2127"/>
                <a:gd name="T3" fmla="*/ 86 h 308"/>
                <a:gd name="T4" fmla="*/ 1916 w 2127"/>
                <a:gd name="T5" fmla="*/ 154 h 308"/>
                <a:gd name="T6" fmla="*/ 1918 w 2127"/>
                <a:gd name="T7" fmla="*/ 97 h 308"/>
                <a:gd name="T8" fmla="*/ 1880 w 2127"/>
                <a:gd name="T9" fmla="*/ 86 h 308"/>
                <a:gd name="T10" fmla="*/ 1920 w 2127"/>
                <a:gd name="T11" fmla="*/ 224 h 308"/>
                <a:gd name="T12" fmla="*/ 1900 w 2127"/>
                <a:gd name="T13" fmla="*/ 201 h 308"/>
                <a:gd name="T14" fmla="*/ 1909 w 2127"/>
                <a:gd name="T15" fmla="*/ 49 h 308"/>
                <a:gd name="T16" fmla="*/ 1946 w 2127"/>
                <a:gd name="T17" fmla="*/ 63 h 308"/>
                <a:gd name="T18" fmla="*/ 1961 w 2127"/>
                <a:gd name="T19" fmla="*/ 100 h 308"/>
                <a:gd name="T20" fmla="*/ 1950 w 2127"/>
                <a:gd name="T21" fmla="*/ 166 h 308"/>
                <a:gd name="T22" fmla="*/ 1949 w 2127"/>
                <a:gd name="T23" fmla="*/ 190 h 308"/>
                <a:gd name="T24" fmla="*/ 1961 w 2127"/>
                <a:gd name="T25" fmla="*/ 273 h 308"/>
                <a:gd name="T26" fmla="*/ 1760 w 2127"/>
                <a:gd name="T27" fmla="*/ 223 h 308"/>
                <a:gd name="T28" fmla="*/ 1709 w 2127"/>
                <a:gd name="T29" fmla="*/ 305 h 308"/>
                <a:gd name="T30" fmla="*/ 1663 w 2127"/>
                <a:gd name="T31" fmla="*/ 49 h 308"/>
                <a:gd name="T32" fmla="*/ 1464 w 2127"/>
                <a:gd name="T33" fmla="*/ 223 h 308"/>
                <a:gd name="T34" fmla="*/ 1413 w 2127"/>
                <a:gd name="T35" fmla="*/ 305 h 308"/>
                <a:gd name="T36" fmla="*/ 1374 w 2127"/>
                <a:gd name="T37" fmla="*/ 86 h 308"/>
                <a:gd name="T38" fmla="*/ 1170 w 2127"/>
                <a:gd name="T39" fmla="*/ 45 h 308"/>
                <a:gd name="T40" fmla="*/ 1210 w 2127"/>
                <a:gd name="T41" fmla="*/ 58 h 308"/>
                <a:gd name="T42" fmla="*/ 1228 w 2127"/>
                <a:gd name="T43" fmla="*/ 95 h 308"/>
                <a:gd name="T44" fmla="*/ 1190 w 2127"/>
                <a:gd name="T45" fmla="*/ 96 h 308"/>
                <a:gd name="T46" fmla="*/ 1171 w 2127"/>
                <a:gd name="T47" fmla="*/ 82 h 308"/>
                <a:gd name="T48" fmla="*/ 1152 w 2127"/>
                <a:gd name="T49" fmla="*/ 96 h 308"/>
                <a:gd name="T50" fmla="*/ 1163 w 2127"/>
                <a:gd name="T51" fmla="*/ 141 h 308"/>
                <a:gd name="T52" fmla="*/ 1214 w 2127"/>
                <a:gd name="T53" fmla="*/ 194 h 308"/>
                <a:gd name="T54" fmla="*/ 1229 w 2127"/>
                <a:gd name="T55" fmla="*/ 236 h 308"/>
                <a:gd name="T56" fmla="*/ 1220 w 2127"/>
                <a:gd name="T57" fmla="*/ 281 h 308"/>
                <a:gd name="T58" fmla="*/ 1190 w 2127"/>
                <a:gd name="T59" fmla="*/ 305 h 308"/>
                <a:gd name="T60" fmla="*/ 1143 w 2127"/>
                <a:gd name="T61" fmla="*/ 302 h 308"/>
                <a:gd name="T62" fmla="*/ 1116 w 2127"/>
                <a:gd name="T63" fmla="*/ 276 h 308"/>
                <a:gd name="T64" fmla="*/ 1147 w 2127"/>
                <a:gd name="T65" fmla="*/ 227 h 308"/>
                <a:gd name="T66" fmla="*/ 1160 w 2127"/>
                <a:gd name="T67" fmla="*/ 269 h 308"/>
                <a:gd name="T68" fmla="*/ 1185 w 2127"/>
                <a:gd name="T69" fmla="*/ 261 h 308"/>
                <a:gd name="T70" fmla="*/ 1182 w 2127"/>
                <a:gd name="T71" fmla="*/ 220 h 308"/>
                <a:gd name="T72" fmla="*/ 1128 w 2127"/>
                <a:gd name="T73" fmla="*/ 163 h 308"/>
                <a:gd name="T74" fmla="*/ 1111 w 2127"/>
                <a:gd name="T75" fmla="*/ 123 h 308"/>
                <a:gd name="T76" fmla="*/ 1117 w 2127"/>
                <a:gd name="T77" fmla="*/ 77 h 308"/>
                <a:gd name="T78" fmla="*/ 1144 w 2127"/>
                <a:gd name="T79" fmla="*/ 50 h 308"/>
                <a:gd name="T80" fmla="*/ 1078 w 2127"/>
                <a:gd name="T81" fmla="*/ 305 h 308"/>
                <a:gd name="T82" fmla="*/ 985 w 2127"/>
                <a:gd name="T83" fmla="*/ 0 h 308"/>
                <a:gd name="T84" fmla="*/ 894 w 2127"/>
                <a:gd name="T85" fmla="*/ 35 h 308"/>
                <a:gd name="T86" fmla="*/ 905 w 2127"/>
                <a:gd name="T87" fmla="*/ 305 h 308"/>
                <a:gd name="T88" fmla="*/ 866 w 2127"/>
                <a:gd name="T89" fmla="*/ 86 h 308"/>
                <a:gd name="T90" fmla="*/ 603 w 2127"/>
                <a:gd name="T91" fmla="*/ 49 h 308"/>
                <a:gd name="T92" fmla="*/ 603 w 2127"/>
                <a:gd name="T93" fmla="*/ 86 h 308"/>
                <a:gd name="T94" fmla="*/ 441 w 2127"/>
                <a:gd name="T95" fmla="*/ 257 h 308"/>
                <a:gd name="T96" fmla="*/ 441 w 2127"/>
                <a:gd name="T97" fmla="*/ 257 h 308"/>
                <a:gd name="T98" fmla="*/ 249 w 2127"/>
                <a:gd name="T99" fmla="*/ 35 h 308"/>
                <a:gd name="T100" fmla="*/ 182 w 2127"/>
                <a:gd name="T101" fmla="*/ 223 h 308"/>
                <a:gd name="T102" fmla="*/ 234 w 2127"/>
                <a:gd name="T103" fmla="*/ 305 h 308"/>
                <a:gd name="T104" fmla="*/ 274 w 2127"/>
                <a:gd name="T105" fmla="*/ 305 h 308"/>
                <a:gd name="T106" fmla="*/ 74 w 2127"/>
                <a:gd name="T107" fmla="*/ 166 h 308"/>
                <a:gd name="T108" fmla="*/ 77 w 2127"/>
                <a:gd name="T109" fmla="*/ 97 h 308"/>
                <a:gd name="T110" fmla="*/ 63 w 2127"/>
                <a:gd name="T111" fmla="*/ 86 h 308"/>
                <a:gd name="T112" fmla="*/ 116 w 2127"/>
                <a:gd name="T113" fmla="*/ 166 h 308"/>
                <a:gd name="T114" fmla="*/ 95 w 2127"/>
                <a:gd name="T115" fmla="*/ 199 h 308"/>
                <a:gd name="T116" fmla="*/ 40 w 2127"/>
                <a:gd name="T117" fmla="*/ 208 h 308"/>
                <a:gd name="T118" fmla="*/ 79 w 2127"/>
                <a:gd name="T119" fmla="*/ 51 h 308"/>
                <a:gd name="T120" fmla="*/ 108 w 2127"/>
                <a:gd name="T121" fmla="*/ 69 h 308"/>
                <a:gd name="T122" fmla="*/ 118 w 2127"/>
                <a:gd name="T12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7" h="308">
                  <a:moveTo>
                    <a:pt x="2035" y="223"/>
                  </a:moveTo>
                  <a:lnTo>
                    <a:pt x="2074" y="223"/>
                  </a:lnTo>
                  <a:lnTo>
                    <a:pt x="2054" y="94"/>
                  </a:lnTo>
                  <a:lnTo>
                    <a:pt x="2035" y="223"/>
                  </a:lnTo>
                  <a:close/>
                  <a:moveTo>
                    <a:pt x="2127" y="305"/>
                  </a:moveTo>
                  <a:lnTo>
                    <a:pt x="2085" y="305"/>
                  </a:lnTo>
                  <a:lnTo>
                    <a:pt x="2079" y="258"/>
                  </a:lnTo>
                  <a:lnTo>
                    <a:pt x="2029" y="258"/>
                  </a:lnTo>
                  <a:lnTo>
                    <a:pt x="2023" y="305"/>
                  </a:lnTo>
                  <a:lnTo>
                    <a:pt x="1986" y="305"/>
                  </a:lnTo>
                  <a:lnTo>
                    <a:pt x="2026" y="49"/>
                  </a:lnTo>
                  <a:lnTo>
                    <a:pt x="2085" y="49"/>
                  </a:lnTo>
                  <a:lnTo>
                    <a:pt x="2127" y="305"/>
                  </a:lnTo>
                  <a:close/>
                  <a:moveTo>
                    <a:pt x="1880" y="86"/>
                  </a:moveTo>
                  <a:lnTo>
                    <a:pt x="1880" y="164"/>
                  </a:lnTo>
                  <a:lnTo>
                    <a:pt x="1896" y="164"/>
                  </a:lnTo>
                  <a:lnTo>
                    <a:pt x="1901" y="163"/>
                  </a:lnTo>
                  <a:lnTo>
                    <a:pt x="1907" y="163"/>
                  </a:lnTo>
                  <a:lnTo>
                    <a:pt x="1910" y="161"/>
                  </a:lnTo>
                  <a:lnTo>
                    <a:pt x="1914" y="158"/>
                  </a:lnTo>
                  <a:lnTo>
                    <a:pt x="1916" y="154"/>
                  </a:lnTo>
                  <a:lnTo>
                    <a:pt x="1918" y="149"/>
                  </a:lnTo>
                  <a:lnTo>
                    <a:pt x="1919" y="144"/>
                  </a:lnTo>
                  <a:lnTo>
                    <a:pt x="1920" y="136"/>
                  </a:lnTo>
                  <a:lnTo>
                    <a:pt x="1920" y="111"/>
                  </a:lnTo>
                  <a:lnTo>
                    <a:pt x="1920" y="105"/>
                  </a:lnTo>
                  <a:lnTo>
                    <a:pt x="1919" y="99"/>
                  </a:lnTo>
                  <a:lnTo>
                    <a:pt x="1918" y="97"/>
                  </a:lnTo>
                  <a:lnTo>
                    <a:pt x="1917" y="95"/>
                  </a:lnTo>
                  <a:lnTo>
                    <a:pt x="1915" y="91"/>
                  </a:lnTo>
                  <a:lnTo>
                    <a:pt x="1913" y="89"/>
                  </a:lnTo>
                  <a:lnTo>
                    <a:pt x="1909" y="87"/>
                  </a:lnTo>
                  <a:lnTo>
                    <a:pt x="1905" y="86"/>
                  </a:lnTo>
                  <a:lnTo>
                    <a:pt x="1899" y="86"/>
                  </a:lnTo>
                  <a:lnTo>
                    <a:pt x="1880" y="86"/>
                  </a:lnTo>
                  <a:close/>
                  <a:moveTo>
                    <a:pt x="1925" y="305"/>
                  </a:moveTo>
                  <a:lnTo>
                    <a:pt x="1923" y="299"/>
                  </a:lnTo>
                  <a:lnTo>
                    <a:pt x="1922" y="294"/>
                  </a:lnTo>
                  <a:lnTo>
                    <a:pt x="1920" y="286"/>
                  </a:lnTo>
                  <a:lnTo>
                    <a:pt x="1920" y="273"/>
                  </a:lnTo>
                  <a:lnTo>
                    <a:pt x="1920" y="233"/>
                  </a:lnTo>
                  <a:lnTo>
                    <a:pt x="1920" y="224"/>
                  </a:lnTo>
                  <a:lnTo>
                    <a:pt x="1919" y="218"/>
                  </a:lnTo>
                  <a:lnTo>
                    <a:pt x="1917" y="212"/>
                  </a:lnTo>
                  <a:lnTo>
                    <a:pt x="1914" y="207"/>
                  </a:lnTo>
                  <a:lnTo>
                    <a:pt x="1911" y="204"/>
                  </a:lnTo>
                  <a:lnTo>
                    <a:pt x="1909" y="203"/>
                  </a:lnTo>
                  <a:lnTo>
                    <a:pt x="1906" y="202"/>
                  </a:lnTo>
                  <a:lnTo>
                    <a:pt x="1900" y="201"/>
                  </a:lnTo>
                  <a:lnTo>
                    <a:pt x="1894" y="200"/>
                  </a:lnTo>
                  <a:lnTo>
                    <a:pt x="1880" y="200"/>
                  </a:lnTo>
                  <a:lnTo>
                    <a:pt x="1880" y="305"/>
                  </a:lnTo>
                  <a:lnTo>
                    <a:pt x="1840" y="305"/>
                  </a:lnTo>
                  <a:lnTo>
                    <a:pt x="1840" y="49"/>
                  </a:lnTo>
                  <a:lnTo>
                    <a:pt x="1901" y="49"/>
                  </a:lnTo>
                  <a:lnTo>
                    <a:pt x="1909" y="49"/>
                  </a:lnTo>
                  <a:lnTo>
                    <a:pt x="1915" y="50"/>
                  </a:lnTo>
                  <a:lnTo>
                    <a:pt x="1922" y="51"/>
                  </a:lnTo>
                  <a:lnTo>
                    <a:pt x="1928" y="52"/>
                  </a:lnTo>
                  <a:lnTo>
                    <a:pt x="1933" y="54"/>
                  </a:lnTo>
                  <a:lnTo>
                    <a:pt x="1938" y="57"/>
                  </a:lnTo>
                  <a:lnTo>
                    <a:pt x="1943" y="60"/>
                  </a:lnTo>
                  <a:lnTo>
                    <a:pt x="1946" y="63"/>
                  </a:lnTo>
                  <a:lnTo>
                    <a:pt x="1950" y="67"/>
                  </a:lnTo>
                  <a:lnTo>
                    <a:pt x="1952" y="72"/>
                  </a:lnTo>
                  <a:lnTo>
                    <a:pt x="1955" y="76"/>
                  </a:lnTo>
                  <a:lnTo>
                    <a:pt x="1957" y="81"/>
                  </a:lnTo>
                  <a:lnTo>
                    <a:pt x="1959" y="88"/>
                  </a:lnTo>
                  <a:lnTo>
                    <a:pt x="1960" y="93"/>
                  </a:lnTo>
                  <a:lnTo>
                    <a:pt x="1961" y="100"/>
                  </a:lnTo>
                  <a:lnTo>
                    <a:pt x="1961" y="108"/>
                  </a:lnTo>
                  <a:lnTo>
                    <a:pt x="1961" y="128"/>
                  </a:lnTo>
                  <a:lnTo>
                    <a:pt x="1960" y="137"/>
                  </a:lnTo>
                  <a:lnTo>
                    <a:pt x="1959" y="146"/>
                  </a:lnTo>
                  <a:lnTo>
                    <a:pt x="1956" y="153"/>
                  </a:lnTo>
                  <a:lnTo>
                    <a:pt x="1954" y="160"/>
                  </a:lnTo>
                  <a:lnTo>
                    <a:pt x="1950" y="166"/>
                  </a:lnTo>
                  <a:lnTo>
                    <a:pt x="1946" y="171"/>
                  </a:lnTo>
                  <a:lnTo>
                    <a:pt x="1941" y="176"/>
                  </a:lnTo>
                  <a:lnTo>
                    <a:pt x="1934" y="180"/>
                  </a:lnTo>
                  <a:lnTo>
                    <a:pt x="1941" y="183"/>
                  </a:lnTo>
                  <a:lnTo>
                    <a:pt x="1944" y="185"/>
                  </a:lnTo>
                  <a:lnTo>
                    <a:pt x="1947" y="187"/>
                  </a:lnTo>
                  <a:lnTo>
                    <a:pt x="1949" y="190"/>
                  </a:lnTo>
                  <a:lnTo>
                    <a:pt x="1951" y="194"/>
                  </a:lnTo>
                  <a:lnTo>
                    <a:pt x="1955" y="200"/>
                  </a:lnTo>
                  <a:lnTo>
                    <a:pt x="1957" y="207"/>
                  </a:lnTo>
                  <a:lnTo>
                    <a:pt x="1960" y="216"/>
                  </a:lnTo>
                  <a:lnTo>
                    <a:pt x="1961" y="224"/>
                  </a:lnTo>
                  <a:lnTo>
                    <a:pt x="1961" y="234"/>
                  </a:lnTo>
                  <a:lnTo>
                    <a:pt x="1961" y="273"/>
                  </a:lnTo>
                  <a:lnTo>
                    <a:pt x="1961" y="282"/>
                  </a:lnTo>
                  <a:lnTo>
                    <a:pt x="1962" y="290"/>
                  </a:lnTo>
                  <a:lnTo>
                    <a:pt x="1963" y="297"/>
                  </a:lnTo>
                  <a:lnTo>
                    <a:pt x="1965" y="305"/>
                  </a:lnTo>
                  <a:lnTo>
                    <a:pt x="1925" y="305"/>
                  </a:lnTo>
                  <a:close/>
                  <a:moveTo>
                    <a:pt x="1721" y="223"/>
                  </a:moveTo>
                  <a:lnTo>
                    <a:pt x="1760" y="223"/>
                  </a:lnTo>
                  <a:lnTo>
                    <a:pt x="1740" y="94"/>
                  </a:lnTo>
                  <a:lnTo>
                    <a:pt x="1721" y="223"/>
                  </a:lnTo>
                  <a:close/>
                  <a:moveTo>
                    <a:pt x="1813" y="305"/>
                  </a:moveTo>
                  <a:lnTo>
                    <a:pt x="1772" y="305"/>
                  </a:lnTo>
                  <a:lnTo>
                    <a:pt x="1765" y="258"/>
                  </a:lnTo>
                  <a:lnTo>
                    <a:pt x="1715" y="258"/>
                  </a:lnTo>
                  <a:lnTo>
                    <a:pt x="1709" y="305"/>
                  </a:lnTo>
                  <a:lnTo>
                    <a:pt x="1672" y="305"/>
                  </a:lnTo>
                  <a:lnTo>
                    <a:pt x="1713" y="49"/>
                  </a:lnTo>
                  <a:lnTo>
                    <a:pt x="1771" y="49"/>
                  </a:lnTo>
                  <a:lnTo>
                    <a:pt x="1813" y="305"/>
                  </a:lnTo>
                  <a:close/>
                  <a:moveTo>
                    <a:pt x="1596" y="257"/>
                  </a:moveTo>
                  <a:lnTo>
                    <a:pt x="1626" y="49"/>
                  </a:lnTo>
                  <a:lnTo>
                    <a:pt x="1663" y="49"/>
                  </a:lnTo>
                  <a:lnTo>
                    <a:pt x="1624" y="305"/>
                  </a:lnTo>
                  <a:lnTo>
                    <a:pt x="1564" y="305"/>
                  </a:lnTo>
                  <a:lnTo>
                    <a:pt x="1525" y="49"/>
                  </a:lnTo>
                  <a:lnTo>
                    <a:pt x="1565" y="49"/>
                  </a:lnTo>
                  <a:lnTo>
                    <a:pt x="1596" y="257"/>
                  </a:lnTo>
                  <a:close/>
                  <a:moveTo>
                    <a:pt x="1426" y="223"/>
                  </a:moveTo>
                  <a:lnTo>
                    <a:pt x="1464" y="223"/>
                  </a:lnTo>
                  <a:lnTo>
                    <a:pt x="1445" y="94"/>
                  </a:lnTo>
                  <a:lnTo>
                    <a:pt x="1426" y="223"/>
                  </a:lnTo>
                  <a:close/>
                  <a:moveTo>
                    <a:pt x="1516" y="305"/>
                  </a:moveTo>
                  <a:lnTo>
                    <a:pt x="1476" y="305"/>
                  </a:lnTo>
                  <a:lnTo>
                    <a:pt x="1469" y="258"/>
                  </a:lnTo>
                  <a:lnTo>
                    <a:pt x="1420" y="258"/>
                  </a:lnTo>
                  <a:lnTo>
                    <a:pt x="1413" y="305"/>
                  </a:lnTo>
                  <a:lnTo>
                    <a:pt x="1376" y="305"/>
                  </a:lnTo>
                  <a:lnTo>
                    <a:pt x="1417" y="49"/>
                  </a:lnTo>
                  <a:lnTo>
                    <a:pt x="1476" y="49"/>
                  </a:lnTo>
                  <a:lnTo>
                    <a:pt x="1516" y="305"/>
                  </a:lnTo>
                  <a:close/>
                  <a:moveTo>
                    <a:pt x="1250" y="49"/>
                  </a:moveTo>
                  <a:lnTo>
                    <a:pt x="1374" y="49"/>
                  </a:lnTo>
                  <a:lnTo>
                    <a:pt x="1374" y="86"/>
                  </a:lnTo>
                  <a:lnTo>
                    <a:pt x="1332" y="86"/>
                  </a:lnTo>
                  <a:lnTo>
                    <a:pt x="1332" y="305"/>
                  </a:lnTo>
                  <a:lnTo>
                    <a:pt x="1292" y="305"/>
                  </a:lnTo>
                  <a:lnTo>
                    <a:pt x="1292" y="86"/>
                  </a:lnTo>
                  <a:lnTo>
                    <a:pt x="1250" y="86"/>
                  </a:lnTo>
                  <a:lnTo>
                    <a:pt x="1250" y="49"/>
                  </a:lnTo>
                  <a:close/>
                  <a:moveTo>
                    <a:pt x="1170" y="45"/>
                  </a:moveTo>
                  <a:lnTo>
                    <a:pt x="1177" y="45"/>
                  </a:lnTo>
                  <a:lnTo>
                    <a:pt x="1183" y="47"/>
                  </a:lnTo>
                  <a:lnTo>
                    <a:pt x="1190" y="48"/>
                  </a:lnTo>
                  <a:lnTo>
                    <a:pt x="1195" y="50"/>
                  </a:lnTo>
                  <a:lnTo>
                    <a:pt x="1201" y="53"/>
                  </a:lnTo>
                  <a:lnTo>
                    <a:pt x="1206" y="55"/>
                  </a:lnTo>
                  <a:lnTo>
                    <a:pt x="1210" y="58"/>
                  </a:lnTo>
                  <a:lnTo>
                    <a:pt x="1214" y="62"/>
                  </a:lnTo>
                  <a:lnTo>
                    <a:pt x="1217" y="67"/>
                  </a:lnTo>
                  <a:lnTo>
                    <a:pt x="1220" y="72"/>
                  </a:lnTo>
                  <a:lnTo>
                    <a:pt x="1224" y="77"/>
                  </a:lnTo>
                  <a:lnTo>
                    <a:pt x="1226" y="82"/>
                  </a:lnTo>
                  <a:lnTo>
                    <a:pt x="1227" y="89"/>
                  </a:lnTo>
                  <a:lnTo>
                    <a:pt x="1228" y="95"/>
                  </a:lnTo>
                  <a:lnTo>
                    <a:pt x="1229" y="103"/>
                  </a:lnTo>
                  <a:lnTo>
                    <a:pt x="1229" y="110"/>
                  </a:lnTo>
                  <a:lnTo>
                    <a:pt x="1229" y="118"/>
                  </a:lnTo>
                  <a:lnTo>
                    <a:pt x="1191" y="118"/>
                  </a:lnTo>
                  <a:lnTo>
                    <a:pt x="1191" y="108"/>
                  </a:lnTo>
                  <a:lnTo>
                    <a:pt x="1191" y="102"/>
                  </a:lnTo>
                  <a:lnTo>
                    <a:pt x="1190" y="96"/>
                  </a:lnTo>
                  <a:lnTo>
                    <a:pt x="1188" y="91"/>
                  </a:lnTo>
                  <a:lnTo>
                    <a:pt x="1187" y="90"/>
                  </a:lnTo>
                  <a:lnTo>
                    <a:pt x="1185" y="88"/>
                  </a:lnTo>
                  <a:lnTo>
                    <a:pt x="1183" y="86"/>
                  </a:lnTo>
                  <a:lnTo>
                    <a:pt x="1179" y="84"/>
                  </a:lnTo>
                  <a:lnTo>
                    <a:pt x="1175" y="82"/>
                  </a:lnTo>
                  <a:lnTo>
                    <a:pt x="1171" y="82"/>
                  </a:lnTo>
                  <a:lnTo>
                    <a:pt x="1166" y="82"/>
                  </a:lnTo>
                  <a:lnTo>
                    <a:pt x="1162" y="84"/>
                  </a:lnTo>
                  <a:lnTo>
                    <a:pt x="1159" y="86"/>
                  </a:lnTo>
                  <a:lnTo>
                    <a:pt x="1156" y="88"/>
                  </a:lnTo>
                  <a:lnTo>
                    <a:pt x="1154" y="91"/>
                  </a:lnTo>
                  <a:lnTo>
                    <a:pt x="1153" y="93"/>
                  </a:lnTo>
                  <a:lnTo>
                    <a:pt x="1152" y="96"/>
                  </a:lnTo>
                  <a:lnTo>
                    <a:pt x="1152" y="102"/>
                  </a:lnTo>
                  <a:lnTo>
                    <a:pt x="1151" y="108"/>
                  </a:lnTo>
                  <a:lnTo>
                    <a:pt x="1152" y="116"/>
                  </a:lnTo>
                  <a:lnTo>
                    <a:pt x="1153" y="122"/>
                  </a:lnTo>
                  <a:lnTo>
                    <a:pt x="1154" y="126"/>
                  </a:lnTo>
                  <a:lnTo>
                    <a:pt x="1158" y="133"/>
                  </a:lnTo>
                  <a:lnTo>
                    <a:pt x="1163" y="141"/>
                  </a:lnTo>
                  <a:lnTo>
                    <a:pt x="1169" y="147"/>
                  </a:lnTo>
                  <a:lnTo>
                    <a:pt x="1176" y="154"/>
                  </a:lnTo>
                  <a:lnTo>
                    <a:pt x="1190" y="167"/>
                  </a:lnTo>
                  <a:lnTo>
                    <a:pt x="1197" y="174"/>
                  </a:lnTo>
                  <a:lnTo>
                    <a:pt x="1205" y="182"/>
                  </a:lnTo>
                  <a:lnTo>
                    <a:pt x="1211" y="189"/>
                  </a:lnTo>
                  <a:lnTo>
                    <a:pt x="1214" y="194"/>
                  </a:lnTo>
                  <a:lnTo>
                    <a:pt x="1217" y="199"/>
                  </a:lnTo>
                  <a:lnTo>
                    <a:pt x="1222" y="208"/>
                  </a:lnTo>
                  <a:lnTo>
                    <a:pt x="1225" y="213"/>
                  </a:lnTo>
                  <a:lnTo>
                    <a:pt x="1226" y="218"/>
                  </a:lnTo>
                  <a:lnTo>
                    <a:pt x="1228" y="224"/>
                  </a:lnTo>
                  <a:lnTo>
                    <a:pt x="1229" y="229"/>
                  </a:lnTo>
                  <a:lnTo>
                    <a:pt x="1229" y="236"/>
                  </a:lnTo>
                  <a:lnTo>
                    <a:pt x="1229" y="243"/>
                  </a:lnTo>
                  <a:lnTo>
                    <a:pt x="1229" y="251"/>
                  </a:lnTo>
                  <a:lnTo>
                    <a:pt x="1229" y="257"/>
                  </a:lnTo>
                  <a:lnTo>
                    <a:pt x="1227" y="264"/>
                  </a:lnTo>
                  <a:lnTo>
                    <a:pt x="1226" y="271"/>
                  </a:lnTo>
                  <a:lnTo>
                    <a:pt x="1224" y="276"/>
                  </a:lnTo>
                  <a:lnTo>
                    <a:pt x="1220" y="281"/>
                  </a:lnTo>
                  <a:lnTo>
                    <a:pt x="1217" y="287"/>
                  </a:lnTo>
                  <a:lnTo>
                    <a:pt x="1214" y="291"/>
                  </a:lnTo>
                  <a:lnTo>
                    <a:pt x="1210" y="294"/>
                  </a:lnTo>
                  <a:lnTo>
                    <a:pt x="1206" y="298"/>
                  </a:lnTo>
                  <a:lnTo>
                    <a:pt x="1200" y="300"/>
                  </a:lnTo>
                  <a:lnTo>
                    <a:pt x="1195" y="302"/>
                  </a:lnTo>
                  <a:lnTo>
                    <a:pt x="1190" y="305"/>
                  </a:lnTo>
                  <a:lnTo>
                    <a:pt x="1183" y="307"/>
                  </a:lnTo>
                  <a:lnTo>
                    <a:pt x="1177" y="307"/>
                  </a:lnTo>
                  <a:lnTo>
                    <a:pt x="1170" y="308"/>
                  </a:lnTo>
                  <a:lnTo>
                    <a:pt x="1162" y="307"/>
                  </a:lnTo>
                  <a:lnTo>
                    <a:pt x="1156" y="307"/>
                  </a:lnTo>
                  <a:lnTo>
                    <a:pt x="1150" y="305"/>
                  </a:lnTo>
                  <a:lnTo>
                    <a:pt x="1143" y="302"/>
                  </a:lnTo>
                  <a:lnTo>
                    <a:pt x="1138" y="300"/>
                  </a:lnTo>
                  <a:lnTo>
                    <a:pt x="1133" y="298"/>
                  </a:lnTo>
                  <a:lnTo>
                    <a:pt x="1128" y="294"/>
                  </a:lnTo>
                  <a:lnTo>
                    <a:pt x="1124" y="291"/>
                  </a:lnTo>
                  <a:lnTo>
                    <a:pt x="1121" y="287"/>
                  </a:lnTo>
                  <a:lnTo>
                    <a:pt x="1118" y="281"/>
                  </a:lnTo>
                  <a:lnTo>
                    <a:pt x="1116" y="276"/>
                  </a:lnTo>
                  <a:lnTo>
                    <a:pt x="1114" y="271"/>
                  </a:lnTo>
                  <a:lnTo>
                    <a:pt x="1111" y="264"/>
                  </a:lnTo>
                  <a:lnTo>
                    <a:pt x="1110" y="257"/>
                  </a:lnTo>
                  <a:lnTo>
                    <a:pt x="1109" y="251"/>
                  </a:lnTo>
                  <a:lnTo>
                    <a:pt x="1109" y="243"/>
                  </a:lnTo>
                  <a:lnTo>
                    <a:pt x="1109" y="227"/>
                  </a:lnTo>
                  <a:lnTo>
                    <a:pt x="1147" y="227"/>
                  </a:lnTo>
                  <a:lnTo>
                    <a:pt x="1147" y="245"/>
                  </a:lnTo>
                  <a:lnTo>
                    <a:pt x="1147" y="252"/>
                  </a:lnTo>
                  <a:lnTo>
                    <a:pt x="1148" y="257"/>
                  </a:lnTo>
                  <a:lnTo>
                    <a:pt x="1151" y="261"/>
                  </a:lnTo>
                  <a:lnTo>
                    <a:pt x="1153" y="264"/>
                  </a:lnTo>
                  <a:lnTo>
                    <a:pt x="1156" y="268"/>
                  </a:lnTo>
                  <a:lnTo>
                    <a:pt x="1160" y="269"/>
                  </a:lnTo>
                  <a:lnTo>
                    <a:pt x="1163" y="270"/>
                  </a:lnTo>
                  <a:lnTo>
                    <a:pt x="1169" y="271"/>
                  </a:lnTo>
                  <a:lnTo>
                    <a:pt x="1173" y="270"/>
                  </a:lnTo>
                  <a:lnTo>
                    <a:pt x="1177" y="269"/>
                  </a:lnTo>
                  <a:lnTo>
                    <a:pt x="1180" y="268"/>
                  </a:lnTo>
                  <a:lnTo>
                    <a:pt x="1183" y="264"/>
                  </a:lnTo>
                  <a:lnTo>
                    <a:pt x="1185" y="261"/>
                  </a:lnTo>
                  <a:lnTo>
                    <a:pt x="1188" y="257"/>
                  </a:lnTo>
                  <a:lnTo>
                    <a:pt x="1189" y="252"/>
                  </a:lnTo>
                  <a:lnTo>
                    <a:pt x="1189" y="245"/>
                  </a:lnTo>
                  <a:lnTo>
                    <a:pt x="1189" y="236"/>
                  </a:lnTo>
                  <a:lnTo>
                    <a:pt x="1188" y="232"/>
                  </a:lnTo>
                  <a:lnTo>
                    <a:pt x="1185" y="227"/>
                  </a:lnTo>
                  <a:lnTo>
                    <a:pt x="1182" y="220"/>
                  </a:lnTo>
                  <a:lnTo>
                    <a:pt x="1177" y="213"/>
                  </a:lnTo>
                  <a:lnTo>
                    <a:pt x="1171" y="205"/>
                  </a:lnTo>
                  <a:lnTo>
                    <a:pt x="1164" y="199"/>
                  </a:lnTo>
                  <a:lnTo>
                    <a:pt x="1150" y="185"/>
                  </a:lnTo>
                  <a:lnTo>
                    <a:pt x="1142" y="179"/>
                  </a:lnTo>
                  <a:lnTo>
                    <a:pt x="1136" y="171"/>
                  </a:lnTo>
                  <a:lnTo>
                    <a:pt x="1128" y="163"/>
                  </a:lnTo>
                  <a:lnTo>
                    <a:pt x="1126" y="159"/>
                  </a:lnTo>
                  <a:lnTo>
                    <a:pt x="1123" y="154"/>
                  </a:lnTo>
                  <a:lnTo>
                    <a:pt x="1118" y="145"/>
                  </a:lnTo>
                  <a:lnTo>
                    <a:pt x="1116" y="140"/>
                  </a:lnTo>
                  <a:lnTo>
                    <a:pt x="1114" y="134"/>
                  </a:lnTo>
                  <a:lnTo>
                    <a:pt x="1113" y="129"/>
                  </a:lnTo>
                  <a:lnTo>
                    <a:pt x="1111" y="123"/>
                  </a:lnTo>
                  <a:lnTo>
                    <a:pt x="1110" y="116"/>
                  </a:lnTo>
                  <a:lnTo>
                    <a:pt x="1110" y="110"/>
                  </a:lnTo>
                  <a:lnTo>
                    <a:pt x="1110" y="103"/>
                  </a:lnTo>
                  <a:lnTo>
                    <a:pt x="1111" y="95"/>
                  </a:lnTo>
                  <a:lnTo>
                    <a:pt x="1113" y="89"/>
                  </a:lnTo>
                  <a:lnTo>
                    <a:pt x="1115" y="82"/>
                  </a:lnTo>
                  <a:lnTo>
                    <a:pt x="1117" y="77"/>
                  </a:lnTo>
                  <a:lnTo>
                    <a:pt x="1119" y="72"/>
                  </a:lnTo>
                  <a:lnTo>
                    <a:pt x="1122" y="67"/>
                  </a:lnTo>
                  <a:lnTo>
                    <a:pt x="1125" y="62"/>
                  </a:lnTo>
                  <a:lnTo>
                    <a:pt x="1129" y="58"/>
                  </a:lnTo>
                  <a:lnTo>
                    <a:pt x="1134" y="55"/>
                  </a:lnTo>
                  <a:lnTo>
                    <a:pt x="1139" y="53"/>
                  </a:lnTo>
                  <a:lnTo>
                    <a:pt x="1144" y="50"/>
                  </a:lnTo>
                  <a:lnTo>
                    <a:pt x="1150" y="48"/>
                  </a:lnTo>
                  <a:lnTo>
                    <a:pt x="1156" y="47"/>
                  </a:lnTo>
                  <a:lnTo>
                    <a:pt x="1162" y="45"/>
                  </a:lnTo>
                  <a:lnTo>
                    <a:pt x="1170" y="45"/>
                  </a:lnTo>
                  <a:close/>
                  <a:moveTo>
                    <a:pt x="1037" y="49"/>
                  </a:moveTo>
                  <a:lnTo>
                    <a:pt x="1078" y="49"/>
                  </a:lnTo>
                  <a:lnTo>
                    <a:pt x="1078" y="305"/>
                  </a:lnTo>
                  <a:lnTo>
                    <a:pt x="1037" y="305"/>
                  </a:lnTo>
                  <a:lnTo>
                    <a:pt x="1037" y="49"/>
                  </a:lnTo>
                  <a:close/>
                  <a:moveTo>
                    <a:pt x="985" y="0"/>
                  </a:moveTo>
                  <a:lnTo>
                    <a:pt x="985" y="35"/>
                  </a:lnTo>
                  <a:lnTo>
                    <a:pt x="949" y="35"/>
                  </a:lnTo>
                  <a:lnTo>
                    <a:pt x="949" y="0"/>
                  </a:lnTo>
                  <a:lnTo>
                    <a:pt x="985" y="0"/>
                  </a:lnTo>
                  <a:close/>
                  <a:moveTo>
                    <a:pt x="918" y="223"/>
                  </a:moveTo>
                  <a:lnTo>
                    <a:pt x="956" y="223"/>
                  </a:lnTo>
                  <a:lnTo>
                    <a:pt x="937" y="94"/>
                  </a:lnTo>
                  <a:lnTo>
                    <a:pt x="918" y="223"/>
                  </a:lnTo>
                  <a:close/>
                  <a:moveTo>
                    <a:pt x="929" y="0"/>
                  </a:moveTo>
                  <a:lnTo>
                    <a:pt x="929" y="35"/>
                  </a:lnTo>
                  <a:lnTo>
                    <a:pt x="894" y="35"/>
                  </a:lnTo>
                  <a:lnTo>
                    <a:pt x="894" y="0"/>
                  </a:lnTo>
                  <a:lnTo>
                    <a:pt x="929" y="0"/>
                  </a:lnTo>
                  <a:close/>
                  <a:moveTo>
                    <a:pt x="1009" y="305"/>
                  </a:moveTo>
                  <a:lnTo>
                    <a:pt x="969" y="305"/>
                  </a:lnTo>
                  <a:lnTo>
                    <a:pt x="962" y="258"/>
                  </a:lnTo>
                  <a:lnTo>
                    <a:pt x="913" y="258"/>
                  </a:lnTo>
                  <a:lnTo>
                    <a:pt x="905" y="305"/>
                  </a:lnTo>
                  <a:lnTo>
                    <a:pt x="868" y="305"/>
                  </a:lnTo>
                  <a:lnTo>
                    <a:pt x="909" y="49"/>
                  </a:lnTo>
                  <a:lnTo>
                    <a:pt x="969" y="49"/>
                  </a:lnTo>
                  <a:lnTo>
                    <a:pt x="1009" y="305"/>
                  </a:lnTo>
                  <a:close/>
                  <a:moveTo>
                    <a:pt x="742" y="49"/>
                  </a:moveTo>
                  <a:lnTo>
                    <a:pt x="866" y="49"/>
                  </a:lnTo>
                  <a:lnTo>
                    <a:pt x="866" y="86"/>
                  </a:lnTo>
                  <a:lnTo>
                    <a:pt x="825" y="86"/>
                  </a:lnTo>
                  <a:lnTo>
                    <a:pt x="825" y="305"/>
                  </a:lnTo>
                  <a:lnTo>
                    <a:pt x="785" y="305"/>
                  </a:lnTo>
                  <a:lnTo>
                    <a:pt x="785" y="86"/>
                  </a:lnTo>
                  <a:lnTo>
                    <a:pt x="742" y="86"/>
                  </a:lnTo>
                  <a:lnTo>
                    <a:pt x="742" y="49"/>
                  </a:lnTo>
                  <a:close/>
                  <a:moveTo>
                    <a:pt x="603" y="49"/>
                  </a:moveTo>
                  <a:lnTo>
                    <a:pt x="728" y="49"/>
                  </a:lnTo>
                  <a:lnTo>
                    <a:pt x="728" y="86"/>
                  </a:lnTo>
                  <a:lnTo>
                    <a:pt x="685" y="86"/>
                  </a:lnTo>
                  <a:lnTo>
                    <a:pt x="685" y="305"/>
                  </a:lnTo>
                  <a:lnTo>
                    <a:pt x="645" y="305"/>
                  </a:lnTo>
                  <a:lnTo>
                    <a:pt x="645" y="86"/>
                  </a:lnTo>
                  <a:lnTo>
                    <a:pt x="603" y="86"/>
                  </a:lnTo>
                  <a:lnTo>
                    <a:pt x="603" y="49"/>
                  </a:lnTo>
                  <a:close/>
                  <a:moveTo>
                    <a:pt x="536" y="49"/>
                  </a:moveTo>
                  <a:lnTo>
                    <a:pt x="576" y="49"/>
                  </a:lnTo>
                  <a:lnTo>
                    <a:pt x="576" y="305"/>
                  </a:lnTo>
                  <a:lnTo>
                    <a:pt x="536" y="305"/>
                  </a:lnTo>
                  <a:lnTo>
                    <a:pt x="536" y="49"/>
                  </a:lnTo>
                  <a:close/>
                  <a:moveTo>
                    <a:pt x="441" y="257"/>
                  </a:moveTo>
                  <a:lnTo>
                    <a:pt x="472" y="49"/>
                  </a:lnTo>
                  <a:lnTo>
                    <a:pt x="509" y="49"/>
                  </a:lnTo>
                  <a:lnTo>
                    <a:pt x="468" y="305"/>
                  </a:lnTo>
                  <a:lnTo>
                    <a:pt x="409" y="305"/>
                  </a:lnTo>
                  <a:lnTo>
                    <a:pt x="370" y="49"/>
                  </a:lnTo>
                  <a:lnTo>
                    <a:pt x="410" y="49"/>
                  </a:lnTo>
                  <a:lnTo>
                    <a:pt x="441" y="257"/>
                  </a:lnTo>
                  <a:close/>
                  <a:moveTo>
                    <a:pt x="301" y="49"/>
                  </a:moveTo>
                  <a:lnTo>
                    <a:pt x="342" y="49"/>
                  </a:lnTo>
                  <a:lnTo>
                    <a:pt x="342" y="305"/>
                  </a:lnTo>
                  <a:lnTo>
                    <a:pt x="301" y="305"/>
                  </a:lnTo>
                  <a:lnTo>
                    <a:pt x="301" y="49"/>
                  </a:lnTo>
                  <a:close/>
                  <a:moveTo>
                    <a:pt x="249" y="0"/>
                  </a:moveTo>
                  <a:lnTo>
                    <a:pt x="249" y="35"/>
                  </a:lnTo>
                  <a:lnTo>
                    <a:pt x="214" y="35"/>
                  </a:lnTo>
                  <a:lnTo>
                    <a:pt x="214" y="0"/>
                  </a:lnTo>
                  <a:lnTo>
                    <a:pt x="249" y="0"/>
                  </a:lnTo>
                  <a:close/>
                  <a:moveTo>
                    <a:pt x="182" y="223"/>
                  </a:moveTo>
                  <a:lnTo>
                    <a:pt x="221" y="223"/>
                  </a:lnTo>
                  <a:lnTo>
                    <a:pt x="202" y="94"/>
                  </a:lnTo>
                  <a:lnTo>
                    <a:pt x="182" y="223"/>
                  </a:lnTo>
                  <a:close/>
                  <a:moveTo>
                    <a:pt x="194" y="0"/>
                  </a:moveTo>
                  <a:lnTo>
                    <a:pt x="194" y="35"/>
                  </a:lnTo>
                  <a:lnTo>
                    <a:pt x="158" y="35"/>
                  </a:lnTo>
                  <a:lnTo>
                    <a:pt x="158" y="0"/>
                  </a:lnTo>
                  <a:lnTo>
                    <a:pt x="194" y="0"/>
                  </a:lnTo>
                  <a:close/>
                  <a:moveTo>
                    <a:pt x="274" y="305"/>
                  </a:moveTo>
                  <a:lnTo>
                    <a:pt x="234" y="305"/>
                  </a:lnTo>
                  <a:lnTo>
                    <a:pt x="226" y="258"/>
                  </a:lnTo>
                  <a:lnTo>
                    <a:pt x="177" y="258"/>
                  </a:lnTo>
                  <a:lnTo>
                    <a:pt x="170" y="305"/>
                  </a:lnTo>
                  <a:lnTo>
                    <a:pt x="133" y="305"/>
                  </a:lnTo>
                  <a:lnTo>
                    <a:pt x="174" y="49"/>
                  </a:lnTo>
                  <a:lnTo>
                    <a:pt x="233" y="49"/>
                  </a:lnTo>
                  <a:lnTo>
                    <a:pt x="274" y="305"/>
                  </a:lnTo>
                  <a:close/>
                  <a:moveTo>
                    <a:pt x="40" y="86"/>
                  </a:moveTo>
                  <a:lnTo>
                    <a:pt x="40" y="171"/>
                  </a:lnTo>
                  <a:lnTo>
                    <a:pt x="59" y="171"/>
                  </a:lnTo>
                  <a:lnTo>
                    <a:pt x="63" y="171"/>
                  </a:lnTo>
                  <a:lnTo>
                    <a:pt x="68" y="170"/>
                  </a:lnTo>
                  <a:lnTo>
                    <a:pt x="71" y="169"/>
                  </a:lnTo>
                  <a:lnTo>
                    <a:pt x="74" y="166"/>
                  </a:lnTo>
                  <a:lnTo>
                    <a:pt x="76" y="163"/>
                  </a:lnTo>
                  <a:lnTo>
                    <a:pt x="77" y="159"/>
                  </a:lnTo>
                  <a:lnTo>
                    <a:pt x="78" y="154"/>
                  </a:lnTo>
                  <a:lnTo>
                    <a:pt x="78" y="148"/>
                  </a:lnTo>
                  <a:lnTo>
                    <a:pt x="78" y="109"/>
                  </a:lnTo>
                  <a:lnTo>
                    <a:pt x="78" y="103"/>
                  </a:lnTo>
                  <a:lnTo>
                    <a:pt x="77" y="97"/>
                  </a:lnTo>
                  <a:lnTo>
                    <a:pt x="76" y="94"/>
                  </a:lnTo>
                  <a:lnTo>
                    <a:pt x="74" y="90"/>
                  </a:lnTo>
                  <a:lnTo>
                    <a:pt x="72" y="89"/>
                  </a:lnTo>
                  <a:lnTo>
                    <a:pt x="71" y="88"/>
                  </a:lnTo>
                  <a:lnTo>
                    <a:pt x="69" y="87"/>
                  </a:lnTo>
                  <a:lnTo>
                    <a:pt x="68" y="87"/>
                  </a:lnTo>
                  <a:lnTo>
                    <a:pt x="63" y="86"/>
                  </a:lnTo>
                  <a:lnTo>
                    <a:pt x="59" y="86"/>
                  </a:lnTo>
                  <a:lnTo>
                    <a:pt x="40" y="86"/>
                  </a:lnTo>
                  <a:close/>
                  <a:moveTo>
                    <a:pt x="118" y="112"/>
                  </a:moveTo>
                  <a:lnTo>
                    <a:pt x="118" y="145"/>
                  </a:lnTo>
                  <a:lnTo>
                    <a:pt x="118" y="152"/>
                  </a:lnTo>
                  <a:lnTo>
                    <a:pt x="118" y="160"/>
                  </a:lnTo>
                  <a:lnTo>
                    <a:pt x="116" y="166"/>
                  </a:lnTo>
                  <a:lnTo>
                    <a:pt x="115" y="172"/>
                  </a:lnTo>
                  <a:lnTo>
                    <a:pt x="113" y="178"/>
                  </a:lnTo>
                  <a:lnTo>
                    <a:pt x="111" y="183"/>
                  </a:lnTo>
                  <a:lnTo>
                    <a:pt x="108" y="188"/>
                  </a:lnTo>
                  <a:lnTo>
                    <a:pt x="104" y="192"/>
                  </a:lnTo>
                  <a:lnTo>
                    <a:pt x="100" y="196"/>
                  </a:lnTo>
                  <a:lnTo>
                    <a:pt x="95" y="199"/>
                  </a:lnTo>
                  <a:lnTo>
                    <a:pt x="91" y="202"/>
                  </a:lnTo>
                  <a:lnTo>
                    <a:pt x="86" y="204"/>
                  </a:lnTo>
                  <a:lnTo>
                    <a:pt x="79" y="206"/>
                  </a:lnTo>
                  <a:lnTo>
                    <a:pt x="73" y="207"/>
                  </a:lnTo>
                  <a:lnTo>
                    <a:pt x="67" y="208"/>
                  </a:lnTo>
                  <a:lnTo>
                    <a:pt x="59" y="208"/>
                  </a:lnTo>
                  <a:lnTo>
                    <a:pt x="40" y="208"/>
                  </a:lnTo>
                  <a:lnTo>
                    <a:pt x="40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59" y="49"/>
                  </a:lnTo>
                  <a:lnTo>
                    <a:pt x="67" y="49"/>
                  </a:lnTo>
                  <a:lnTo>
                    <a:pt x="73" y="50"/>
                  </a:lnTo>
                  <a:lnTo>
                    <a:pt x="79" y="51"/>
                  </a:lnTo>
                  <a:lnTo>
                    <a:pt x="86" y="53"/>
                  </a:lnTo>
                  <a:lnTo>
                    <a:pt x="88" y="54"/>
                  </a:lnTo>
                  <a:lnTo>
                    <a:pt x="91" y="55"/>
                  </a:lnTo>
                  <a:lnTo>
                    <a:pt x="95" y="58"/>
                  </a:lnTo>
                  <a:lnTo>
                    <a:pt x="100" y="61"/>
                  </a:lnTo>
                  <a:lnTo>
                    <a:pt x="104" y="64"/>
                  </a:lnTo>
                  <a:lnTo>
                    <a:pt x="108" y="69"/>
                  </a:lnTo>
                  <a:lnTo>
                    <a:pt x="111" y="74"/>
                  </a:lnTo>
                  <a:lnTo>
                    <a:pt x="113" y="79"/>
                  </a:lnTo>
                  <a:lnTo>
                    <a:pt x="115" y="85"/>
                  </a:lnTo>
                  <a:lnTo>
                    <a:pt x="116" y="91"/>
                  </a:lnTo>
                  <a:lnTo>
                    <a:pt x="118" y="97"/>
                  </a:lnTo>
                  <a:lnTo>
                    <a:pt x="118" y="105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570212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  <p:sldLayoutId id="2147483937" r:id="rId12"/>
    <p:sldLayoutId id="2147483938" r:id="rId13"/>
    <p:sldLayoutId id="2147483939" r:id="rId14"/>
    <p:sldLayoutId id="2147483940" r:id="rId15"/>
    <p:sldLayoutId id="2147483941" r:id="rId16"/>
    <p:sldLayoutId id="2147483942" r:id="rId17"/>
    <p:sldLayoutId id="2147483943" r:id="rId18"/>
    <p:sldLayoutId id="2147483944" r:id="rId19"/>
    <p:sldLayoutId id="2147483962" r:id="rId20"/>
    <p:sldLayoutId id="2147483945" r:id="rId21"/>
    <p:sldLayoutId id="2147483946" r:id="rId22"/>
    <p:sldLayoutId id="2147483947" r:id="rId23"/>
    <p:sldLayoutId id="2147483948" r:id="rId24"/>
    <p:sldLayoutId id="2147483949" r:id="rId25"/>
    <p:sldLayoutId id="2147483950" r:id="rId26"/>
    <p:sldLayoutId id="2147483951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31EFFA2A-582D-4210-8952-143A796B8742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7" name="Freeform 7"/>
          <p:cNvSpPr>
            <a:spLocks noEditPoints="1"/>
          </p:cNvSpPr>
          <p:nvPr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186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  <p:sldLayoutId id="2147483980" r:id="rId10"/>
    <p:sldLayoutId id="2147483981" r:id="rId11"/>
    <p:sldLayoutId id="2147483982" r:id="rId12"/>
    <p:sldLayoutId id="2147483983" r:id="rId13"/>
    <p:sldLayoutId id="2147483984" r:id="rId14"/>
    <p:sldLayoutId id="2147483985" r:id="rId15"/>
    <p:sldLayoutId id="2147483986" r:id="rId16"/>
    <p:sldLayoutId id="2147483987" r:id="rId17"/>
    <p:sldLayoutId id="2147483988" r:id="rId18"/>
    <p:sldLayoutId id="2147483989" r:id="rId19"/>
    <p:sldLayoutId id="2147483990" r:id="rId20"/>
    <p:sldLayoutId id="2147483991" r:id="rId21"/>
    <p:sldLayoutId id="2147483992" r:id="rId22"/>
    <p:sldLayoutId id="2147483993" r:id="rId23"/>
    <p:sldLayoutId id="2147483994" r:id="rId24"/>
    <p:sldLayoutId id="2147483995" r:id="rId25"/>
    <p:sldLayoutId id="2147483996" r:id="rId26"/>
    <p:sldLayoutId id="2147483997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3F14DF81-CF67-4DEB-A54B-1CF5E4AE3492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7" name="Freeform 7"/>
          <p:cNvSpPr>
            <a:spLocks noEditPoints="1"/>
          </p:cNvSpPr>
          <p:nvPr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1" name="Round Same Side Corner Rectangle 10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2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BBD46"/>
              </a:buClr>
            </a:pPr>
            <a:r>
              <a:rPr lang="fi-FI" sz="2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HENKILÖSTÖTYÖ</a:t>
            </a:r>
            <a:endParaRPr lang="fi-FI" sz="2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1276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  <p:sldLayoutId id="2147484003" r:id="rId5"/>
    <p:sldLayoutId id="2147484004" r:id="rId6"/>
    <p:sldLayoutId id="2147484005" r:id="rId7"/>
    <p:sldLayoutId id="2147484006" r:id="rId8"/>
    <p:sldLayoutId id="2147484007" r:id="rId9"/>
    <p:sldLayoutId id="2147484008" r:id="rId10"/>
    <p:sldLayoutId id="2147484009" r:id="rId11"/>
    <p:sldLayoutId id="2147484010" r:id="rId12"/>
    <p:sldLayoutId id="2147484011" r:id="rId13"/>
    <p:sldLayoutId id="2147484012" r:id="rId14"/>
    <p:sldLayoutId id="2147484013" r:id="rId15"/>
    <p:sldLayoutId id="2147484014" r:id="rId16"/>
    <p:sldLayoutId id="2147484015" r:id="rId17"/>
    <p:sldLayoutId id="2147484016" r:id="rId18"/>
    <p:sldLayoutId id="2147484017" r:id="rId19"/>
    <p:sldLayoutId id="2147484018" r:id="rId20"/>
    <p:sldLayoutId id="2147484019" r:id="rId21"/>
    <p:sldLayoutId id="2147484020" r:id="rId22"/>
    <p:sldLayoutId id="2147484021" r:id="rId23"/>
    <p:sldLayoutId id="2147484022" r:id="rId24"/>
    <p:sldLayoutId id="2147484023" r:id="rId25"/>
    <p:sldLayoutId id="2147484024" r:id="rId26"/>
    <p:sldLayoutId id="2147484025" r:id="rId27"/>
    <p:sldLayoutId id="2147484026" r:id="rId28"/>
    <p:sldLayoutId id="2147484027" r:id="rId29"/>
    <p:sldLayoutId id="2147484028" r:id="rId30"/>
    <p:sldLayoutId id="2147484029" r:id="rId31"/>
    <p:sldLayoutId id="2147484030" r:id="rId32"/>
    <p:sldLayoutId id="2147484031" r:id="rId33"/>
    <p:sldLayoutId id="2147484032" r:id="rId3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21DA2A76-901E-40DB-A38A-07A89E305456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7" name="Freeform 7"/>
          <p:cNvSpPr>
            <a:spLocks noEditPoints="1"/>
          </p:cNvSpPr>
          <p:nvPr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11" name="Round Same Side Corner Rectangle 10"/>
          <p:cNvSpPr/>
          <p:nvPr userDrawn="1"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2" name="Sisällön paikkamerkki 7"/>
          <p:cNvSpPr txBox="1">
            <a:spLocks/>
          </p:cNvSpPr>
          <p:nvPr userDrawn="1"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6BBD46"/>
              </a:buClr>
            </a:pPr>
            <a:r>
              <a:rPr lang="fi-FI" sz="2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HENKILÖSTÖTYÖ</a:t>
            </a:r>
            <a:endParaRPr lang="fi-FI" sz="22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0591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4" r:id="rId1"/>
    <p:sldLayoutId id="2147484035" r:id="rId2"/>
    <p:sldLayoutId id="2147484036" r:id="rId3"/>
    <p:sldLayoutId id="2147484037" r:id="rId4"/>
    <p:sldLayoutId id="2147484038" r:id="rId5"/>
    <p:sldLayoutId id="2147484039" r:id="rId6"/>
    <p:sldLayoutId id="2147484040" r:id="rId7"/>
    <p:sldLayoutId id="2147484041" r:id="rId8"/>
    <p:sldLayoutId id="2147484042" r:id="rId9"/>
    <p:sldLayoutId id="2147484043" r:id="rId10"/>
    <p:sldLayoutId id="2147484044" r:id="rId11"/>
    <p:sldLayoutId id="2147484045" r:id="rId12"/>
    <p:sldLayoutId id="2147484046" r:id="rId13"/>
    <p:sldLayoutId id="2147484047" r:id="rId14"/>
    <p:sldLayoutId id="2147484048" r:id="rId15"/>
    <p:sldLayoutId id="2147484049" r:id="rId16"/>
    <p:sldLayoutId id="2147484050" r:id="rId17"/>
    <p:sldLayoutId id="2147484051" r:id="rId18"/>
    <p:sldLayoutId id="2147484052" r:id="rId19"/>
    <p:sldLayoutId id="2147484053" r:id="rId20"/>
    <p:sldLayoutId id="2147484054" r:id="rId21"/>
    <p:sldLayoutId id="2147484055" r:id="rId22"/>
    <p:sldLayoutId id="2147484056" r:id="rId23"/>
    <p:sldLayoutId id="2147484057" r:id="rId24"/>
    <p:sldLayoutId id="2147484058" r:id="rId25"/>
    <p:sldLayoutId id="2147484059" r:id="rId26"/>
    <p:sldLayoutId id="2147484060" r:id="rId27"/>
    <p:sldLayoutId id="2147484061" r:id="rId28"/>
    <p:sldLayoutId id="2147484062" r:id="rId29"/>
    <p:sldLayoutId id="2147484063" r:id="rId30"/>
    <p:sldLayoutId id="2147484064" r:id="rId31"/>
    <p:sldLayoutId id="2147484065" r:id="rId32"/>
    <p:sldLayoutId id="2147484066" r:id="rId33"/>
    <p:sldLayoutId id="2147484067" r:id="rId34"/>
    <p:sldLayoutId id="2147484068" r:id="rId3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4" r="-360" b="16199"/>
          <a:stretch/>
        </p:blipFill>
        <p:spPr>
          <a:xfrm>
            <a:off x="0" y="674171"/>
            <a:ext cx="6344124" cy="6183829"/>
          </a:xfrm>
          <a:prstGeom prst="rect">
            <a:avLst/>
          </a:prstGeom>
        </p:spPr>
      </p:pic>
      <p:sp>
        <p:nvSpPr>
          <p:cNvPr id="12" name="Freeform 7"/>
          <p:cNvSpPr>
            <a:spLocks noEditPoints="1"/>
          </p:cNvSpPr>
          <p:nvPr/>
        </p:nvSpPr>
        <p:spPr bwMode="auto">
          <a:xfrm>
            <a:off x="235744" y="6108362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4127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 dirty="0" smtClean="0"/>
              <a:t>Nuori Mieli työssä ohjausryhmä</a:t>
            </a:r>
            <a:endParaRPr lang="fi-FI" dirty="0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8200" y="1825624"/>
            <a:ext cx="10515600" cy="45243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 smtClean="0"/>
              <a:t>Muokkaa tekstin perustyylejä napsauttamalla</a:t>
            </a:r>
          </a:p>
          <a:p>
            <a:pPr lvl="1"/>
            <a:r>
              <a:rPr lang="fi-FI" dirty="0" smtClean="0"/>
              <a:t>toinen taso</a:t>
            </a:r>
          </a:p>
          <a:p>
            <a:pPr lvl="2"/>
            <a:r>
              <a:rPr lang="fi-FI" dirty="0" smtClean="0"/>
              <a:t>kolmas taso</a:t>
            </a:r>
          </a:p>
          <a:p>
            <a:pPr lvl="3"/>
            <a:r>
              <a:rPr lang="fi-FI" dirty="0" smtClean="0"/>
              <a:t>neljäs taso</a:t>
            </a:r>
          </a:p>
          <a:p>
            <a:pPr lvl="4"/>
            <a:r>
              <a:rPr lang="fi-FI" dirty="0" smtClean="0"/>
              <a:t>viides taso</a:t>
            </a:r>
            <a:endParaRPr lang="fi-FI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302039" y="6590849"/>
            <a:ext cx="1375048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F16F5BAB-7685-4FFE-9938-FDEA972F02F8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6491" y="6590849"/>
            <a:ext cx="5185171" cy="188328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590849"/>
            <a:ext cx="360239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11" name="Kuva 10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595" y="129639"/>
            <a:ext cx="1521524" cy="1458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212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2" r:id="rId2"/>
    <p:sldLayoutId id="2147484073" r:id="rId3"/>
    <p:sldLayoutId id="2147484074" r:id="rId4"/>
    <p:sldLayoutId id="2147484075" r:id="rId5"/>
    <p:sldLayoutId id="2147484076" r:id="rId6"/>
    <p:sldLayoutId id="2147484077" r:id="rId7"/>
    <p:sldLayoutId id="2147484078" r:id="rId8"/>
    <p:sldLayoutId id="2147484079" r:id="rId9"/>
    <p:sldLayoutId id="2147484080" r:id="rId10"/>
    <p:sldLayoutId id="2147484081" r:id="rId11"/>
    <p:sldLayoutId id="2147484082" r:id="rId12"/>
    <p:sldLayoutId id="2147484083" r:id="rId13"/>
    <p:sldLayoutId id="2147484085" r:id="rId14"/>
    <p:sldLayoutId id="2147484157" r:id="rId1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 spc="-150">
          <a:solidFill>
            <a:srgbClr val="00B050"/>
          </a:solidFill>
          <a:latin typeface="Trebuchet MS" charset="0"/>
          <a:ea typeface="Trebuchet MS" charset="0"/>
          <a:cs typeface="Trebuchet MS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000" b="0" i="0" kern="1200">
          <a:solidFill>
            <a:schemeClr val="tx1"/>
          </a:solidFill>
          <a:latin typeface="Trebuchet MS" charset="0"/>
          <a:ea typeface="Trebuchet MS" charset="0"/>
          <a:cs typeface="Trebuchet MS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Trebuchet MS" charset="0"/>
          <a:ea typeface="Trebuchet MS" charset="0"/>
          <a:cs typeface="Trebuchet MS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tx1"/>
          </a:solidFill>
          <a:latin typeface="Trebuchet MS" charset="0"/>
          <a:ea typeface="Trebuchet MS" charset="0"/>
          <a:cs typeface="Trebuchet MS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Trebuchet MS" charset="0"/>
          <a:ea typeface="Trebuchet MS" charset="0"/>
          <a:cs typeface="Trebuchet MS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200" b="0" i="0" kern="1200">
          <a:solidFill>
            <a:schemeClr val="tx1"/>
          </a:solidFill>
          <a:latin typeface="Trebuchet MS" charset="0"/>
          <a:ea typeface="Trebuchet MS" charset="0"/>
          <a:cs typeface="Trebuchet MS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2D2F0F4C-BD5B-4367-977F-DCBCFCFC5708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7" name="Freeform 7"/>
          <p:cNvSpPr>
            <a:spLocks noEditPoints="1"/>
          </p:cNvSpPr>
          <p:nvPr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7127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7" r:id="rId1"/>
    <p:sldLayoutId id="2147484088" r:id="rId2"/>
    <p:sldLayoutId id="2147484089" r:id="rId3"/>
    <p:sldLayoutId id="2147484090" r:id="rId4"/>
    <p:sldLayoutId id="2147484091" r:id="rId5"/>
    <p:sldLayoutId id="2147484092" r:id="rId6"/>
    <p:sldLayoutId id="2147484093" r:id="rId7"/>
    <p:sldLayoutId id="2147484094" r:id="rId8"/>
    <p:sldLayoutId id="2147484095" r:id="rId9"/>
    <p:sldLayoutId id="2147484096" r:id="rId10"/>
    <p:sldLayoutId id="2147484097" r:id="rId11"/>
    <p:sldLayoutId id="2147484098" r:id="rId12"/>
    <p:sldLayoutId id="2147484099" r:id="rId13"/>
    <p:sldLayoutId id="2147484100" r:id="rId14"/>
    <p:sldLayoutId id="2147484101" r:id="rId15"/>
    <p:sldLayoutId id="2147484102" r:id="rId16"/>
    <p:sldLayoutId id="2147484103" r:id="rId17"/>
    <p:sldLayoutId id="2147484104" r:id="rId18"/>
    <p:sldLayoutId id="2147484105" r:id="rId19"/>
    <p:sldLayoutId id="2147484106" r:id="rId20"/>
    <p:sldLayoutId id="2147484107" r:id="rId21"/>
    <p:sldLayoutId id="2147484108" r:id="rId22"/>
    <p:sldLayoutId id="2147484109" r:id="rId23"/>
    <p:sldLayoutId id="2147484110" r:id="rId24"/>
    <p:sldLayoutId id="2147484111" r:id="rId25"/>
    <p:sldLayoutId id="2147484112" r:id="rId26"/>
    <p:sldLayoutId id="2147484113" r:id="rId2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i-FI" smtClean="0"/>
              <a:t>Muokkaa perustyylejä naps.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2D2F0F4C-BD5B-4367-977F-DCBCFCFC5708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Presentation name / Author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7" name="Freeform 7"/>
          <p:cNvSpPr>
            <a:spLocks noEditPoints="1"/>
          </p:cNvSpPr>
          <p:nvPr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3416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5" r:id="rId1"/>
    <p:sldLayoutId id="2147484116" r:id="rId2"/>
    <p:sldLayoutId id="2147484117" r:id="rId3"/>
    <p:sldLayoutId id="2147484118" r:id="rId4"/>
    <p:sldLayoutId id="2147484119" r:id="rId5"/>
    <p:sldLayoutId id="2147484120" r:id="rId6"/>
    <p:sldLayoutId id="2147484121" r:id="rId7"/>
    <p:sldLayoutId id="2147484122" r:id="rId8"/>
    <p:sldLayoutId id="2147484123" r:id="rId9"/>
    <p:sldLayoutId id="2147484124" r:id="rId10"/>
    <p:sldLayoutId id="2147484125" r:id="rId11"/>
    <p:sldLayoutId id="2147484126" r:id="rId12"/>
    <p:sldLayoutId id="2147484127" r:id="rId13"/>
    <p:sldLayoutId id="2147484128" r:id="rId14"/>
    <p:sldLayoutId id="2147484129" r:id="rId15"/>
    <p:sldLayoutId id="2147484130" r:id="rId16"/>
    <p:sldLayoutId id="2147484131" r:id="rId17"/>
    <p:sldLayoutId id="2147484132" r:id="rId18"/>
    <p:sldLayoutId id="2147484133" r:id="rId19"/>
    <p:sldLayoutId id="2147484134" r:id="rId20"/>
    <p:sldLayoutId id="2147484135" r:id="rId21"/>
    <p:sldLayoutId id="2147484136" r:id="rId22"/>
    <p:sldLayoutId id="2147484137" r:id="rId23"/>
    <p:sldLayoutId id="2147484138" r:id="rId24"/>
    <p:sldLayoutId id="2147484139" r:id="rId25"/>
    <p:sldLayoutId id="2147484140" r:id="rId26"/>
    <p:sldLayoutId id="2147484141" r:id="rId2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4" r="-360" b="16199"/>
          <a:stretch/>
        </p:blipFill>
        <p:spPr>
          <a:xfrm>
            <a:off x="0" y="674171"/>
            <a:ext cx="6344124" cy="6183829"/>
          </a:xfrm>
          <a:prstGeom prst="rect">
            <a:avLst/>
          </a:prstGeom>
        </p:spPr>
      </p:pic>
      <p:sp>
        <p:nvSpPr>
          <p:cNvPr id="12" name="Freeform 7"/>
          <p:cNvSpPr>
            <a:spLocks noEditPoints="1"/>
          </p:cNvSpPr>
          <p:nvPr/>
        </p:nvSpPr>
        <p:spPr bwMode="auto">
          <a:xfrm>
            <a:off x="235744" y="6108362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41270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 dirty="0" smtClean="0"/>
              <a:t>Nuori Mieli työssä ohjausryhmä</a:t>
            </a:r>
            <a:endParaRPr lang="fi-FI" dirty="0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8200" y="1825624"/>
            <a:ext cx="10515600" cy="45243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 smtClean="0"/>
              <a:t>Muokkaa tekstin perustyylejä napsauttamalla</a:t>
            </a:r>
          </a:p>
          <a:p>
            <a:pPr lvl="1"/>
            <a:r>
              <a:rPr lang="fi-FI" dirty="0" smtClean="0"/>
              <a:t>toinen taso</a:t>
            </a:r>
          </a:p>
          <a:p>
            <a:pPr lvl="2"/>
            <a:r>
              <a:rPr lang="fi-FI" dirty="0" smtClean="0"/>
              <a:t>kolmas taso</a:t>
            </a:r>
          </a:p>
          <a:p>
            <a:pPr lvl="3"/>
            <a:r>
              <a:rPr lang="fi-FI" dirty="0" smtClean="0"/>
              <a:t>neljäs taso</a:t>
            </a:r>
          </a:p>
          <a:p>
            <a:pPr lvl="4"/>
            <a:r>
              <a:rPr lang="fi-FI" dirty="0" smtClean="0"/>
              <a:t>viides taso</a:t>
            </a:r>
            <a:endParaRPr lang="fi-FI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302039" y="6590849"/>
            <a:ext cx="1375048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F16F5BAB-7685-4FFE-9938-FDEA972F02F8}" type="datetime1">
              <a:rPr lang="fi-FI" smtClean="0">
                <a:solidFill>
                  <a:prstClr val="black"/>
                </a:solidFill>
              </a:rPr>
              <a:pPr/>
              <a:t>28.2.2018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6491" y="6590849"/>
            <a:ext cx="5185171" cy="188328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r>
              <a:rPr lang="fi-FI" smtClean="0">
                <a:solidFill>
                  <a:prstClr val="black"/>
                </a:solidFill>
              </a:rPr>
              <a:t>Sanna-Mari Myllynen / Nuori Mieli Työssä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590849"/>
            <a:ext cx="360239" cy="187553"/>
          </a:xfrm>
          <a:prstGeom prst="rect">
            <a:avLst/>
          </a:prstGeom>
        </p:spPr>
        <p:txBody>
          <a:bodyPr/>
          <a:lstStyle>
            <a:lvl1pPr>
              <a:defRPr sz="800" b="0" i="1">
                <a:latin typeface="Helvetica Light Oblique" charset="0"/>
                <a:ea typeface="Helvetica Light Oblique" charset="0"/>
                <a:cs typeface="Helvetica Light Oblique" charset="0"/>
              </a:defRPr>
            </a:lvl1pPr>
          </a:lstStyle>
          <a:p>
            <a:fld id="{D5B008F9-AA2E-4FBA-9C76-30BCD8AD3008}" type="slidenum">
              <a:rPr lang="fi-FI" smtClean="0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pic>
        <p:nvPicPr>
          <p:cNvPr id="11" name="Kuva 10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595" y="129639"/>
            <a:ext cx="1521524" cy="1458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734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3" r:id="rId1"/>
    <p:sldLayoutId id="2147484144" r:id="rId2"/>
    <p:sldLayoutId id="2147484145" r:id="rId3"/>
    <p:sldLayoutId id="2147484146" r:id="rId4"/>
    <p:sldLayoutId id="2147484147" r:id="rId5"/>
    <p:sldLayoutId id="2147484148" r:id="rId6"/>
    <p:sldLayoutId id="2147484149" r:id="rId7"/>
    <p:sldLayoutId id="2147484150" r:id="rId8"/>
    <p:sldLayoutId id="2147484151" r:id="rId9"/>
    <p:sldLayoutId id="2147484152" r:id="rId10"/>
    <p:sldLayoutId id="2147484153" r:id="rId11"/>
    <p:sldLayoutId id="2147484154" r:id="rId12"/>
    <p:sldLayoutId id="2147484155" r:id="rId13"/>
    <p:sldLayoutId id="2147484156" r:id="rId1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 spc="-150">
          <a:solidFill>
            <a:srgbClr val="00B050"/>
          </a:solidFill>
          <a:latin typeface="Trebuchet MS" charset="0"/>
          <a:ea typeface="Trebuchet MS" charset="0"/>
          <a:cs typeface="Trebuchet MS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000" b="0" i="0" kern="1200">
          <a:solidFill>
            <a:schemeClr val="tx1"/>
          </a:solidFill>
          <a:latin typeface="Trebuchet MS" charset="0"/>
          <a:ea typeface="Trebuchet MS" charset="0"/>
          <a:cs typeface="Trebuchet MS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Trebuchet MS" charset="0"/>
          <a:ea typeface="Trebuchet MS" charset="0"/>
          <a:cs typeface="Trebuchet MS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b="0" i="0" kern="1200">
          <a:solidFill>
            <a:schemeClr val="tx1"/>
          </a:solidFill>
          <a:latin typeface="Trebuchet MS" charset="0"/>
          <a:ea typeface="Trebuchet MS" charset="0"/>
          <a:cs typeface="Trebuchet MS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Trebuchet MS" charset="0"/>
          <a:ea typeface="Trebuchet MS" charset="0"/>
          <a:cs typeface="Trebuchet MS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200" b="0" i="0" kern="1200">
          <a:solidFill>
            <a:schemeClr val="tx1"/>
          </a:solidFill>
          <a:latin typeface="Trebuchet MS" charset="0"/>
          <a:ea typeface="Trebuchet MS" charset="0"/>
          <a:cs typeface="Trebuchet MS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0737404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pl-PL" smtClean="0">
                <a:solidFill>
                  <a:srgbClr val="0B4499"/>
                </a:solidFill>
              </a:rPr>
              <a:t>S-ryhmän strategia 2017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7" name="Freeform 7"/>
          <p:cNvSpPr>
            <a:spLocks noEditPoints="1"/>
          </p:cNvSpPr>
          <p:nvPr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457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9" r:id="rId1"/>
    <p:sldLayoutId id="2147484160" r:id="rId2"/>
    <p:sldLayoutId id="2147484161" r:id="rId3"/>
    <p:sldLayoutId id="2147484162" r:id="rId4"/>
    <p:sldLayoutId id="2147484163" r:id="rId5"/>
    <p:sldLayoutId id="2147484164" r:id="rId6"/>
    <p:sldLayoutId id="2147484165" r:id="rId7"/>
    <p:sldLayoutId id="2147484166" r:id="rId8"/>
    <p:sldLayoutId id="2147484167" r:id="rId9"/>
    <p:sldLayoutId id="2147484168" r:id="rId10"/>
    <p:sldLayoutId id="2147484169" r:id="rId11"/>
    <p:sldLayoutId id="2147484170" r:id="rId12"/>
    <p:sldLayoutId id="2147484171" r:id="rId13"/>
    <p:sldLayoutId id="2147484172" r:id="rId14"/>
    <p:sldLayoutId id="2147484173" r:id="rId15"/>
    <p:sldLayoutId id="2147484174" r:id="rId16"/>
    <p:sldLayoutId id="2147484175" r:id="rId17"/>
    <p:sldLayoutId id="2147484176" r:id="rId18"/>
    <p:sldLayoutId id="2147484177" r:id="rId19"/>
    <p:sldLayoutId id="2147484178" r:id="rId20"/>
    <p:sldLayoutId id="2147484179" r:id="rId21"/>
    <p:sldLayoutId id="2147484180" r:id="rId22"/>
    <p:sldLayoutId id="2147484181" r:id="rId23"/>
    <p:sldLayoutId id="2147484182" r:id="rId24"/>
    <p:sldLayoutId id="2147484183" r:id="rId25"/>
    <p:sldLayoutId id="2147484184" r:id="rId26"/>
    <p:sldLayoutId id="2147484185" r:id="rId27"/>
    <p:sldLayoutId id="2147484186" r:id="rId2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3D474D6F-13B4-4544-AF38-B263CCD0A08E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Freeform 7"/>
          <p:cNvSpPr>
            <a:spLocks noEditPoints="1"/>
          </p:cNvSpPr>
          <p:nvPr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1" name="Round Same Side Corner Rectangle 10"/>
          <p:cNvSpPr/>
          <p:nvPr/>
        </p:nvSpPr>
        <p:spPr>
          <a:xfrm>
            <a:off x="8652284" y="6273317"/>
            <a:ext cx="2376264" cy="584684"/>
          </a:xfrm>
          <a:prstGeom prst="round2SameRect">
            <a:avLst>
              <a:gd name="adj1" fmla="val 55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i-FI"/>
          </a:p>
        </p:txBody>
      </p:sp>
      <p:sp>
        <p:nvSpPr>
          <p:cNvPr id="12" name="Sisällön paikkamerkki 7"/>
          <p:cNvSpPr txBox="1">
            <a:spLocks/>
          </p:cNvSpPr>
          <p:nvPr/>
        </p:nvSpPr>
        <p:spPr>
          <a:xfrm>
            <a:off x="8760296" y="6382022"/>
            <a:ext cx="2520752" cy="287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 sz="14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–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itchFamily="34" charset="0"/>
              <a:buChar char="•"/>
              <a:defRPr sz="1200" kern="120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sz="2200" dirty="0" smtClean="0">
                <a:latin typeface="Arial Narrow" panose="020B0606020202030204" pitchFamily="34" charset="0"/>
              </a:rPr>
              <a:t>HENKILÖSTÖTYÖ</a:t>
            </a:r>
            <a:endParaRPr lang="fi-FI" sz="22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4752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  <p:sldLayoutId id="2147483683" r:id="rId2"/>
    <p:sldLayoutId id="2147483963" r:id="rId3"/>
    <p:sldLayoutId id="2147483964" r:id="rId4"/>
    <p:sldLayoutId id="2147483965" r:id="rId5"/>
    <p:sldLayoutId id="2147483966" r:id="rId6"/>
    <p:sldLayoutId id="2147483967" r:id="rId7"/>
    <p:sldLayoutId id="2147483968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  <p:sldLayoutId id="2147483699" r:id="rId24"/>
    <p:sldLayoutId id="2147483700" r:id="rId25"/>
    <p:sldLayoutId id="2147483701" r:id="rId26"/>
    <p:sldLayoutId id="2147483953" r:id="rId27"/>
    <p:sldLayoutId id="2147483702" r:id="rId28"/>
    <p:sldLayoutId id="2147483703" r:id="rId29"/>
    <p:sldLayoutId id="2147483704" r:id="rId30"/>
    <p:sldLayoutId id="2147483705" r:id="rId31"/>
    <p:sldLayoutId id="2147483706" r:id="rId32"/>
    <p:sldLayoutId id="2147483707" r:id="rId33"/>
    <p:sldLayoutId id="2147483708" r:id="rId3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784901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32" imgW="360" imgH="360" progId="TCLayout.ActiveDocument.1">
                  <p:embed/>
                </p:oleObj>
              </mc:Choice>
              <mc:Fallback>
                <p:oleObj name="think-cell Slide" r:id="rId3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7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0389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8" r:id="rId1"/>
    <p:sldLayoutId id="2147484189" r:id="rId2"/>
    <p:sldLayoutId id="2147484190" r:id="rId3"/>
    <p:sldLayoutId id="2147484191" r:id="rId4"/>
    <p:sldLayoutId id="2147484192" r:id="rId5"/>
    <p:sldLayoutId id="2147484193" r:id="rId6"/>
    <p:sldLayoutId id="2147484194" r:id="rId7"/>
    <p:sldLayoutId id="2147484195" r:id="rId8"/>
    <p:sldLayoutId id="2147484196" r:id="rId9"/>
    <p:sldLayoutId id="2147484197" r:id="rId10"/>
    <p:sldLayoutId id="2147484198" r:id="rId11"/>
    <p:sldLayoutId id="2147484199" r:id="rId12"/>
    <p:sldLayoutId id="2147484200" r:id="rId13"/>
    <p:sldLayoutId id="2147484201" r:id="rId14"/>
    <p:sldLayoutId id="2147484202" r:id="rId15"/>
    <p:sldLayoutId id="2147484203" r:id="rId16"/>
    <p:sldLayoutId id="2147484204" r:id="rId17"/>
    <p:sldLayoutId id="2147484205" r:id="rId18"/>
    <p:sldLayoutId id="2147484206" r:id="rId19"/>
    <p:sldLayoutId id="2147484207" r:id="rId20"/>
    <p:sldLayoutId id="2147484208" r:id="rId21"/>
    <p:sldLayoutId id="2147484209" r:id="rId22"/>
    <p:sldLayoutId id="2147484210" r:id="rId23"/>
    <p:sldLayoutId id="2147484211" r:id="rId24"/>
    <p:sldLayoutId id="2147484212" r:id="rId25"/>
    <p:sldLayoutId id="2147484213" r:id="rId26"/>
    <p:sldLayoutId id="2147484214" r:id="rId27"/>
    <p:sldLayoutId id="2147484215" r:id="rId2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42792767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9" name="think-cell Slide" r:id="rId32" imgW="360" imgH="360" progId="TCLayout.ActiveDocument.1">
                  <p:embed/>
                </p:oleObj>
              </mc:Choice>
              <mc:Fallback>
                <p:oleObj name="think-cell Slide" r:id="rId3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7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208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7" r:id="rId1"/>
    <p:sldLayoutId id="2147484218" r:id="rId2"/>
    <p:sldLayoutId id="2147484219" r:id="rId3"/>
    <p:sldLayoutId id="2147484220" r:id="rId4"/>
    <p:sldLayoutId id="2147484221" r:id="rId5"/>
    <p:sldLayoutId id="2147484222" r:id="rId6"/>
    <p:sldLayoutId id="2147484223" r:id="rId7"/>
    <p:sldLayoutId id="2147484224" r:id="rId8"/>
    <p:sldLayoutId id="2147484225" r:id="rId9"/>
    <p:sldLayoutId id="2147484226" r:id="rId10"/>
    <p:sldLayoutId id="2147484227" r:id="rId11"/>
    <p:sldLayoutId id="2147484228" r:id="rId12"/>
    <p:sldLayoutId id="2147484229" r:id="rId13"/>
    <p:sldLayoutId id="2147484230" r:id="rId14"/>
    <p:sldLayoutId id="2147484231" r:id="rId15"/>
    <p:sldLayoutId id="2147484232" r:id="rId16"/>
    <p:sldLayoutId id="2147484233" r:id="rId17"/>
    <p:sldLayoutId id="2147484234" r:id="rId18"/>
    <p:sldLayoutId id="2147484235" r:id="rId19"/>
    <p:sldLayoutId id="2147484236" r:id="rId20"/>
    <p:sldLayoutId id="2147484237" r:id="rId21"/>
    <p:sldLayoutId id="2147484238" r:id="rId22"/>
    <p:sldLayoutId id="2147484239" r:id="rId23"/>
    <p:sldLayoutId id="2147484240" r:id="rId24"/>
    <p:sldLayoutId id="2147484241" r:id="rId25"/>
    <p:sldLayoutId id="2147484242" r:id="rId26"/>
    <p:sldLayoutId id="2147484243" r:id="rId27"/>
    <p:sldLayoutId id="2147484244" r:id="rId2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2017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‹#›</a:t>
            </a:fld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7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83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6" r:id="rId1"/>
    <p:sldLayoutId id="2147484247" r:id="rId2"/>
    <p:sldLayoutId id="2147484248" r:id="rId3"/>
    <p:sldLayoutId id="2147484249" r:id="rId4"/>
    <p:sldLayoutId id="2147484250" r:id="rId5"/>
    <p:sldLayoutId id="2147484251" r:id="rId6"/>
    <p:sldLayoutId id="2147484252" r:id="rId7"/>
    <p:sldLayoutId id="2147484253" r:id="rId8"/>
    <p:sldLayoutId id="2147484254" r:id="rId9"/>
    <p:sldLayoutId id="2147484255" r:id="rId10"/>
    <p:sldLayoutId id="2147484256" r:id="rId11"/>
    <p:sldLayoutId id="2147484257" r:id="rId12"/>
    <p:sldLayoutId id="2147484258" r:id="rId13"/>
    <p:sldLayoutId id="2147484259" r:id="rId14"/>
    <p:sldLayoutId id="2147484260" r:id="rId15"/>
    <p:sldLayoutId id="2147484261" r:id="rId16"/>
    <p:sldLayoutId id="2147484262" r:id="rId17"/>
    <p:sldLayoutId id="2147484263" r:id="rId18"/>
    <p:sldLayoutId id="2147484264" r:id="rId19"/>
    <p:sldLayoutId id="2147484265" r:id="rId20"/>
    <p:sldLayoutId id="2147484266" r:id="rId21"/>
    <p:sldLayoutId id="2147484267" r:id="rId22"/>
    <p:sldLayoutId id="2147484268" r:id="rId23"/>
    <p:sldLayoutId id="2147484269" r:id="rId24"/>
    <p:sldLayoutId id="2147484270" r:id="rId25"/>
    <p:sldLayoutId id="2147484271" r:id="rId26"/>
    <p:sldLayoutId id="2147484272" r:id="rId27"/>
    <p:sldLayoutId id="2147484273" r:id="rId2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F8556C80-151E-4FC4-9283-8186334C2482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Freeform 7"/>
          <p:cNvSpPr>
            <a:spLocks noEditPoints="1"/>
          </p:cNvSpPr>
          <p:nvPr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9" name="Group 8"/>
          <p:cNvGrpSpPr/>
          <p:nvPr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1" name="Round Same Side Corner Rectangle 10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44" name="Freeform 40"/>
            <p:cNvSpPr>
              <a:spLocks noEditPoints="1"/>
            </p:cNvSpPr>
            <p:nvPr userDrawn="1"/>
          </p:nvSpPr>
          <p:spPr bwMode="auto">
            <a:xfrm>
              <a:off x="8786797" y="6473684"/>
              <a:ext cx="2115771" cy="211200"/>
            </a:xfrm>
            <a:custGeom>
              <a:avLst/>
              <a:gdLst>
                <a:gd name="T0" fmla="*/ 2210 w 2245"/>
                <a:gd name="T1" fmla="*/ 221 h 224"/>
                <a:gd name="T2" fmla="*/ 2210 w 2245"/>
                <a:gd name="T3" fmla="*/ 2 h 224"/>
                <a:gd name="T4" fmla="*/ 2086 w 2245"/>
                <a:gd name="T5" fmla="*/ 221 h 224"/>
                <a:gd name="T6" fmla="*/ 1915 w 2245"/>
                <a:gd name="T7" fmla="*/ 221 h 224"/>
                <a:gd name="T8" fmla="*/ 1993 w 2245"/>
                <a:gd name="T9" fmla="*/ 2 h 224"/>
                <a:gd name="T10" fmla="*/ 1851 w 2245"/>
                <a:gd name="T11" fmla="*/ 221 h 224"/>
                <a:gd name="T12" fmla="*/ 1783 w 2245"/>
                <a:gd name="T13" fmla="*/ 221 h 224"/>
                <a:gd name="T14" fmla="*/ 1669 w 2245"/>
                <a:gd name="T15" fmla="*/ 221 h 224"/>
                <a:gd name="T16" fmla="*/ 1607 w 2245"/>
                <a:gd name="T17" fmla="*/ 2 h 224"/>
                <a:gd name="T18" fmla="*/ 1474 w 2245"/>
                <a:gd name="T19" fmla="*/ 180 h 224"/>
                <a:gd name="T20" fmla="*/ 1486 w 2245"/>
                <a:gd name="T21" fmla="*/ 192 h 224"/>
                <a:gd name="T22" fmla="*/ 1505 w 2245"/>
                <a:gd name="T23" fmla="*/ 185 h 224"/>
                <a:gd name="T24" fmla="*/ 1506 w 2245"/>
                <a:gd name="T25" fmla="*/ 42 h 224"/>
                <a:gd name="T26" fmla="*/ 1494 w 2245"/>
                <a:gd name="T27" fmla="*/ 30 h 224"/>
                <a:gd name="T28" fmla="*/ 1475 w 2245"/>
                <a:gd name="T29" fmla="*/ 39 h 224"/>
                <a:gd name="T30" fmla="*/ 1438 w 2245"/>
                <a:gd name="T31" fmla="*/ 48 h 224"/>
                <a:gd name="T32" fmla="*/ 1445 w 2245"/>
                <a:gd name="T33" fmla="*/ 22 h 224"/>
                <a:gd name="T34" fmla="*/ 1467 w 2245"/>
                <a:gd name="T35" fmla="*/ 3 h 224"/>
                <a:gd name="T36" fmla="*/ 1502 w 2245"/>
                <a:gd name="T37" fmla="*/ 0 h 224"/>
                <a:gd name="T38" fmla="*/ 1529 w 2245"/>
                <a:gd name="T39" fmla="*/ 13 h 224"/>
                <a:gd name="T40" fmla="*/ 1541 w 2245"/>
                <a:gd name="T41" fmla="*/ 42 h 224"/>
                <a:gd name="T42" fmla="*/ 1540 w 2245"/>
                <a:gd name="T43" fmla="*/ 187 h 224"/>
                <a:gd name="T44" fmla="*/ 1529 w 2245"/>
                <a:gd name="T45" fmla="*/ 209 h 224"/>
                <a:gd name="T46" fmla="*/ 1502 w 2245"/>
                <a:gd name="T47" fmla="*/ 223 h 224"/>
                <a:gd name="T48" fmla="*/ 1467 w 2245"/>
                <a:gd name="T49" fmla="*/ 220 h 224"/>
                <a:gd name="T50" fmla="*/ 1445 w 2245"/>
                <a:gd name="T51" fmla="*/ 202 h 224"/>
                <a:gd name="T52" fmla="*/ 1438 w 2245"/>
                <a:gd name="T53" fmla="*/ 168 h 224"/>
                <a:gd name="T54" fmla="*/ 1382 w 2245"/>
                <a:gd name="T55" fmla="*/ 221 h 224"/>
                <a:gd name="T56" fmla="*/ 1280 w 2245"/>
                <a:gd name="T57" fmla="*/ 94 h 224"/>
                <a:gd name="T58" fmla="*/ 1198 w 2245"/>
                <a:gd name="T59" fmla="*/ 221 h 224"/>
                <a:gd name="T60" fmla="*/ 1106 w 2245"/>
                <a:gd name="T61" fmla="*/ 134 h 224"/>
                <a:gd name="T62" fmla="*/ 1095 w 2245"/>
                <a:gd name="T63" fmla="*/ 97 h 224"/>
                <a:gd name="T64" fmla="*/ 1106 w 2245"/>
                <a:gd name="T65" fmla="*/ 134 h 224"/>
                <a:gd name="T66" fmla="*/ 926 w 2245"/>
                <a:gd name="T67" fmla="*/ 2 h 224"/>
                <a:gd name="T68" fmla="*/ 846 w 2245"/>
                <a:gd name="T69" fmla="*/ 2 h 224"/>
                <a:gd name="T70" fmla="*/ 744 w 2245"/>
                <a:gd name="T71" fmla="*/ 2 h 224"/>
                <a:gd name="T72" fmla="*/ 665 w 2245"/>
                <a:gd name="T73" fmla="*/ 2 h 224"/>
                <a:gd name="T74" fmla="*/ 517 w 2245"/>
                <a:gd name="T75" fmla="*/ 2 h 224"/>
                <a:gd name="T76" fmla="*/ 517 w 2245"/>
                <a:gd name="T77" fmla="*/ 2 h 224"/>
                <a:gd name="T78" fmla="*/ 487 w 2245"/>
                <a:gd name="T79" fmla="*/ 190 h 224"/>
                <a:gd name="T80" fmla="*/ 428 w 2245"/>
                <a:gd name="T81" fmla="*/ 33 h 224"/>
                <a:gd name="T82" fmla="*/ 335 w 2245"/>
                <a:gd name="T83" fmla="*/ 221 h 224"/>
                <a:gd name="T84" fmla="*/ 174 w 2245"/>
                <a:gd name="T85" fmla="*/ 176 h 224"/>
                <a:gd name="T86" fmla="*/ 184 w 2245"/>
                <a:gd name="T87" fmla="*/ 191 h 224"/>
                <a:gd name="T88" fmla="*/ 205 w 2245"/>
                <a:gd name="T89" fmla="*/ 187 h 224"/>
                <a:gd name="T90" fmla="*/ 209 w 2245"/>
                <a:gd name="T91" fmla="*/ 46 h 224"/>
                <a:gd name="T92" fmla="*/ 199 w 2245"/>
                <a:gd name="T93" fmla="*/ 31 h 224"/>
                <a:gd name="T94" fmla="*/ 178 w 2245"/>
                <a:gd name="T95" fmla="*/ 36 h 224"/>
                <a:gd name="T96" fmla="*/ 139 w 2245"/>
                <a:gd name="T97" fmla="*/ 55 h 224"/>
                <a:gd name="T98" fmla="*/ 144 w 2245"/>
                <a:gd name="T99" fmla="*/ 26 h 224"/>
                <a:gd name="T100" fmla="*/ 164 w 2245"/>
                <a:gd name="T101" fmla="*/ 5 h 224"/>
                <a:gd name="T102" fmla="*/ 198 w 2245"/>
                <a:gd name="T103" fmla="*/ 0 h 224"/>
                <a:gd name="T104" fmla="*/ 227 w 2245"/>
                <a:gd name="T105" fmla="*/ 10 h 224"/>
                <a:gd name="T106" fmla="*/ 242 w 2245"/>
                <a:gd name="T107" fmla="*/ 37 h 224"/>
                <a:gd name="T108" fmla="*/ 243 w 2245"/>
                <a:gd name="T109" fmla="*/ 180 h 224"/>
                <a:gd name="T110" fmla="*/ 233 w 2245"/>
                <a:gd name="T111" fmla="*/ 205 h 224"/>
                <a:gd name="T112" fmla="*/ 209 w 2245"/>
                <a:gd name="T113" fmla="*/ 222 h 224"/>
                <a:gd name="T114" fmla="*/ 174 w 2245"/>
                <a:gd name="T115" fmla="*/ 222 h 224"/>
                <a:gd name="T116" fmla="*/ 150 w 2245"/>
                <a:gd name="T117" fmla="*/ 205 h 224"/>
                <a:gd name="T118" fmla="*/ 140 w 2245"/>
                <a:gd name="T119" fmla="*/ 175 h 224"/>
                <a:gd name="T120" fmla="*/ 35 w 2245"/>
                <a:gd name="T121" fmla="*/ 2 h 224"/>
                <a:gd name="T122" fmla="*/ 74 w 2245"/>
                <a:gd name="T123" fmla="*/ 2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5" h="224">
                  <a:moveTo>
                    <a:pt x="2166" y="152"/>
                  </a:moveTo>
                  <a:lnTo>
                    <a:pt x="2199" y="152"/>
                  </a:lnTo>
                  <a:lnTo>
                    <a:pt x="2182" y="41"/>
                  </a:lnTo>
                  <a:lnTo>
                    <a:pt x="2166" y="152"/>
                  </a:lnTo>
                  <a:close/>
                  <a:moveTo>
                    <a:pt x="2245" y="221"/>
                  </a:moveTo>
                  <a:lnTo>
                    <a:pt x="2210" y="221"/>
                  </a:lnTo>
                  <a:lnTo>
                    <a:pt x="2204" y="181"/>
                  </a:lnTo>
                  <a:lnTo>
                    <a:pt x="2162" y="181"/>
                  </a:lnTo>
                  <a:lnTo>
                    <a:pt x="2156" y="221"/>
                  </a:lnTo>
                  <a:lnTo>
                    <a:pt x="2124" y="221"/>
                  </a:lnTo>
                  <a:lnTo>
                    <a:pt x="2159" y="2"/>
                  </a:lnTo>
                  <a:lnTo>
                    <a:pt x="2210" y="2"/>
                  </a:lnTo>
                  <a:lnTo>
                    <a:pt x="2245" y="221"/>
                  </a:lnTo>
                  <a:close/>
                  <a:moveTo>
                    <a:pt x="2016" y="2"/>
                  </a:moveTo>
                  <a:lnTo>
                    <a:pt x="2122" y="2"/>
                  </a:lnTo>
                  <a:lnTo>
                    <a:pt x="2122" y="33"/>
                  </a:lnTo>
                  <a:lnTo>
                    <a:pt x="2086" y="33"/>
                  </a:lnTo>
                  <a:lnTo>
                    <a:pt x="2086" y="221"/>
                  </a:lnTo>
                  <a:lnTo>
                    <a:pt x="2052" y="221"/>
                  </a:lnTo>
                  <a:lnTo>
                    <a:pt x="2052" y="33"/>
                  </a:lnTo>
                  <a:lnTo>
                    <a:pt x="2016" y="33"/>
                  </a:lnTo>
                  <a:lnTo>
                    <a:pt x="2016" y="2"/>
                  </a:lnTo>
                  <a:close/>
                  <a:moveTo>
                    <a:pt x="1915" y="62"/>
                  </a:moveTo>
                  <a:lnTo>
                    <a:pt x="1915" y="221"/>
                  </a:lnTo>
                  <a:lnTo>
                    <a:pt x="1884" y="221"/>
                  </a:lnTo>
                  <a:lnTo>
                    <a:pt x="1884" y="2"/>
                  </a:lnTo>
                  <a:lnTo>
                    <a:pt x="1927" y="2"/>
                  </a:lnTo>
                  <a:lnTo>
                    <a:pt x="1962" y="133"/>
                  </a:lnTo>
                  <a:lnTo>
                    <a:pt x="1962" y="2"/>
                  </a:lnTo>
                  <a:lnTo>
                    <a:pt x="1993" y="2"/>
                  </a:lnTo>
                  <a:lnTo>
                    <a:pt x="1993" y="221"/>
                  </a:lnTo>
                  <a:lnTo>
                    <a:pt x="1958" y="221"/>
                  </a:lnTo>
                  <a:lnTo>
                    <a:pt x="1915" y="62"/>
                  </a:lnTo>
                  <a:close/>
                  <a:moveTo>
                    <a:pt x="1817" y="2"/>
                  </a:moveTo>
                  <a:lnTo>
                    <a:pt x="1851" y="2"/>
                  </a:lnTo>
                  <a:lnTo>
                    <a:pt x="1851" y="221"/>
                  </a:lnTo>
                  <a:lnTo>
                    <a:pt x="1817" y="221"/>
                  </a:lnTo>
                  <a:lnTo>
                    <a:pt x="1817" y="2"/>
                  </a:lnTo>
                  <a:close/>
                  <a:moveTo>
                    <a:pt x="1713" y="157"/>
                  </a:moveTo>
                  <a:lnTo>
                    <a:pt x="1736" y="2"/>
                  </a:lnTo>
                  <a:lnTo>
                    <a:pt x="1783" y="2"/>
                  </a:lnTo>
                  <a:lnTo>
                    <a:pt x="1783" y="221"/>
                  </a:lnTo>
                  <a:lnTo>
                    <a:pt x="1752" y="221"/>
                  </a:lnTo>
                  <a:lnTo>
                    <a:pt x="1752" y="64"/>
                  </a:lnTo>
                  <a:lnTo>
                    <a:pt x="1727" y="221"/>
                  </a:lnTo>
                  <a:lnTo>
                    <a:pt x="1695" y="221"/>
                  </a:lnTo>
                  <a:lnTo>
                    <a:pt x="1669" y="66"/>
                  </a:lnTo>
                  <a:lnTo>
                    <a:pt x="1669" y="221"/>
                  </a:lnTo>
                  <a:lnTo>
                    <a:pt x="1640" y="221"/>
                  </a:lnTo>
                  <a:lnTo>
                    <a:pt x="1640" y="2"/>
                  </a:lnTo>
                  <a:lnTo>
                    <a:pt x="1687" y="2"/>
                  </a:lnTo>
                  <a:lnTo>
                    <a:pt x="1713" y="157"/>
                  </a:lnTo>
                  <a:close/>
                  <a:moveTo>
                    <a:pt x="1572" y="2"/>
                  </a:moveTo>
                  <a:lnTo>
                    <a:pt x="1607" y="2"/>
                  </a:lnTo>
                  <a:lnTo>
                    <a:pt x="1607" y="221"/>
                  </a:lnTo>
                  <a:lnTo>
                    <a:pt x="1572" y="221"/>
                  </a:lnTo>
                  <a:lnTo>
                    <a:pt x="1572" y="2"/>
                  </a:lnTo>
                  <a:close/>
                  <a:moveTo>
                    <a:pt x="1471" y="171"/>
                  </a:moveTo>
                  <a:lnTo>
                    <a:pt x="1473" y="176"/>
                  </a:lnTo>
                  <a:lnTo>
                    <a:pt x="1474" y="180"/>
                  </a:lnTo>
                  <a:lnTo>
                    <a:pt x="1474" y="183"/>
                  </a:lnTo>
                  <a:lnTo>
                    <a:pt x="1475" y="185"/>
                  </a:lnTo>
                  <a:lnTo>
                    <a:pt x="1477" y="187"/>
                  </a:lnTo>
                  <a:lnTo>
                    <a:pt x="1479" y="189"/>
                  </a:lnTo>
                  <a:lnTo>
                    <a:pt x="1482" y="191"/>
                  </a:lnTo>
                  <a:lnTo>
                    <a:pt x="1486" y="192"/>
                  </a:lnTo>
                  <a:lnTo>
                    <a:pt x="1489" y="192"/>
                  </a:lnTo>
                  <a:lnTo>
                    <a:pt x="1494" y="192"/>
                  </a:lnTo>
                  <a:lnTo>
                    <a:pt x="1497" y="191"/>
                  </a:lnTo>
                  <a:lnTo>
                    <a:pt x="1500" y="189"/>
                  </a:lnTo>
                  <a:lnTo>
                    <a:pt x="1503" y="187"/>
                  </a:lnTo>
                  <a:lnTo>
                    <a:pt x="1505" y="185"/>
                  </a:lnTo>
                  <a:lnTo>
                    <a:pt x="1506" y="180"/>
                  </a:lnTo>
                  <a:lnTo>
                    <a:pt x="1507" y="176"/>
                  </a:lnTo>
                  <a:lnTo>
                    <a:pt x="1507" y="171"/>
                  </a:lnTo>
                  <a:lnTo>
                    <a:pt x="1507" y="52"/>
                  </a:lnTo>
                  <a:lnTo>
                    <a:pt x="1507" y="46"/>
                  </a:lnTo>
                  <a:lnTo>
                    <a:pt x="1506" y="42"/>
                  </a:lnTo>
                  <a:lnTo>
                    <a:pt x="1505" y="40"/>
                  </a:lnTo>
                  <a:lnTo>
                    <a:pt x="1505" y="39"/>
                  </a:lnTo>
                  <a:lnTo>
                    <a:pt x="1503" y="36"/>
                  </a:lnTo>
                  <a:lnTo>
                    <a:pt x="1500" y="33"/>
                  </a:lnTo>
                  <a:lnTo>
                    <a:pt x="1497" y="31"/>
                  </a:lnTo>
                  <a:lnTo>
                    <a:pt x="1494" y="30"/>
                  </a:lnTo>
                  <a:lnTo>
                    <a:pt x="1489" y="30"/>
                  </a:lnTo>
                  <a:lnTo>
                    <a:pt x="1486" y="30"/>
                  </a:lnTo>
                  <a:lnTo>
                    <a:pt x="1482" y="31"/>
                  </a:lnTo>
                  <a:lnTo>
                    <a:pt x="1479" y="33"/>
                  </a:lnTo>
                  <a:lnTo>
                    <a:pt x="1477" y="36"/>
                  </a:lnTo>
                  <a:lnTo>
                    <a:pt x="1475" y="39"/>
                  </a:lnTo>
                  <a:lnTo>
                    <a:pt x="1474" y="42"/>
                  </a:lnTo>
                  <a:lnTo>
                    <a:pt x="1473" y="46"/>
                  </a:lnTo>
                  <a:lnTo>
                    <a:pt x="1471" y="52"/>
                  </a:lnTo>
                  <a:lnTo>
                    <a:pt x="1471" y="171"/>
                  </a:lnTo>
                  <a:close/>
                  <a:moveTo>
                    <a:pt x="1438" y="55"/>
                  </a:moveTo>
                  <a:lnTo>
                    <a:pt x="1438" y="48"/>
                  </a:lnTo>
                  <a:lnTo>
                    <a:pt x="1439" y="42"/>
                  </a:lnTo>
                  <a:lnTo>
                    <a:pt x="1440" y="37"/>
                  </a:lnTo>
                  <a:lnTo>
                    <a:pt x="1440" y="33"/>
                  </a:lnTo>
                  <a:lnTo>
                    <a:pt x="1441" y="31"/>
                  </a:lnTo>
                  <a:lnTo>
                    <a:pt x="1443" y="26"/>
                  </a:lnTo>
                  <a:lnTo>
                    <a:pt x="1445" y="22"/>
                  </a:lnTo>
                  <a:lnTo>
                    <a:pt x="1448" y="18"/>
                  </a:lnTo>
                  <a:lnTo>
                    <a:pt x="1451" y="13"/>
                  </a:lnTo>
                  <a:lnTo>
                    <a:pt x="1455" y="10"/>
                  </a:lnTo>
                  <a:lnTo>
                    <a:pt x="1459" y="7"/>
                  </a:lnTo>
                  <a:lnTo>
                    <a:pt x="1463" y="5"/>
                  </a:lnTo>
                  <a:lnTo>
                    <a:pt x="1467" y="3"/>
                  </a:lnTo>
                  <a:lnTo>
                    <a:pt x="1473" y="1"/>
                  </a:lnTo>
                  <a:lnTo>
                    <a:pt x="1478" y="0"/>
                  </a:lnTo>
                  <a:lnTo>
                    <a:pt x="1484" y="0"/>
                  </a:lnTo>
                  <a:lnTo>
                    <a:pt x="1489" y="0"/>
                  </a:lnTo>
                  <a:lnTo>
                    <a:pt x="1496" y="0"/>
                  </a:lnTo>
                  <a:lnTo>
                    <a:pt x="1502" y="0"/>
                  </a:lnTo>
                  <a:lnTo>
                    <a:pt x="1507" y="1"/>
                  </a:lnTo>
                  <a:lnTo>
                    <a:pt x="1513" y="3"/>
                  </a:lnTo>
                  <a:lnTo>
                    <a:pt x="1517" y="5"/>
                  </a:lnTo>
                  <a:lnTo>
                    <a:pt x="1521" y="7"/>
                  </a:lnTo>
                  <a:lnTo>
                    <a:pt x="1525" y="10"/>
                  </a:lnTo>
                  <a:lnTo>
                    <a:pt x="1529" y="13"/>
                  </a:lnTo>
                  <a:lnTo>
                    <a:pt x="1532" y="18"/>
                  </a:lnTo>
                  <a:lnTo>
                    <a:pt x="1535" y="22"/>
                  </a:lnTo>
                  <a:lnTo>
                    <a:pt x="1537" y="26"/>
                  </a:lnTo>
                  <a:lnTo>
                    <a:pt x="1539" y="31"/>
                  </a:lnTo>
                  <a:lnTo>
                    <a:pt x="1540" y="37"/>
                  </a:lnTo>
                  <a:lnTo>
                    <a:pt x="1541" y="42"/>
                  </a:lnTo>
                  <a:lnTo>
                    <a:pt x="1542" y="48"/>
                  </a:lnTo>
                  <a:lnTo>
                    <a:pt x="1542" y="55"/>
                  </a:lnTo>
                  <a:lnTo>
                    <a:pt x="1542" y="168"/>
                  </a:lnTo>
                  <a:lnTo>
                    <a:pt x="1542" y="175"/>
                  </a:lnTo>
                  <a:lnTo>
                    <a:pt x="1541" y="180"/>
                  </a:lnTo>
                  <a:lnTo>
                    <a:pt x="1540" y="187"/>
                  </a:lnTo>
                  <a:lnTo>
                    <a:pt x="1539" y="189"/>
                  </a:lnTo>
                  <a:lnTo>
                    <a:pt x="1539" y="192"/>
                  </a:lnTo>
                  <a:lnTo>
                    <a:pt x="1537" y="196"/>
                  </a:lnTo>
                  <a:lnTo>
                    <a:pt x="1535" y="202"/>
                  </a:lnTo>
                  <a:lnTo>
                    <a:pt x="1532" y="205"/>
                  </a:lnTo>
                  <a:lnTo>
                    <a:pt x="1529" y="209"/>
                  </a:lnTo>
                  <a:lnTo>
                    <a:pt x="1525" y="212"/>
                  </a:lnTo>
                  <a:lnTo>
                    <a:pt x="1521" y="215"/>
                  </a:lnTo>
                  <a:lnTo>
                    <a:pt x="1517" y="217"/>
                  </a:lnTo>
                  <a:lnTo>
                    <a:pt x="1513" y="220"/>
                  </a:lnTo>
                  <a:lnTo>
                    <a:pt x="1507" y="222"/>
                  </a:lnTo>
                  <a:lnTo>
                    <a:pt x="1502" y="223"/>
                  </a:lnTo>
                  <a:lnTo>
                    <a:pt x="1496" y="223"/>
                  </a:lnTo>
                  <a:lnTo>
                    <a:pt x="1489" y="224"/>
                  </a:lnTo>
                  <a:lnTo>
                    <a:pt x="1484" y="223"/>
                  </a:lnTo>
                  <a:lnTo>
                    <a:pt x="1478" y="223"/>
                  </a:lnTo>
                  <a:lnTo>
                    <a:pt x="1473" y="222"/>
                  </a:lnTo>
                  <a:lnTo>
                    <a:pt x="1467" y="220"/>
                  </a:lnTo>
                  <a:lnTo>
                    <a:pt x="1463" y="217"/>
                  </a:lnTo>
                  <a:lnTo>
                    <a:pt x="1459" y="215"/>
                  </a:lnTo>
                  <a:lnTo>
                    <a:pt x="1455" y="212"/>
                  </a:lnTo>
                  <a:lnTo>
                    <a:pt x="1451" y="209"/>
                  </a:lnTo>
                  <a:lnTo>
                    <a:pt x="1448" y="205"/>
                  </a:lnTo>
                  <a:lnTo>
                    <a:pt x="1445" y="202"/>
                  </a:lnTo>
                  <a:lnTo>
                    <a:pt x="1443" y="196"/>
                  </a:lnTo>
                  <a:lnTo>
                    <a:pt x="1441" y="192"/>
                  </a:lnTo>
                  <a:lnTo>
                    <a:pt x="1440" y="187"/>
                  </a:lnTo>
                  <a:lnTo>
                    <a:pt x="1439" y="180"/>
                  </a:lnTo>
                  <a:lnTo>
                    <a:pt x="1438" y="175"/>
                  </a:lnTo>
                  <a:lnTo>
                    <a:pt x="1438" y="168"/>
                  </a:lnTo>
                  <a:lnTo>
                    <a:pt x="1438" y="55"/>
                  </a:lnTo>
                  <a:close/>
                  <a:moveTo>
                    <a:pt x="1311" y="2"/>
                  </a:moveTo>
                  <a:lnTo>
                    <a:pt x="1418" y="2"/>
                  </a:lnTo>
                  <a:lnTo>
                    <a:pt x="1418" y="33"/>
                  </a:lnTo>
                  <a:lnTo>
                    <a:pt x="1382" y="33"/>
                  </a:lnTo>
                  <a:lnTo>
                    <a:pt x="1382" y="221"/>
                  </a:lnTo>
                  <a:lnTo>
                    <a:pt x="1347" y="221"/>
                  </a:lnTo>
                  <a:lnTo>
                    <a:pt x="1347" y="33"/>
                  </a:lnTo>
                  <a:lnTo>
                    <a:pt x="1311" y="33"/>
                  </a:lnTo>
                  <a:lnTo>
                    <a:pt x="1311" y="2"/>
                  </a:lnTo>
                  <a:close/>
                  <a:moveTo>
                    <a:pt x="1232" y="94"/>
                  </a:moveTo>
                  <a:lnTo>
                    <a:pt x="1280" y="94"/>
                  </a:lnTo>
                  <a:lnTo>
                    <a:pt x="1280" y="125"/>
                  </a:lnTo>
                  <a:lnTo>
                    <a:pt x="1232" y="125"/>
                  </a:lnTo>
                  <a:lnTo>
                    <a:pt x="1232" y="190"/>
                  </a:lnTo>
                  <a:lnTo>
                    <a:pt x="1292" y="190"/>
                  </a:lnTo>
                  <a:lnTo>
                    <a:pt x="1292" y="221"/>
                  </a:lnTo>
                  <a:lnTo>
                    <a:pt x="1198" y="221"/>
                  </a:lnTo>
                  <a:lnTo>
                    <a:pt x="1198" y="2"/>
                  </a:lnTo>
                  <a:lnTo>
                    <a:pt x="1292" y="2"/>
                  </a:lnTo>
                  <a:lnTo>
                    <a:pt x="1292" y="33"/>
                  </a:lnTo>
                  <a:lnTo>
                    <a:pt x="1232" y="33"/>
                  </a:lnTo>
                  <a:lnTo>
                    <a:pt x="1232" y="94"/>
                  </a:lnTo>
                  <a:close/>
                  <a:moveTo>
                    <a:pt x="1106" y="134"/>
                  </a:moveTo>
                  <a:lnTo>
                    <a:pt x="1095" y="154"/>
                  </a:lnTo>
                  <a:lnTo>
                    <a:pt x="1095" y="221"/>
                  </a:lnTo>
                  <a:lnTo>
                    <a:pt x="1060" y="221"/>
                  </a:lnTo>
                  <a:lnTo>
                    <a:pt x="1060" y="2"/>
                  </a:lnTo>
                  <a:lnTo>
                    <a:pt x="1095" y="2"/>
                  </a:lnTo>
                  <a:lnTo>
                    <a:pt x="1095" y="97"/>
                  </a:lnTo>
                  <a:lnTo>
                    <a:pt x="1140" y="2"/>
                  </a:lnTo>
                  <a:lnTo>
                    <a:pt x="1174" y="2"/>
                  </a:lnTo>
                  <a:lnTo>
                    <a:pt x="1127" y="99"/>
                  </a:lnTo>
                  <a:lnTo>
                    <a:pt x="1174" y="221"/>
                  </a:lnTo>
                  <a:lnTo>
                    <a:pt x="1139" y="221"/>
                  </a:lnTo>
                  <a:lnTo>
                    <a:pt x="1106" y="134"/>
                  </a:lnTo>
                  <a:close/>
                  <a:moveTo>
                    <a:pt x="993" y="2"/>
                  </a:moveTo>
                  <a:lnTo>
                    <a:pt x="1027" y="2"/>
                  </a:lnTo>
                  <a:lnTo>
                    <a:pt x="1027" y="221"/>
                  </a:lnTo>
                  <a:lnTo>
                    <a:pt x="993" y="221"/>
                  </a:lnTo>
                  <a:lnTo>
                    <a:pt x="993" y="2"/>
                  </a:lnTo>
                  <a:close/>
                  <a:moveTo>
                    <a:pt x="926" y="2"/>
                  </a:moveTo>
                  <a:lnTo>
                    <a:pt x="961" y="2"/>
                  </a:lnTo>
                  <a:lnTo>
                    <a:pt x="961" y="221"/>
                  </a:lnTo>
                  <a:lnTo>
                    <a:pt x="926" y="221"/>
                  </a:lnTo>
                  <a:lnTo>
                    <a:pt x="926" y="2"/>
                  </a:lnTo>
                  <a:close/>
                  <a:moveTo>
                    <a:pt x="812" y="2"/>
                  </a:moveTo>
                  <a:lnTo>
                    <a:pt x="846" y="2"/>
                  </a:lnTo>
                  <a:lnTo>
                    <a:pt x="846" y="190"/>
                  </a:lnTo>
                  <a:lnTo>
                    <a:pt x="903" y="190"/>
                  </a:lnTo>
                  <a:lnTo>
                    <a:pt x="903" y="221"/>
                  </a:lnTo>
                  <a:lnTo>
                    <a:pt x="812" y="221"/>
                  </a:lnTo>
                  <a:lnTo>
                    <a:pt x="812" y="2"/>
                  </a:lnTo>
                  <a:close/>
                  <a:moveTo>
                    <a:pt x="744" y="2"/>
                  </a:moveTo>
                  <a:lnTo>
                    <a:pt x="779" y="2"/>
                  </a:lnTo>
                  <a:lnTo>
                    <a:pt x="779" y="221"/>
                  </a:lnTo>
                  <a:lnTo>
                    <a:pt x="744" y="221"/>
                  </a:lnTo>
                  <a:lnTo>
                    <a:pt x="744" y="2"/>
                  </a:lnTo>
                  <a:close/>
                  <a:moveTo>
                    <a:pt x="631" y="2"/>
                  </a:moveTo>
                  <a:lnTo>
                    <a:pt x="665" y="2"/>
                  </a:lnTo>
                  <a:lnTo>
                    <a:pt x="665" y="190"/>
                  </a:lnTo>
                  <a:lnTo>
                    <a:pt x="722" y="190"/>
                  </a:lnTo>
                  <a:lnTo>
                    <a:pt x="722" y="221"/>
                  </a:lnTo>
                  <a:lnTo>
                    <a:pt x="631" y="221"/>
                  </a:lnTo>
                  <a:lnTo>
                    <a:pt x="631" y="2"/>
                  </a:lnTo>
                  <a:close/>
                  <a:moveTo>
                    <a:pt x="517" y="2"/>
                  </a:moveTo>
                  <a:lnTo>
                    <a:pt x="550" y="2"/>
                  </a:lnTo>
                  <a:lnTo>
                    <a:pt x="550" y="190"/>
                  </a:lnTo>
                  <a:lnTo>
                    <a:pt x="607" y="190"/>
                  </a:lnTo>
                  <a:lnTo>
                    <a:pt x="607" y="221"/>
                  </a:lnTo>
                  <a:lnTo>
                    <a:pt x="517" y="221"/>
                  </a:lnTo>
                  <a:lnTo>
                    <a:pt x="517" y="2"/>
                  </a:lnTo>
                  <a:close/>
                  <a:moveTo>
                    <a:pt x="428" y="94"/>
                  </a:moveTo>
                  <a:lnTo>
                    <a:pt x="475" y="94"/>
                  </a:lnTo>
                  <a:lnTo>
                    <a:pt x="475" y="125"/>
                  </a:lnTo>
                  <a:lnTo>
                    <a:pt x="428" y="125"/>
                  </a:lnTo>
                  <a:lnTo>
                    <a:pt x="428" y="190"/>
                  </a:lnTo>
                  <a:lnTo>
                    <a:pt x="487" y="190"/>
                  </a:lnTo>
                  <a:lnTo>
                    <a:pt x="487" y="221"/>
                  </a:lnTo>
                  <a:lnTo>
                    <a:pt x="394" y="221"/>
                  </a:lnTo>
                  <a:lnTo>
                    <a:pt x="394" y="2"/>
                  </a:lnTo>
                  <a:lnTo>
                    <a:pt x="487" y="2"/>
                  </a:lnTo>
                  <a:lnTo>
                    <a:pt x="487" y="33"/>
                  </a:lnTo>
                  <a:lnTo>
                    <a:pt x="428" y="33"/>
                  </a:lnTo>
                  <a:lnTo>
                    <a:pt x="428" y="94"/>
                  </a:lnTo>
                  <a:close/>
                  <a:moveTo>
                    <a:pt x="264" y="2"/>
                  </a:moveTo>
                  <a:lnTo>
                    <a:pt x="371" y="2"/>
                  </a:lnTo>
                  <a:lnTo>
                    <a:pt x="371" y="33"/>
                  </a:lnTo>
                  <a:lnTo>
                    <a:pt x="335" y="33"/>
                  </a:lnTo>
                  <a:lnTo>
                    <a:pt x="335" y="221"/>
                  </a:lnTo>
                  <a:lnTo>
                    <a:pt x="300" y="221"/>
                  </a:lnTo>
                  <a:lnTo>
                    <a:pt x="300" y="33"/>
                  </a:lnTo>
                  <a:lnTo>
                    <a:pt x="264" y="33"/>
                  </a:lnTo>
                  <a:lnTo>
                    <a:pt x="264" y="2"/>
                  </a:lnTo>
                  <a:close/>
                  <a:moveTo>
                    <a:pt x="174" y="171"/>
                  </a:moveTo>
                  <a:lnTo>
                    <a:pt x="174" y="176"/>
                  </a:lnTo>
                  <a:lnTo>
                    <a:pt x="175" y="180"/>
                  </a:lnTo>
                  <a:lnTo>
                    <a:pt x="176" y="183"/>
                  </a:lnTo>
                  <a:lnTo>
                    <a:pt x="177" y="185"/>
                  </a:lnTo>
                  <a:lnTo>
                    <a:pt x="178" y="187"/>
                  </a:lnTo>
                  <a:lnTo>
                    <a:pt x="181" y="189"/>
                  </a:lnTo>
                  <a:lnTo>
                    <a:pt x="184" y="191"/>
                  </a:lnTo>
                  <a:lnTo>
                    <a:pt x="188" y="192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9" y="191"/>
                  </a:lnTo>
                  <a:lnTo>
                    <a:pt x="202" y="189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6"/>
                  </a:lnTo>
                  <a:lnTo>
                    <a:pt x="210" y="171"/>
                  </a:lnTo>
                  <a:lnTo>
                    <a:pt x="210" y="52"/>
                  </a:lnTo>
                  <a:lnTo>
                    <a:pt x="209" y="46"/>
                  </a:lnTo>
                  <a:lnTo>
                    <a:pt x="209" y="42"/>
                  </a:lnTo>
                  <a:lnTo>
                    <a:pt x="208" y="40"/>
                  </a:lnTo>
                  <a:lnTo>
                    <a:pt x="207" y="39"/>
                  </a:lnTo>
                  <a:lnTo>
                    <a:pt x="205" y="36"/>
                  </a:lnTo>
                  <a:lnTo>
                    <a:pt x="202" y="33"/>
                  </a:lnTo>
                  <a:lnTo>
                    <a:pt x="199" y="31"/>
                  </a:lnTo>
                  <a:lnTo>
                    <a:pt x="196" y="30"/>
                  </a:lnTo>
                  <a:lnTo>
                    <a:pt x="192" y="30"/>
                  </a:lnTo>
                  <a:lnTo>
                    <a:pt x="188" y="30"/>
                  </a:lnTo>
                  <a:lnTo>
                    <a:pt x="184" y="31"/>
                  </a:lnTo>
                  <a:lnTo>
                    <a:pt x="181" y="33"/>
                  </a:lnTo>
                  <a:lnTo>
                    <a:pt x="178" y="36"/>
                  </a:lnTo>
                  <a:lnTo>
                    <a:pt x="177" y="39"/>
                  </a:lnTo>
                  <a:lnTo>
                    <a:pt x="175" y="42"/>
                  </a:lnTo>
                  <a:lnTo>
                    <a:pt x="174" y="46"/>
                  </a:lnTo>
                  <a:lnTo>
                    <a:pt x="174" y="52"/>
                  </a:lnTo>
                  <a:lnTo>
                    <a:pt x="174" y="171"/>
                  </a:lnTo>
                  <a:close/>
                  <a:moveTo>
                    <a:pt x="139" y="55"/>
                  </a:moveTo>
                  <a:lnTo>
                    <a:pt x="140" y="48"/>
                  </a:lnTo>
                  <a:lnTo>
                    <a:pt x="140" y="42"/>
                  </a:lnTo>
                  <a:lnTo>
                    <a:pt x="141" y="37"/>
                  </a:lnTo>
                  <a:lnTo>
                    <a:pt x="142" y="33"/>
                  </a:lnTo>
                  <a:lnTo>
                    <a:pt x="143" y="31"/>
                  </a:lnTo>
                  <a:lnTo>
                    <a:pt x="144" y="26"/>
                  </a:lnTo>
                  <a:lnTo>
                    <a:pt x="147" y="22"/>
                  </a:lnTo>
                  <a:lnTo>
                    <a:pt x="150" y="18"/>
                  </a:lnTo>
                  <a:lnTo>
                    <a:pt x="153" y="13"/>
                  </a:lnTo>
                  <a:lnTo>
                    <a:pt x="156" y="10"/>
                  </a:lnTo>
                  <a:lnTo>
                    <a:pt x="160" y="7"/>
                  </a:lnTo>
                  <a:lnTo>
                    <a:pt x="164" y="5"/>
                  </a:lnTo>
                  <a:lnTo>
                    <a:pt x="170" y="3"/>
                  </a:lnTo>
                  <a:lnTo>
                    <a:pt x="174" y="1"/>
                  </a:lnTo>
                  <a:lnTo>
                    <a:pt x="179" y="0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0"/>
                  </a:lnTo>
                  <a:lnTo>
                    <a:pt x="203" y="0"/>
                  </a:lnTo>
                  <a:lnTo>
                    <a:pt x="209" y="1"/>
                  </a:lnTo>
                  <a:lnTo>
                    <a:pt x="214" y="3"/>
                  </a:lnTo>
                  <a:lnTo>
                    <a:pt x="218" y="5"/>
                  </a:lnTo>
                  <a:lnTo>
                    <a:pt x="224" y="7"/>
                  </a:lnTo>
                  <a:lnTo>
                    <a:pt x="227" y="10"/>
                  </a:lnTo>
                  <a:lnTo>
                    <a:pt x="231" y="13"/>
                  </a:lnTo>
                  <a:lnTo>
                    <a:pt x="233" y="18"/>
                  </a:lnTo>
                  <a:lnTo>
                    <a:pt x="236" y="22"/>
                  </a:lnTo>
                  <a:lnTo>
                    <a:pt x="238" y="26"/>
                  </a:lnTo>
                  <a:lnTo>
                    <a:pt x="240" y="31"/>
                  </a:lnTo>
                  <a:lnTo>
                    <a:pt x="242" y="37"/>
                  </a:lnTo>
                  <a:lnTo>
                    <a:pt x="243" y="42"/>
                  </a:lnTo>
                  <a:lnTo>
                    <a:pt x="244" y="48"/>
                  </a:lnTo>
                  <a:lnTo>
                    <a:pt x="244" y="55"/>
                  </a:lnTo>
                  <a:lnTo>
                    <a:pt x="244" y="168"/>
                  </a:lnTo>
                  <a:lnTo>
                    <a:pt x="244" y="175"/>
                  </a:lnTo>
                  <a:lnTo>
                    <a:pt x="243" y="180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0" y="192"/>
                  </a:lnTo>
                  <a:lnTo>
                    <a:pt x="238" y="196"/>
                  </a:lnTo>
                  <a:lnTo>
                    <a:pt x="236" y="202"/>
                  </a:lnTo>
                  <a:lnTo>
                    <a:pt x="233" y="205"/>
                  </a:lnTo>
                  <a:lnTo>
                    <a:pt x="231" y="209"/>
                  </a:lnTo>
                  <a:lnTo>
                    <a:pt x="227" y="212"/>
                  </a:lnTo>
                  <a:lnTo>
                    <a:pt x="224" y="215"/>
                  </a:lnTo>
                  <a:lnTo>
                    <a:pt x="218" y="217"/>
                  </a:lnTo>
                  <a:lnTo>
                    <a:pt x="214" y="220"/>
                  </a:lnTo>
                  <a:lnTo>
                    <a:pt x="209" y="222"/>
                  </a:lnTo>
                  <a:lnTo>
                    <a:pt x="203" y="223"/>
                  </a:lnTo>
                  <a:lnTo>
                    <a:pt x="198" y="223"/>
                  </a:lnTo>
                  <a:lnTo>
                    <a:pt x="192" y="224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4" y="222"/>
                  </a:lnTo>
                  <a:lnTo>
                    <a:pt x="170" y="220"/>
                  </a:lnTo>
                  <a:lnTo>
                    <a:pt x="164" y="217"/>
                  </a:lnTo>
                  <a:lnTo>
                    <a:pt x="160" y="215"/>
                  </a:lnTo>
                  <a:lnTo>
                    <a:pt x="156" y="212"/>
                  </a:lnTo>
                  <a:lnTo>
                    <a:pt x="153" y="209"/>
                  </a:lnTo>
                  <a:lnTo>
                    <a:pt x="150" y="205"/>
                  </a:lnTo>
                  <a:lnTo>
                    <a:pt x="147" y="202"/>
                  </a:lnTo>
                  <a:lnTo>
                    <a:pt x="144" y="196"/>
                  </a:lnTo>
                  <a:lnTo>
                    <a:pt x="143" y="192"/>
                  </a:lnTo>
                  <a:lnTo>
                    <a:pt x="141" y="187"/>
                  </a:lnTo>
                  <a:lnTo>
                    <a:pt x="140" y="180"/>
                  </a:lnTo>
                  <a:lnTo>
                    <a:pt x="140" y="175"/>
                  </a:lnTo>
                  <a:lnTo>
                    <a:pt x="139" y="168"/>
                  </a:lnTo>
                  <a:lnTo>
                    <a:pt x="139" y="55"/>
                  </a:lnTo>
                  <a:close/>
                  <a:moveTo>
                    <a:pt x="35" y="221"/>
                  </a:moveTo>
                  <a:lnTo>
                    <a:pt x="0" y="221"/>
                  </a:lnTo>
                  <a:lnTo>
                    <a:pt x="0" y="2"/>
                  </a:lnTo>
                  <a:lnTo>
                    <a:pt x="35" y="2"/>
                  </a:lnTo>
                  <a:lnTo>
                    <a:pt x="35" y="96"/>
                  </a:lnTo>
                  <a:lnTo>
                    <a:pt x="74" y="96"/>
                  </a:lnTo>
                  <a:lnTo>
                    <a:pt x="74" y="2"/>
                  </a:lnTo>
                  <a:lnTo>
                    <a:pt x="109" y="2"/>
                  </a:lnTo>
                  <a:lnTo>
                    <a:pt x="109" y="221"/>
                  </a:lnTo>
                  <a:lnTo>
                    <a:pt x="74" y="221"/>
                  </a:lnTo>
                  <a:lnTo>
                    <a:pt x="74" y="126"/>
                  </a:lnTo>
                  <a:lnTo>
                    <a:pt x="35" y="126"/>
                  </a:lnTo>
                  <a:lnTo>
                    <a:pt x="35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898192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954" r:id="rId20"/>
    <p:sldLayoutId id="2147483729" r:id="rId21"/>
    <p:sldLayoutId id="2147483730" r:id="rId22"/>
    <p:sldLayoutId id="2147483731" r:id="rId23"/>
    <p:sldLayoutId id="2147483732" r:id="rId24"/>
    <p:sldLayoutId id="2147483733" r:id="rId25"/>
    <p:sldLayoutId id="2147483734" r:id="rId26"/>
    <p:sldLayoutId id="2147483735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BD513283-29A2-4C78-A67A-DA24717EF931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Freeform 7"/>
          <p:cNvSpPr>
            <a:spLocks noEditPoints="1"/>
          </p:cNvSpPr>
          <p:nvPr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9" name="Group 8"/>
          <p:cNvGrpSpPr/>
          <p:nvPr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1" name="Round Same Side Corner Rectangle 10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42" name="Freeform 38"/>
            <p:cNvSpPr>
              <a:spLocks noEditPoints="1"/>
            </p:cNvSpPr>
            <p:nvPr userDrawn="1"/>
          </p:nvSpPr>
          <p:spPr bwMode="auto">
            <a:xfrm>
              <a:off x="8873542" y="6476771"/>
              <a:ext cx="1942286" cy="211200"/>
            </a:xfrm>
            <a:custGeom>
              <a:avLst/>
              <a:gdLst>
                <a:gd name="T0" fmla="*/ 1940 w 2061"/>
                <a:gd name="T1" fmla="*/ 221 h 224"/>
                <a:gd name="T2" fmla="*/ 1890 w 2061"/>
                <a:gd name="T3" fmla="*/ 103 h 224"/>
                <a:gd name="T4" fmla="*/ 1886 w 2061"/>
                <a:gd name="T5" fmla="*/ 36 h 224"/>
                <a:gd name="T6" fmla="*/ 1924 w 2061"/>
                <a:gd name="T7" fmla="*/ 107 h 224"/>
                <a:gd name="T8" fmla="*/ 1888 w 2061"/>
                <a:gd name="T9" fmla="*/ 138 h 224"/>
                <a:gd name="T10" fmla="*/ 1894 w 2061"/>
                <a:gd name="T11" fmla="*/ 4 h 224"/>
                <a:gd name="T12" fmla="*/ 1927 w 2061"/>
                <a:gd name="T13" fmla="*/ 38 h 224"/>
                <a:gd name="T14" fmla="*/ 1762 w 2061"/>
                <a:gd name="T15" fmla="*/ 103 h 224"/>
                <a:gd name="T16" fmla="*/ 1759 w 2061"/>
                <a:gd name="T17" fmla="*/ 36 h 224"/>
                <a:gd name="T18" fmla="*/ 1798 w 2061"/>
                <a:gd name="T19" fmla="*/ 107 h 224"/>
                <a:gd name="T20" fmla="*/ 1762 w 2061"/>
                <a:gd name="T21" fmla="*/ 138 h 224"/>
                <a:gd name="T22" fmla="*/ 1767 w 2061"/>
                <a:gd name="T23" fmla="*/ 4 h 224"/>
                <a:gd name="T24" fmla="*/ 1799 w 2061"/>
                <a:gd name="T25" fmla="*/ 38 h 224"/>
                <a:gd name="T26" fmla="*/ 1604 w 2061"/>
                <a:gd name="T27" fmla="*/ 188 h 224"/>
                <a:gd name="T28" fmla="*/ 1634 w 2061"/>
                <a:gd name="T29" fmla="*/ 180 h 224"/>
                <a:gd name="T30" fmla="*/ 1662 w 2061"/>
                <a:gd name="T31" fmla="*/ 197 h 224"/>
                <a:gd name="T32" fmla="*/ 1627 w 2061"/>
                <a:gd name="T33" fmla="*/ 223 h 224"/>
                <a:gd name="T34" fmla="*/ 1578 w 2061"/>
                <a:gd name="T35" fmla="*/ 209 h 224"/>
                <a:gd name="T36" fmla="*/ 1599 w 2061"/>
                <a:gd name="T37" fmla="*/ 2 h 224"/>
                <a:gd name="T38" fmla="*/ 1421 w 2061"/>
                <a:gd name="T39" fmla="*/ 221 h 224"/>
                <a:gd name="T40" fmla="*/ 1328 w 2061"/>
                <a:gd name="T41" fmla="*/ 97 h 224"/>
                <a:gd name="T42" fmla="*/ 1204 w 2061"/>
                <a:gd name="T43" fmla="*/ 125 h 224"/>
                <a:gd name="T44" fmla="*/ 1077 w 2061"/>
                <a:gd name="T45" fmla="*/ 134 h 224"/>
                <a:gd name="T46" fmla="*/ 1146 w 2061"/>
                <a:gd name="T47" fmla="*/ 221 h 224"/>
                <a:gd name="T48" fmla="*/ 932 w 2061"/>
                <a:gd name="T49" fmla="*/ 221 h 224"/>
                <a:gd name="T50" fmla="*/ 705 w 2061"/>
                <a:gd name="T51" fmla="*/ 0 h 224"/>
                <a:gd name="T52" fmla="*/ 748 w 2061"/>
                <a:gd name="T53" fmla="*/ 22 h 224"/>
                <a:gd name="T54" fmla="*/ 723 w 2061"/>
                <a:gd name="T55" fmla="*/ 46 h 224"/>
                <a:gd name="T56" fmla="*/ 698 w 2061"/>
                <a:gd name="T57" fmla="*/ 32 h 224"/>
                <a:gd name="T58" fmla="*/ 693 w 2061"/>
                <a:gd name="T59" fmla="*/ 70 h 224"/>
                <a:gd name="T60" fmla="*/ 754 w 2061"/>
                <a:gd name="T61" fmla="*/ 148 h 224"/>
                <a:gd name="T62" fmla="*/ 746 w 2061"/>
                <a:gd name="T63" fmla="*/ 205 h 224"/>
                <a:gd name="T64" fmla="*/ 705 w 2061"/>
                <a:gd name="T65" fmla="*/ 224 h 224"/>
                <a:gd name="T66" fmla="*/ 661 w 2061"/>
                <a:gd name="T67" fmla="*/ 202 h 224"/>
                <a:gd name="T68" fmla="*/ 686 w 2061"/>
                <a:gd name="T69" fmla="*/ 176 h 224"/>
                <a:gd name="T70" fmla="*/ 711 w 2061"/>
                <a:gd name="T71" fmla="*/ 191 h 224"/>
                <a:gd name="T72" fmla="*/ 718 w 2061"/>
                <a:gd name="T73" fmla="*/ 152 h 224"/>
                <a:gd name="T74" fmla="*/ 658 w 2061"/>
                <a:gd name="T75" fmla="*/ 76 h 224"/>
                <a:gd name="T76" fmla="*/ 664 w 2061"/>
                <a:gd name="T77" fmla="*/ 18 h 224"/>
                <a:gd name="T78" fmla="*/ 705 w 2061"/>
                <a:gd name="T79" fmla="*/ 0 h 224"/>
                <a:gd name="T80" fmla="*/ 494 w 2061"/>
                <a:gd name="T81" fmla="*/ 185 h 224"/>
                <a:gd name="T82" fmla="*/ 524 w 2061"/>
                <a:gd name="T83" fmla="*/ 185 h 224"/>
                <a:gd name="T84" fmla="*/ 520 w 2061"/>
                <a:gd name="T85" fmla="*/ 33 h 224"/>
                <a:gd name="T86" fmla="*/ 491 w 2061"/>
                <a:gd name="T87" fmla="*/ 46 h 224"/>
                <a:gd name="T88" fmla="*/ 464 w 2061"/>
                <a:gd name="T89" fmla="*/ 22 h 224"/>
                <a:gd name="T90" fmla="*/ 509 w 2061"/>
                <a:gd name="T91" fmla="*/ 0 h 224"/>
                <a:gd name="T92" fmla="*/ 554 w 2061"/>
                <a:gd name="T93" fmla="*/ 22 h 224"/>
                <a:gd name="T94" fmla="*/ 559 w 2061"/>
                <a:gd name="T95" fmla="*/ 187 h 224"/>
                <a:gd name="T96" fmla="*/ 532 w 2061"/>
                <a:gd name="T97" fmla="*/ 220 h 224"/>
                <a:gd name="T98" fmla="*/ 478 w 2061"/>
                <a:gd name="T99" fmla="*/ 215 h 224"/>
                <a:gd name="T100" fmla="*/ 457 w 2061"/>
                <a:gd name="T101" fmla="*/ 168 h 224"/>
                <a:gd name="T102" fmla="*/ 439 w 2061"/>
                <a:gd name="T103" fmla="*/ 2 h 224"/>
                <a:gd name="T104" fmla="*/ 157 w 2061"/>
                <a:gd name="T105" fmla="*/ 33 h 224"/>
                <a:gd name="T106" fmla="*/ 191 w 2061"/>
                <a:gd name="T107" fmla="*/ 83 h 224"/>
                <a:gd name="T108" fmla="*/ 178 w 2061"/>
                <a:gd name="T109" fmla="*/ 33 h 224"/>
                <a:gd name="T110" fmla="*/ 189 w 2061"/>
                <a:gd name="T111" fmla="*/ 141 h 224"/>
                <a:gd name="T112" fmla="*/ 123 w 2061"/>
                <a:gd name="T113" fmla="*/ 2 h 224"/>
                <a:gd name="T114" fmla="*/ 218 w 2061"/>
                <a:gd name="T115" fmla="*/ 18 h 224"/>
                <a:gd name="T116" fmla="*/ 225 w 2061"/>
                <a:gd name="T117" fmla="*/ 85 h 224"/>
                <a:gd name="T118" fmla="*/ 210 w 2061"/>
                <a:gd name="T119" fmla="*/ 117 h 224"/>
                <a:gd name="T120" fmla="*/ 227 w 2061"/>
                <a:gd name="T121" fmla="*/ 194 h 224"/>
                <a:gd name="T122" fmla="*/ 35 w 2061"/>
                <a:gd name="T123" fmla="*/ 12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1" h="224">
                  <a:moveTo>
                    <a:pt x="1982" y="152"/>
                  </a:moveTo>
                  <a:lnTo>
                    <a:pt x="2015" y="152"/>
                  </a:lnTo>
                  <a:lnTo>
                    <a:pt x="1998" y="41"/>
                  </a:lnTo>
                  <a:lnTo>
                    <a:pt x="1982" y="152"/>
                  </a:lnTo>
                  <a:close/>
                  <a:moveTo>
                    <a:pt x="2061" y="221"/>
                  </a:moveTo>
                  <a:lnTo>
                    <a:pt x="2026" y="221"/>
                  </a:lnTo>
                  <a:lnTo>
                    <a:pt x="2020" y="181"/>
                  </a:lnTo>
                  <a:lnTo>
                    <a:pt x="1977" y="181"/>
                  </a:lnTo>
                  <a:lnTo>
                    <a:pt x="1972" y="221"/>
                  </a:lnTo>
                  <a:lnTo>
                    <a:pt x="1940" y="221"/>
                  </a:lnTo>
                  <a:lnTo>
                    <a:pt x="1975" y="2"/>
                  </a:lnTo>
                  <a:lnTo>
                    <a:pt x="2026" y="2"/>
                  </a:lnTo>
                  <a:lnTo>
                    <a:pt x="2061" y="221"/>
                  </a:lnTo>
                  <a:close/>
                  <a:moveTo>
                    <a:pt x="1860" y="33"/>
                  </a:moveTo>
                  <a:lnTo>
                    <a:pt x="1860" y="107"/>
                  </a:lnTo>
                  <a:lnTo>
                    <a:pt x="1877" y="107"/>
                  </a:lnTo>
                  <a:lnTo>
                    <a:pt x="1880" y="107"/>
                  </a:lnTo>
                  <a:lnTo>
                    <a:pt x="1884" y="106"/>
                  </a:lnTo>
                  <a:lnTo>
                    <a:pt x="1886" y="104"/>
                  </a:lnTo>
                  <a:lnTo>
                    <a:pt x="1890" y="103"/>
                  </a:lnTo>
                  <a:lnTo>
                    <a:pt x="1891" y="100"/>
                  </a:lnTo>
                  <a:lnTo>
                    <a:pt x="1893" y="96"/>
                  </a:lnTo>
                  <a:lnTo>
                    <a:pt x="1893" y="92"/>
                  </a:lnTo>
                  <a:lnTo>
                    <a:pt x="1894" y="86"/>
                  </a:lnTo>
                  <a:lnTo>
                    <a:pt x="1894" y="53"/>
                  </a:lnTo>
                  <a:lnTo>
                    <a:pt x="1893" y="48"/>
                  </a:lnTo>
                  <a:lnTo>
                    <a:pt x="1893" y="44"/>
                  </a:lnTo>
                  <a:lnTo>
                    <a:pt x="1891" y="40"/>
                  </a:lnTo>
                  <a:lnTo>
                    <a:pt x="1890" y="38"/>
                  </a:lnTo>
                  <a:lnTo>
                    <a:pt x="1886" y="36"/>
                  </a:lnTo>
                  <a:lnTo>
                    <a:pt x="1884" y="34"/>
                  </a:lnTo>
                  <a:lnTo>
                    <a:pt x="1880" y="33"/>
                  </a:lnTo>
                  <a:lnTo>
                    <a:pt x="1877" y="33"/>
                  </a:lnTo>
                  <a:lnTo>
                    <a:pt x="1860" y="33"/>
                  </a:lnTo>
                  <a:close/>
                  <a:moveTo>
                    <a:pt x="1928" y="56"/>
                  </a:moveTo>
                  <a:lnTo>
                    <a:pt x="1928" y="84"/>
                  </a:lnTo>
                  <a:lnTo>
                    <a:pt x="1928" y="91"/>
                  </a:lnTo>
                  <a:lnTo>
                    <a:pt x="1928" y="97"/>
                  </a:lnTo>
                  <a:lnTo>
                    <a:pt x="1927" y="102"/>
                  </a:lnTo>
                  <a:lnTo>
                    <a:pt x="1924" y="107"/>
                  </a:lnTo>
                  <a:lnTo>
                    <a:pt x="1923" y="113"/>
                  </a:lnTo>
                  <a:lnTo>
                    <a:pt x="1920" y="117"/>
                  </a:lnTo>
                  <a:lnTo>
                    <a:pt x="1918" y="121"/>
                  </a:lnTo>
                  <a:lnTo>
                    <a:pt x="1915" y="124"/>
                  </a:lnTo>
                  <a:lnTo>
                    <a:pt x="1912" y="128"/>
                  </a:lnTo>
                  <a:lnTo>
                    <a:pt x="1908" y="131"/>
                  </a:lnTo>
                  <a:lnTo>
                    <a:pt x="1903" y="133"/>
                  </a:lnTo>
                  <a:lnTo>
                    <a:pt x="1899" y="135"/>
                  </a:lnTo>
                  <a:lnTo>
                    <a:pt x="1894" y="136"/>
                  </a:lnTo>
                  <a:lnTo>
                    <a:pt x="1888" y="138"/>
                  </a:lnTo>
                  <a:lnTo>
                    <a:pt x="1883" y="138"/>
                  </a:lnTo>
                  <a:lnTo>
                    <a:pt x="1877" y="138"/>
                  </a:lnTo>
                  <a:lnTo>
                    <a:pt x="1860" y="138"/>
                  </a:lnTo>
                  <a:lnTo>
                    <a:pt x="1860" y="221"/>
                  </a:lnTo>
                  <a:lnTo>
                    <a:pt x="1826" y="221"/>
                  </a:lnTo>
                  <a:lnTo>
                    <a:pt x="1826" y="2"/>
                  </a:lnTo>
                  <a:lnTo>
                    <a:pt x="1877" y="2"/>
                  </a:lnTo>
                  <a:lnTo>
                    <a:pt x="1883" y="2"/>
                  </a:lnTo>
                  <a:lnTo>
                    <a:pt x="1888" y="3"/>
                  </a:lnTo>
                  <a:lnTo>
                    <a:pt x="1894" y="4"/>
                  </a:lnTo>
                  <a:lnTo>
                    <a:pt x="1899" y="5"/>
                  </a:lnTo>
                  <a:lnTo>
                    <a:pt x="1903" y="7"/>
                  </a:lnTo>
                  <a:lnTo>
                    <a:pt x="1908" y="9"/>
                  </a:lnTo>
                  <a:lnTo>
                    <a:pt x="1912" y="12"/>
                  </a:lnTo>
                  <a:lnTo>
                    <a:pt x="1915" y="15"/>
                  </a:lnTo>
                  <a:lnTo>
                    <a:pt x="1918" y="20"/>
                  </a:lnTo>
                  <a:lnTo>
                    <a:pt x="1920" y="23"/>
                  </a:lnTo>
                  <a:lnTo>
                    <a:pt x="1923" y="28"/>
                  </a:lnTo>
                  <a:lnTo>
                    <a:pt x="1924" y="32"/>
                  </a:lnTo>
                  <a:lnTo>
                    <a:pt x="1927" y="38"/>
                  </a:lnTo>
                  <a:lnTo>
                    <a:pt x="1928" y="43"/>
                  </a:lnTo>
                  <a:lnTo>
                    <a:pt x="1928" y="49"/>
                  </a:lnTo>
                  <a:lnTo>
                    <a:pt x="1928" y="56"/>
                  </a:lnTo>
                  <a:close/>
                  <a:moveTo>
                    <a:pt x="1733" y="33"/>
                  </a:moveTo>
                  <a:lnTo>
                    <a:pt x="1733" y="107"/>
                  </a:lnTo>
                  <a:lnTo>
                    <a:pt x="1749" y="107"/>
                  </a:lnTo>
                  <a:lnTo>
                    <a:pt x="1753" y="107"/>
                  </a:lnTo>
                  <a:lnTo>
                    <a:pt x="1756" y="106"/>
                  </a:lnTo>
                  <a:lnTo>
                    <a:pt x="1759" y="104"/>
                  </a:lnTo>
                  <a:lnTo>
                    <a:pt x="1762" y="103"/>
                  </a:lnTo>
                  <a:lnTo>
                    <a:pt x="1764" y="100"/>
                  </a:lnTo>
                  <a:lnTo>
                    <a:pt x="1765" y="96"/>
                  </a:lnTo>
                  <a:lnTo>
                    <a:pt x="1766" y="92"/>
                  </a:lnTo>
                  <a:lnTo>
                    <a:pt x="1766" y="86"/>
                  </a:lnTo>
                  <a:lnTo>
                    <a:pt x="1766" y="53"/>
                  </a:lnTo>
                  <a:lnTo>
                    <a:pt x="1766" y="48"/>
                  </a:lnTo>
                  <a:lnTo>
                    <a:pt x="1765" y="44"/>
                  </a:lnTo>
                  <a:lnTo>
                    <a:pt x="1764" y="40"/>
                  </a:lnTo>
                  <a:lnTo>
                    <a:pt x="1762" y="38"/>
                  </a:lnTo>
                  <a:lnTo>
                    <a:pt x="1759" y="36"/>
                  </a:lnTo>
                  <a:lnTo>
                    <a:pt x="1756" y="34"/>
                  </a:lnTo>
                  <a:lnTo>
                    <a:pt x="1753" y="33"/>
                  </a:lnTo>
                  <a:lnTo>
                    <a:pt x="1749" y="33"/>
                  </a:lnTo>
                  <a:lnTo>
                    <a:pt x="1733" y="33"/>
                  </a:lnTo>
                  <a:close/>
                  <a:moveTo>
                    <a:pt x="1801" y="56"/>
                  </a:moveTo>
                  <a:lnTo>
                    <a:pt x="1801" y="84"/>
                  </a:lnTo>
                  <a:lnTo>
                    <a:pt x="1801" y="91"/>
                  </a:lnTo>
                  <a:lnTo>
                    <a:pt x="1800" y="97"/>
                  </a:lnTo>
                  <a:lnTo>
                    <a:pt x="1799" y="102"/>
                  </a:lnTo>
                  <a:lnTo>
                    <a:pt x="1798" y="107"/>
                  </a:lnTo>
                  <a:lnTo>
                    <a:pt x="1795" y="113"/>
                  </a:lnTo>
                  <a:lnTo>
                    <a:pt x="1793" y="117"/>
                  </a:lnTo>
                  <a:lnTo>
                    <a:pt x="1790" y="121"/>
                  </a:lnTo>
                  <a:lnTo>
                    <a:pt x="1788" y="124"/>
                  </a:lnTo>
                  <a:lnTo>
                    <a:pt x="1784" y="128"/>
                  </a:lnTo>
                  <a:lnTo>
                    <a:pt x="1781" y="131"/>
                  </a:lnTo>
                  <a:lnTo>
                    <a:pt x="1776" y="133"/>
                  </a:lnTo>
                  <a:lnTo>
                    <a:pt x="1771" y="135"/>
                  </a:lnTo>
                  <a:lnTo>
                    <a:pt x="1767" y="136"/>
                  </a:lnTo>
                  <a:lnTo>
                    <a:pt x="1762" y="138"/>
                  </a:lnTo>
                  <a:lnTo>
                    <a:pt x="1755" y="138"/>
                  </a:lnTo>
                  <a:lnTo>
                    <a:pt x="1749" y="138"/>
                  </a:lnTo>
                  <a:lnTo>
                    <a:pt x="1733" y="138"/>
                  </a:lnTo>
                  <a:lnTo>
                    <a:pt x="1733" y="221"/>
                  </a:lnTo>
                  <a:lnTo>
                    <a:pt x="1698" y="221"/>
                  </a:lnTo>
                  <a:lnTo>
                    <a:pt x="1698" y="2"/>
                  </a:lnTo>
                  <a:lnTo>
                    <a:pt x="1749" y="2"/>
                  </a:lnTo>
                  <a:lnTo>
                    <a:pt x="1755" y="2"/>
                  </a:lnTo>
                  <a:lnTo>
                    <a:pt x="1762" y="3"/>
                  </a:lnTo>
                  <a:lnTo>
                    <a:pt x="1767" y="4"/>
                  </a:lnTo>
                  <a:lnTo>
                    <a:pt x="1771" y="5"/>
                  </a:lnTo>
                  <a:lnTo>
                    <a:pt x="1776" y="7"/>
                  </a:lnTo>
                  <a:lnTo>
                    <a:pt x="1781" y="9"/>
                  </a:lnTo>
                  <a:lnTo>
                    <a:pt x="1784" y="12"/>
                  </a:lnTo>
                  <a:lnTo>
                    <a:pt x="1788" y="15"/>
                  </a:lnTo>
                  <a:lnTo>
                    <a:pt x="1790" y="20"/>
                  </a:lnTo>
                  <a:lnTo>
                    <a:pt x="1793" y="23"/>
                  </a:lnTo>
                  <a:lnTo>
                    <a:pt x="1795" y="28"/>
                  </a:lnTo>
                  <a:lnTo>
                    <a:pt x="1798" y="32"/>
                  </a:lnTo>
                  <a:lnTo>
                    <a:pt x="1799" y="38"/>
                  </a:lnTo>
                  <a:lnTo>
                    <a:pt x="1800" y="43"/>
                  </a:lnTo>
                  <a:lnTo>
                    <a:pt x="1801" y="49"/>
                  </a:lnTo>
                  <a:lnTo>
                    <a:pt x="1801" y="56"/>
                  </a:lnTo>
                  <a:close/>
                  <a:moveTo>
                    <a:pt x="1599" y="2"/>
                  </a:moveTo>
                  <a:lnTo>
                    <a:pt x="1599" y="171"/>
                  </a:lnTo>
                  <a:lnTo>
                    <a:pt x="1599" y="176"/>
                  </a:lnTo>
                  <a:lnTo>
                    <a:pt x="1600" y="180"/>
                  </a:lnTo>
                  <a:lnTo>
                    <a:pt x="1601" y="183"/>
                  </a:lnTo>
                  <a:lnTo>
                    <a:pt x="1602" y="185"/>
                  </a:lnTo>
                  <a:lnTo>
                    <a:pt x="1604" y="188"/>
                  </a:lnTo>
                  <a:lnTo>
                    <a:pt x="1606" y="190"/>
                  </a:lnTo>
                  <a:lnTo>
                    <a:pt x="1609" y="191"/>
                  </a:lnTo>
                  <a:lnTo>
                    <a:pt x="1612" y="192"/>
                  </a:lnTo>
                  <a:lnTo>
                    <a:pt x="1617" y="192"/>
                  </a:lnTo>
                  <a:lnTo>
                    <a:pt x="1621" y="192"/>
                  </a:lnTo>
                  <a:lnTo>
                    <a:pt x="1624" y="191"/>
                  </a:lnTo>
                  <a:lnTo>
                    <a:pt x="1627" y="190"/>
                  </a:lnTo>
                  <a:lnTo>
                    <a:pt x="1629" y="188"/>
                  </a:lnTo>
                  <a:lnTo>
                    <a:pt x="1631" y="185"/>
                  </a:lnTo>
                  <a:lnTo>
                    <a:pt x="1634" y="180"/>
                  </a:lnTo>
                  <a:lnTo>
                    <a:pt x="1634" y="176"/>
                  </a:lnTo>
                  <a:lnTo>
                    <a:pt x="1635" y="171"/>
                  </a:lnTo>
                  <a:lnTo>
                    <a:pt x="1635" y="2"/>
                  </a:lnTo>
                  <a:lnTo>
                    <a:pt x="1667" y="2"/>
                  </a:lnTo>
                  <a:lnTo>
                    <a:pt x="1667" y="169"/>
                  </a:lnTo>
                  <a:lnTo>
                    <a:pt x="1666" y="175"/>
                  </a:lnTo>
                  <a:lnTo>
                    <a:pt x="1666" y="181"/>
                  </a:lnTo>
                  <a:lnTo>
                    <a:pt x="1665" y="187"/>
                  </a:lnTo>
                  <a:lnTo>
                    <a:pt x="1663" y="192"/>
                  </a:lnTo>
                  <a:lnTo>
                    <a:pt x="1662" y="197"/>
                  </a:lnTo>
                  <a:lnTo>
                    <a:pt x="1660" y="202"/>
                  </a:lnTo>
                  <a:lnTo>
                    <a:pt x="1657" y="206"/>
                  </a:lnTo>
                  <a:lnTo>
                    <a:pt x="1654" y="209"/>
                  </a:lnTo>
                  <a:lnTo>
                    <a:pt x="1651" y="212"/>
                  </a:lnTo>
                  <a:lnTo>
                    <a:pt x="1646" y="215"/>
                  </a:lnTo>
                  <a:lnTo>
                    <a:pt x="1644" y="216"/>
                  </a:lnTo>
                  <a:lnTo>
                    <a:pt x="1642" y="218"/>
                  </a:lnTo>
                  <a:lnTo>
                    <a:pt x="1638" y="220"/>
                  </a:lnTo>
                  <a:lnTo>
                    <a:pt x="1633" y="222"/>
                  </a:lnTo>
                  <a:lnTo>
                    <a:pt x="1627" y="223"/>
                  </a:lnTo>
                  <a:lnTo>
                    <a:pt x="1622" y="224"/>
                  </a:lnTo>
                  <a:lnTo>
                    <a:pt x="1616" y="224"/>
                  </a:lnTo>
                  <a:lnTo>
                    <a:pt x="1609" y="224"/>
                  </a:lnTo>
                  <a:lnTo>
                    <a:pt x="1604" y="223"/>
                  </a:lnTo>
                  <a:lnTo>
                    <a:pt x="1599" y="222"/>
                  </a:lnTo>
                  <a:lnTo>
                    <a:pt x="1593" y="220"/>
                  </a:lnTo>
                  <a:lnTo>
                    <a:pt x="1589" y="218"/>
                  </a:lnTo>
                  <a:lnTo>
                    <a:pt x="1585" y="215"/>
                  </a:lnTo>
                  <a:lnTo>
                    <a:pt x="1581" y="212"/>
                  </a:lnTo>
                  <a:lnTo>
                    <a:pt x="1578" y="209"/>
                  </a:lnTo>
                  <a:lnTo>
                    <a:pt x="1574" y="206"/>
                  </a:lnTo>
                  <a:lnTo>
                    <a:pt x="1571" y="202"/>
                  </a:lnTo>
                  <a:lnTo>
                    <a:pt x="1569" y="197"/>
                  </a:lnTo>
                  <a:lnTo>
                    <a:pt x="1567" y="192"/>
                  </a:lnTo>
                  <a:lnTo>
                    <a:pt x="1566" y="187"/>
                  </a:lnTo>
                  <a:lnTo>
                    <a:pt x="1565" y="181"/>
                  </a:lnTo>
                  <a:lnTo>
                    <a:pt x="1565" y="175"/>
                  </a:lnTo>
                  <a:lnTo>
                    <a:pt x="1564" y="169"/>
                  </a:lnTo>
                  <a:lnTo>
                    <a:pt x="1564" y="2"/>
                  </a:lnTo>
                  <a:lnTo>
                    <a:pt x="1599" y="2"/>
                  </a:lnTo>
                  <a:close/>
                  <a:moveTo>
                    <a:pt x="1463" y="152"/>
                  </a:moveTo>
                  <a:lnTo>
                    <a:pt x="1496" y="152"/>
                  </a:lnTo>
                  <a:lnTo>
                    <a:pt x="1480" y="41"/>
                  </a:lnTo>
                  <a:lnTo>
                    <a:pt x="1463" y="152"/>
                  </a:lnTo>
                  <a:close/>
                  <a:moveTo>
                    <a:pt x="1542" y="221"/>
                  </a:moveTo>
                  <a:lnTo>
                    <a:pt x="1508" y="221"/>
                  </a:lnTo>
                  <a:lnTo>
                    <a:pt x="1501" y="181"/>
                  </a:lnTo>
                  <a:lnTo>
                    <a:pt x="1459" y="181"/>
                  </a:lnTo>
                  <a:lnTo>
                    <a:pt x="1453" y="221"/>
                  </a:lnTo>
                  <a:lnTo>
                    <a:pt x="1421" y="221"/>
                  </a:lnTo>
                  <a:lnTo>
                    <a:pt x="1457" y="2"/>
                  </a:lnTo>
                  <a:lnTo>
                    <a:pt x="1507" y="2"/>
                  </a:lnTo>
                  <a:lnTo>
                    <a:pt x="1542" y="221"/>
                  </a:lnTo>
                  <a:close/>
                  <a:moveTo>
                    <a:pt x="1339" y="134"/>
                  </a:moveTo>
                  <a:lnTo>
                    <a:pt x="1328" y="154"/>
                  </a:lnTo>
                  <a:lnTo>
                    <a:pt x="1328" y="221"/>
                  </a:lnTo>
                  <a:lnTo>
                    <a:pt x="1293" y="221"/>
                  </a:lnTo>
                  <a:lnTo>
                    <a:pt x="1293" y="2"/>
                  </a:lnTo>
                  <a:lnTo>
                    <a:pt x="1328" y="2"/>
                  </a:lnTo>
                  <a:lnTo>
                    <a:pt x="1328" y="97"/>
                  </a:lnTo>
                  <a:lnTo>
                    <a:pt x="1372" y="2"/>
                  </a:lnTo>
                  <a:lnTo>
                    <a:pt x="1407" y="2"/>
                  </a:lnTo>
                  <a:lnTo>
                    <a:pt x="1359" y="99"/>
                  </a:lnTo>
                  <a:lnTo>
                    <a:pt x="1407" y="221"/>
                  </a:lnTo>
                  <a:lnTo>
                    <a:pt x="1371" y="221"/>
                  </a:lnTo>
                  <a:lnTo>
                    <a:pt x="1339" y="134"/>
                  </a:lnTo>
                  <a:close/>
                  <a:moveTo>
                    <a:pt x="1204" y="94"/>
                  </a:moveTo>
                  <a:lnTo>
                    <a:pt x="1252" y="94"/>
                  </a:lnTo>
                  <a:lnTo>
                    <a:pt x="1252" y="125"/>
                  </a:lnTo>
                  <a:lnTo>
                    <a:pt x="1204" y="125"/>
                  </a:lnTo>
                  <a:lnTo>
                    <a:pt x="1204" y="190"/>
                  </a:lnTo>
                  <a:lnTo>
                    <a:pt x="1263" y="190"/>
                  </a:lnTo>
                  <a:lnTo>
                    <a:pt x="1263" y="221"/>
                  </a:lnTo>
                  <a:lnTo>
                    <a:pt x="1170" y="221"/>
                  </a:lnTo>
                  <a:lnTo>
                    <a:pt x="1170" y="2"/>
                  </a:lnTo>
                  <a:lnTo>
                    <a:pt x="1263" y="2"/>
                  </a:lnTo>
                  <a:lnTo>
                    <a:pt x="1263" y="33"/>
                  </a:lnTo>
                  <a:lnTo>
                    <a:pt x="1204" y="33"/>
                  </a:lnTo>
                  <a:lnTo>
                    <a:pt x="1204" y="94"/>
                  </a:lnTo>
                  <a:close/>
                  <a:moveTo>
                    <a:pt x="1077" y="134"/>
                  </a:moveTo>
                  <a:lnTo>
                    <a:pt x="1067" y="154"/>
                  </a:lnTo>
                  <a:lnTo>
                    <a:pt x="1067" y="221"/>
                  </a:lnTo>
                  <a:lnTo>
                    <a:pt x="1033" y="221"/>
                  </a:lnTo>
                  <a:lnTo>
                    <a:pt x="1033" y="2"/>
                  </a:lnTo>
                  <a:lnTo>
                    <a:pt x="1067" y="2"/>
                  </a:lnTo>
                  <a:lnTo>
                    <a:pt x="1067" y="97"/>
                  </a:lnTo>
                  <a:lnTo>
                    <a:pt x="1112" y="2"/>
                  </a:lnTo>
                  <a:lnTo>
                    <a:pt x="1146" y="2"/>
                  </a:lnTo>
                  <a:lnTo>
                    <a:pt x="1098" y="99"/>
                  </a:lnTo>
                  <a:lnTo>
                    <a:pt x="1146" y="221"/>
                  </a:lnTo>
                  <a:lnTo>
                    <a:pt x="1111" y="221"/>
                  </a:lnTo>
                  <a:lnTo>
                    <a:pt x="1077" y="134"/>
                  </a:lnTo>
                  <a:close/>
                  <a:moveTo>
                    <a:pt x="965" y="2"/>
                  </a:moveTo>
                  <a:lnTo>
                    <a:pt x="999" y="2"/>
                  </a:lnTo>
                  <a:lnTo>
                    <a:pt x="999" y="221"/>
                  </a:lnTo>
                  <a:lnTo>
                    <a:pt x="965" y="221"/>
                  </a:lnTo>
                  <a:lnTo>
                    <a:pt x="965" y="2"/>
                  </a:lnTo>
                  <a:close/>
                  <a:moveTo>
                    <a:pt x="898" y="2"/>
                  </a:moveTo>
                  <a:lnTo>
                    <a:pt x="932" y="2"/>
                  </a:lnTo>
                  <a:lnTo>
                    <a:pt x="932" y="221"/>
                  </a:lnTo>
                  <a:lnTo>
                    <a:pt x="898" y="221"/>
                  </a:lnTo>
                  <a:lnTo>
                    <a:pt x="898" y="2"/>
                  </a:lnTo>
                  <a:close/>
                  <a:moveTo>
                    <a:pt x="783" y="2"/>
                  </a:moveTo>
                  <a:lnTo>
                    <a:pt x="818" y="2"/>
                  </a:lnTo>
                  <a:lnTo>
                    <a:pt x="818" y="190"/>
                  </a:lnTo>
                  <a:lnTo>
                    <a:pt x="875" y="190"/>
                  </a:lnTo>
                  <a:lnTo>
                    <a:pt x="875" y="221"/>
                  </a:lnTo>
                  <a:lnTo>
                    <a:pt x="783" y="221"/>
                  </a:lnTo>
                  <a:lnTo>
                    <a:pt x="783" y="2"/>
                  </a:lnTo>
                  <a:close/>
                  <a:moveTo>
                    <a:pt x="705" y="0"/>
                  </a:moveTo>
                  <a:lnTo>
                    <a:pt x="711" y="0"/>
                  </a:lnTo>
                  <a:lnTo>
                    <a:pt x="717" y="0"/>
                  </a:lnTo>
                  <a:lnTo>
                    <a:pt x="722" y="1"/>
                  </a:lnTo>
                  <a:lnTo>
                    <a:pt x="727" y="3"/>
                  </a:lnTo>
                  <a:lnTo>
                    <a:pt x="732" y="5"/>
                  </a:lnTo>
                  <a:lnTo>
                    <a:pt x="736" y="7"/>
                  </a:lnTo>
                  <a:lnTo>
                    <a:pt x="740" y="10"/>
                  </a:lnTo>
                  <a:lnTo>
                    <a:pt x="743" y="13"/>
                  </a:lnTo>
                  <a:lnTo>
                    <a:pt x="746" y="18"/>
                  </a:lnTo>
                  <a:lnTo>
                    <a:pt x="748" y="22"/>
                  </a:lnTo>
                  <a:lnTo>
                    <a:pt x="751" y="26"/>
                  </a:lnTo>
                  <a:lnTo>
                    <a:pt x="753" y="31"/>
                  </a:lnTo>
                  <a:lnTo>
                    <a:pt x="754" y="37"/>
                  </a:lnTo>
                  <a:lnTo>
                    <a:pt x="755" y="42"/>
                  </a:lnTo>
                  <a:lnTo>
                    <a:pt x="756" y="48"/>
                  </a:lnTo>
                  <a:lnTo>
                    <a:pt x="756" y="55"/>
                  </a:lnTo>
                  <a:lnTo>
                    <a:pt x="756" y="61"/>
                  </a:lnTo>
                  <a:lnTo>
                    <a:pt x="723" y="61"/>
                  </a:lnTo>
                  <a:lnTo>
                    <a:pt x="723" y="52"/>
                  </a:lnTo>
                  <a:lnTo>
                    <a:pt x="723" y="46"/>
                  </a:lnTo>
                  <a:lnTo>
                    <a:pt x="722" y="42"/>
                  </a:lnTo>
                  <a:lnTo>
                    <a:pt x="721" y="39"/>
                  </a:lnTo>
                  <a:lnTo>
                    <a:pt x="719" y="36"/>
                  </a:lnTo>
                  <a:lnTo>
                    <a:pt x="717" y="33"/>
                  </a:lnTo>
                  <a:lnTo>
                    <a:pt x="714" y="31"/>
                  </a:lnTo>
                  <a:lnTo>
                    <a:pt x="710" y="30"/>
                  </a:lnTo>
                  <a:lnTo>
                    <a:pt x="706" y="30"/>
                  </a:lnTo>
                  <a:lnTo>
                    <a:pt x="702" y="30"/>
                  </a:lnTo>
                  <a:lnTo>
                    <a:pt x="699" y="31"/>
                  </a:lnTo>
                  <a:lnTo>
                    <a:pt x="698" y="32"/>
                  </a:lnTo>
                  <a:lnTo>
                    <a:pt x="696" y="33"/>
                  </a:lnTo>
                  <a:lnTo>
                    <a:pt x="693" y="36"/>
                  </a:lnTo>
                  <a:lnTo>
                    <a:pt x="691" y="39"/>
                  </a:lnTo>
                  <a:lnTo>
                    <a:pt x="690" y="42"/>
                  </a:lnTo>
                  <a:lnTo>
                    <a:pt x="689" y="46"/>
                  </a:lnTo>
                  <a:lnTo>
                    <a:pt x="689" y="52"/>
                  </a:lnTo>
                  <a:lnTo>
                    <a:pt x="689" y="56"/>
                  </a:lnTo>
                  <a:lnTo>
                    <a:pt x="689" y="60"/>
                  </a:lnTo>
                  <a:lnTo>
                    <a:pt x="691" y="67"/>
                  </a:lnTo>
                  <a:lnTo>
                    <a:pt x="693" y="70"/>
                  </a:lnTo>
                  <a:lnTo>
                    <a:pt x="696" y="74"/>
                  </a:lnTo>
                  <a:lnTo>
                    <a:pt x="700" y="80"/>
                  </a:lnTo>
                  <a:lnTo>
                    <a:pt x="704" y="86"/>
                  </a:lnTo>
                  <a:lnTo>
                    <a:pt x="710" y="92"/>
                  </a:lnTo>
                  <a:lnTo>
                    <a:pt x="722" y="103"/>
                  </a:lnTo>
                  <a:lnTo>
                    <a:pt x="735" y="116"/>
                  </a:lnTo>
                  <a:lnTo>
                    <a:pt x="741" y="122"/>
                  </a:lnTo>
                  <a:lnTo>
                    <a:pt x="745" y="130"/>
                  </a:lnTo>
                  <a:lnTo>
                    <a:pt x="750" y="138"/>
                  </a:lnTo>
                  <a:lnTo>
                    <a:pt x="754" y="148"/>
                  </a:lnTo>
                  <a:lnTo>
                    <a:pt x="756" y="157"/>
                  </a:lnTo>
                  <a:lnTo>
                    <a:pt x="756" y="162"/>
                  </a:lnTo>
                  <a:lnTo>
                    <a:pt x="756" y="168"/>
                  </a:lnTo>
                  <a:lnTo>
                    <a:pt x="756" y="175"/>
                  </a:lnTo>
                  <a:lnTo>
                    <a:pt x="756" y="180"/>
                  </a:lnTo>
                  <a:lnTo>
                    <a:pt x="755" y="187"/>
                  </a:lnTo>
                  <a:lnTo>
                    <a:pt x="753" y="192"/>
                  </a:lnTo>
                  <a:lnTo>
                    <a:pt x="752" y="196"/>
                  </a:lnTo>
                  <a:lnTo>
                    <a:pt x="748" y="202"/>
                  </a:lnTo>
                  <a:lnTo>
                    <a:pt x="746" y="205"/>
                  </a:lnTo>
                  <a:lnTo>
                    <a:pt x="743" y="209"/>
                  </a:lnTo>
                  <a:lnTo>
                    <a:pt x="740" y="212"/>
                  </a:lnTo>
                  <a:lnTo>
                    <a:pt x="736" y="215"/>
                  </a:lnTo>
                  <a:lnTo>
                    <a:pt x="734" y="216"/>
                  </a:lnTo>
                  <a:lnTo>
                    <a:pt x="732" y="217"/>
                  </a:lnTo>
                  <a:lnTo>
                    <a:pt x="727" y="220"/>
                  </a:lnTo>
                  <a:lnTo>
                    <a:pt x="722" y="222"/>
                  </a:lnTo>
                  <a:lnTo>
                    <a:pt x="717" y="223"/>
                  </a:lnTo>
                  <a:lnTo>
                    <a:pt x="711" y="223"/>
                  </a:lnTo>
                  <a:lnTo>
                    <a:pt x="705" y="224"/>
                  </a:lnTo>
                  <a:lnTo>
                    <a:pt x="699" y="223"/>
                  </a:lnTo>
                  <a:lnTo>
                    <a:pt x="692" y="223"/>
                  </a:lnTo>
                  <a:lnTo>
                    <a:pt x="687" y="222"/>
                  </a:lnTo>
                  <a:lnTo>
                    <a:pt x="683" y="220"/>
                  </a:lnTo>
                  <a:lnTo>
                    <a:pt x="678" y="217"/>
                  </a:lnTo>
                  <a:lnTo>
                    <a:pt x="673" y="215"/>
                  </a:lnTo>
                  <a:lnTo>
                    <a:pt x="670" y="212"/>
                  </a:lnTo>
                  <a:lnTo>
                    <a:pt x="666" y="209"/>
                  </a:lnTo>
                  <a:lnTo>
                    <a:pt x="664" y="205"/>
                  </a:lnTo>
                  <a:lnTo>
                    <a:pt x="661" y="202"/>
                  </a:lnTo>
                  <a:lnTo>
                    <a:pt x="659" y="196"/>
                  </a:lnTo>
                  <a:lnTo>
                    <a:pt x="656" y="192"/>
                  </a:lnTo>
                  <a:lnTo>
                    <a:pt x="655" y="187"/>
                  </a:lnTo>
                  <a:lnTo>
                    <a:pt x="654" y="180"/>
                  </a:lnTo>
                  <a:lnTo>
                    <a:pt x="653" y="175"/>
                  </a:lnTo>
                  <a:lnTo>
                    <a:pt x="653" y="168"/>
                  </a:lnTo>
                  <a:lnTo>
                    <a:pt x="653" y="155"/>
                  </a:lnTo>
                  <a:lnTo>
                    <a:pt x="686" y="155"/>
                  </a:lnTo>
                  <a:lnTo>
                    <a:pt x="686" y="171"/>
                  </a:lnTo>
                  <a:lnTo>
                    <a:pt x="686" y="176"/>
                  </a:lnTo>
                  <a:lnTo>
                    <a:pt x="687" y="180"/>
                  </a:lnTo>
                  <a:lnTo>
                    <a:pt x="688" y="183"/>
                  </a:lnTo>
                  <a:lnTo>
                    <a:pt x="689" y="184"/>
                  </a:lnTo>
                  <a:lnTo>
                    <a:pt x="691" y="187"/>
                  </a:lnTo>
                  <a:lnTo>
                    <a:pt x="693" y="189"/>
                  </a:lnTo>
                  <a:lnTo>
                    <a:pt x="697" y="191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08" y="191"/>
                  </a:lnTo>
                  <a:lnTo>
                    <a:pt x="711" y="191"/>
                  </a:lnTo>
                  <a:lnTo>
                    <a:pt x="715" y="189"/>
                  </a:lnTo>
                  <a:lnTo>
                    <a:pt x="717" y="187"/>
                  </a:lnTo>
                  <a:lnTo>
                    <a:pt x="719" y="184"/>
                  </a:lnTo>
                  <a:lnTo>
                    <a:pt x="721" y="180"/>
                  </a:lnTo>
                  <a:lnTo>
                    <a:pt x="721" y="176"/>
                  </a:lnTo>
                  <a:lnTo>
                    <a:pt x="722" y="171"/>
                  </a:lnTo>
                  <a:lnTo>
                    <a:pt x="722" y="167"/>
                  </a:lnTo>
                  <a:lnTo>
                    <a:pt x="721" y="162"/>
                  </a:lnTo>
                  <a:lnTo>
                    <a:pt x="719" y="155"/>
                  </a:lnTo>
                  <a:lnTo>
                    <a:pt x="718" y="152"/>
                  </a:lnTo>
                  <a:lnTo>
                    <a:pt x="716" y="149"/>
                  </a:lnTo>
                  <a:lnTo>
                    <a:pt x="711" y="142"/>
                  </a:lnTo>
                  <a:lnTo>
                    <a:pt x="706" y="136"/>
                  </a:lnTo>
                  <a:lnTo>
                    <a:pt x="701" y="131"/>
                  </a:lnTo>
                  <a:lnTo>
                    <a:pt x="688" y="119"/>
                  </a:lnTo>
                  <a:lnTo>
                    <a:pt x="675" y="106"/>
                  </a:lnTo>
                  <a:lnTo>
                    <a:pt x="670" y="100"/>
                  </a:lnTo>
                  <a:lnTo>
                    <a:pt x="665" y="93"/>
                  </a:lnTo>
                  <a:lnTo>
                    <a:pt x="661" y="84"/>
                  </a:lnTo>
                  <a:lnTo>
                    <a:pt x="658" y="76"/>
                  </a:lnTo>
                  <a:lnTo>
                    <a:pt x="655" y="65"/>
                  </a:lnTo>
                  <a:lnTo>
                    <a:pt x="654" y="60"/>
                  </a:lnTo>
                  <a:lnTo>
                    <a:pt x="654" y="55"/>
                  </a:lnTo>
                  <a:lnTo>
                    <a:pt x="654" y="48"/>
                  </a:lnTo>
                  <a:lnTo>
                    <a:pt x="655" y="42"/>
                  </a:lnTo>
                  <a:lnTo>
                    <a:pt x="656" y="37"/>
                  </a:lnTo>
                  <a:lnTo>
                    <a:pt x="658" y="31"/>
                  </a:lnTo>
                  <a:lnTo>
                    <a:pt x="660" y="26"/>
                  </a:lnTo>
                  <a:lnTo>
                    <a:pt x="662" y="22"/>
                  </a:lnTo>
                  <a:lnTo>
                    <a:pt x="664" y="18"/>
                  </a:lnTo>
                  <a:lnTo>
                    <a:pt x="667" y="13"/>
                  </a:lnTo>
                  <a:lnTo>
                    <a:pt x="670" y="10"/>
                  </a:lnTo>
                  <a:lnTo>
                    <a:pt x="674" y="7"/>
                  </a:lnTo>
                  <a:lnTo>
                    <a:pt x="677" y="6"/>
                  </a:lnTo>
                  <a:lnTo>
                    <a:pt x="679" y="5"/>
                  </a:lnTo>
                  <a:lnTo>
                    <a:pt x="683" y="3"/>
                  </a:lnTo>
                  <a:lnTo>
                    <a:pt x="688" y="1"/>
                  </a:lnTo>
                  <a:lnTo>
                    <a:pt x="693" y="0"/>
                  </a:lnTo>
                  <a:lnTo>
                    <a:pt x="699" y="0"/>
                  </a:lnTo>
                  <a:lnTo>
                    <a:pt x="705" y="0"/>
                  </a:lnTo>
                  <a:close/>
                  <a:moveTo>
                    <a:pt x="592" y="2"/>
                  </a:moveTo>
                  <a:lnTo>
                    <a:pt x="626" y="2"/>
                  </a:lnTo>
                  <a:lnTo>
                    <a:pt x="626" y="221"/>
                  </a:lnTo>
                  <a:lnTo>
                    <a:pt x="592" y="221"/>
                  </a:lnTo>
                  <a:lnTo>
                    <a:pt x="592" y="2"/>
                  </a:lnTo>
                  <a:close/>
                  <a:moveTo>
                    <a:pt x="491" y="171"/>
                  </a:moveTo>
                  <a:lnTo>
                    <a:pt x="491" y="176"/>
                  </a:lnTo>
                  <a:lnTo>
                    <a:pt x="493" y="180"/>
                  </a:lnTo>
                  <a:lnTo>
                    <a:pt x="494" y="183"/>
                  </a:lnTo>
                  <a:lnTo>
                    <a:pt x="494" y="185"/>
                  </a:lnTo>
                  <a:lnTo>
                    <a:pt x="496" y="187"/>
                  </a:lnTo>
                  <a:lnTo>
                    <a:pt x="499" y="189"/>
                  </a:lnTo>
                  <a:lnTo>
                    <a:pt x="502" y="191"/>
                  </a:lnTo>
                  <a:lnTo>
                    <a:pt x="505" y="192"/>
                  </a:lnTo>
                  <a:lnTo>
                    <a:pt x="509" y="192"/>
                  </a:lnTo>
                  <a:lnTo>
                    <a:pt x="513" y="192"/>
                  </a:lnTo>
                  <a:lnTo>
                    <a:pt x="517" y="191"/>
                  </a:lnTo>
                  <a:lnTo>
                    <a:pt x="520" y="189"/>
                  </a:lnTo>
                  <a:lnTo>
                    <a:pt x="522" y="187"/>
                  </a:lnTo>
                  <a:lnTo>
                    <a:pt x="524" y="185"/>
                  </a:lnTo>
                  <a:lnTo>
                    <a:pt x="525" y="180"/>
                  </a:lnTo>
                  <a:lnTo>
                    <a:pt x="526" y="176"/>
                  </a:lnTo>
                  <a:lnTo>
                    <a:pt x="527" y="171"/>
                  </a:lnTo>
                  <a:lnTo>
                    <a:pt x="527" y="52"/>
                  </a:lnTo>
                  <a:lnTo>
                    <a:pt x="526" y="46"/>
                  </a:lnTo>
                  <a:lnTo>
                    <a:pt x="525" y="42"/>
                  </a:lnTo>
                  <a:lnTo>
                    <a:pt x="525" y="40"/>
                  </a:lnTo>
                  <a:lnTo>
                    <a:pt x="524" y="39"/>
                  </a:lnTo>
                  <a:lnTo>
                    <a:pt x="522" y="36"/>
                  </a:lnTo>
                  <a:lnTo>
                    <a:pt x="520" y="33"/>
                  </a:lnTo>
                  <a:lnTo>
                    <a:pt x="517" y="31"/>
                  </a:lnTo>
                  <a:lnTo>
                    <a:pt x="513" y="30"/>
                  </a:lnTo>
                  <a:lnTo>
                    <a:pt x="509" y="30"/>
                  </a:lnTo>
                  <a:lnTo>
                    <a:pt x="505" y="30"/>
                  </a:lnTo>
                  <a:lnTo>
                    <a:pt x="502" y="31"/>
                  </a:lnTo>
                  <a:lnTo>
                    <a:pt x="499" y="33"/>
                  </a:lnTo>
                  <a:lnTo>
                    <a:pt x="496" y="36"/>
                  </a:lnTo>
                  <a:lnTo>
                    <a:pt x="494" y="39"/>
                  </a:lnTo>
                  <a:lnTo>
                    <a:pt x="493" y="42"/>
                  </a:lnTo>
                  <a:lnTo>
                    <a:pt x="491" y="46"/>
                  </a:lnTo>
                  <a:lnTo>
                    <a:pt x="491" y="52"/>
                  </a:lnTo>
                  <a:lnTo>
                    <a:pt x="491" y="171"/>
                  </a:lnTo>
                  <a:close/>
                  <a:moveTo>
                    <a:pt x="457" y="55"/>
                  </a:moveTo>
                  <a:lnTo>
                    <a:pt x="457" y="48"/>
                  </a:lnTo>
                  <a:lnTo>
                    <a:pt x="458" y="42"/>
                  </a:lnTo>
                  <a:lnTo>
                    <a:pt x="459" y="37"/>
                  </a:lnTo>
                  <a:lnTo>
                    <a:pt x="460" y="33"/>
                  </a:lnTo>
                  <a:lnTo>
                    <a:pt x="460" y="31"/>
                  </a:lnTo>
                  <a:lnTo>
                    <a:pt x="462" y="26"/>
                  </a:lnTo>
                  <a:lnTo>
                    <a:pt x="464" y="22"/>
                  </a:lnTo>
                  <a:lnTo>
                    <a:pt x="467" y="18"/>
                  </a:lnTo>
                  <a:lnTo>
                    <a:pt x="470" y="13"/>
                  </a:lnTo>
                  <a:lnTo>
                    <a:pt x="473" y="10"/>
                  </a:lnTo>
                  <a:lnTo>
                    <a:pt x="478" y="7"/>
                  </a:lnTo>
                  <a:lnTo>
                    <a:pt x="482" y="5"/>
                  </a:lnTo>
                  <a:lnTo>
                    <a:pt x="486" y="3"/>
                  </a:lnTo>
                  <a:lnTo>
                    <a:pt x="491" y="1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0"/>
                  </a:lnTo>
                  <a:lnTo>
                    <a:pt x="515" y="0"/>
                  </a:lnTo>
                  <a:lnTo>
                    <a:pt x="521" y="0"/>
                  </a:lnTo>
                  <a:lnTo>
                    <a:pt x="526" y="1"/>
                  </a:lnTo>
                  <a:lnTo>
                    <a:pt x="532" y="3"/>
                  </a:lnTo>
                  <a:lnTo>
                    <a:pt x="536" y="5"/>
                  </a:lnTo>
                  <a:lnTo>
                    <a:pt x="540" y="7"/>
                  </a:lnTo>
                  <a:lnTo>
                    <a:pt x="544" y="10"/>
                  </a:lnTo>
                  <a:lnTo>
                    <a:pt x="548" y="13"/>
                  </a:lnTo>
                  <a:lnTo>
                    <a:pt x="551" y="18"/>
                  </a:lnTo>
                  <a:lnTo>
                    <a:pt x="554" y="22"/>
                  </a:lnTo>
                  <a:lnTo>
                    <a:pt x="556" y="26"/>
                  </a:lnTo>
                  <a:lnTo>
                    <a:pt x="558" y="31"/>
                  </a:lnTo>
                  <a:lnTo>
                    <a:pt x="559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1" y="168"/>
                  </a:lnTo>
                  <a:lnTo>
                    <a:pt x="561" y="175"/>
                  </a:lnTo>
                  <a:lnTo>
                    <a:pt x="560" y="180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8" y="192"/>
                  </a:lnTo>
                  <a:lnTo>
                    <a:pt x="556" y="196"/>
                  </a:lnTo>
                  <a:lnTo>
                    <a:pt x="554" y="202"/>
                  </a:lnTo>
                  <a:lnTo>
                    <a:pt x="551" y="205"/>
                  </a:lnTo>
                  <a:lnTo>
                    <a:pt x="548" y="209"/>
                  </a:lnTo>
                  <a:lnTo>
                    <a:pt x="544" y="212"/>
                  </a:lnTo>
                  <a:lnTo>
                    <a:pt x="540" y="215"/>
                  </a:lnTo>
                  <a:lnTo>
                    <a:pt x="536" y="217"/>
                  </a:lnTo>
                  <a:lnTo>
                    <a:pt x="532" y="220"/>
                  </a:lnTo>
                  <a:lnTo>
                    <a:pt x="526" y="222"/>
                  </a:lnTo>
                  <a:lnTo>
                    <a:pt x="521" y="223"/>
                  </a:lnTo>
                  <a:lnTo>
                    <a:pt x="515" y="223"/>
                  </a:lnTo>
                  <a:lnTo>
                    <a:pt x="509" y="224"/>
                  </a:lnTo>
                  <a:lnTo>
                    <a:pt x="503" y="223"/>
                  </a:lnTo>
                  <a:lnTo>
                    <a:pt x="497" y="223"/>
                  </a:lnTo>
                  <a:lnTo>
                    <a:pt x="491" y="222"/>
                  </a:lnTo>
                  <a:lnTo>
                    <a:pt x="486" y="220"/>
                  </a:lnTo>
                  <a:lnTo>
                    <a:pt x="482" y="217"/>
                  </a:lnTo>
                  <a:lnTo>
                    <a:pt x="478" y="215"/>
                  </a:lnTo>
                  <a:lnTo>
                    <a:pt x="473" y="212"/>
                  </a:lnTo>
                  <a:lnTo>
                    <a:pt x="470" y="209"/>
                  </a:lnTo>
                  <a:lnTo>
                    <a:pt x="467" y="205"/>
                  </a:lnTo>
                  <a:lnTo>
                    <a:pt x="464" y="202"/>
                  </a:lnTo>
                  <a:lnTo>
                    <a:pt x="462" y="196"/>
                  </a:lnTo>
                  <a:lnTo>
                    <a:pt x="460" y="192"/>
                  </a:lnTo>
                  <a:lnTo>
                    <a:pt x="459" y="187"/>
                  </a:lnTo>
                  <a:lnTo>
                    <a:pt x="458" y="180"/>
                  </a:lnTo>
                  <a:lnTo>
                    <a:pt x="457" y="175"/>
                  </a:lnTo>
                  <a:lnTo>
                    <a:pt x="457" y="168"/>
                  </a:lnTo>
                  <a:lnTo>
                    <a:pt x="457" y="55"/>
                  </a:lnTo>
                  <a:close/>
                  <a:moveTo>
                    <a:pt x="370" y="134"/>
                  </a:moveTo>
                  <a:lnTo>
                    <a:pt x="359" y="154"/>
                  </a:lnTo>
                  <a:lnTo>
                    <a:pt x="359" y="221"/>
                  </a:lnTo>
                  <a:lnTo>
                    <a:pt x="324" y="221"/>
                  </a:lnTo>
                  <a:lnTo>
                    <a:pt x="324" y="2"/>
                  </a:lnTo>
                  <a:lnTo>
                    <a:pt x="359" y="2"/>
                  </a:lnTo>
                  <a:lnTo>
                    <a:pt x="359" y="97"/>
                  </a:lnTo>
                  <a:lnTo>
                    <a:pt x="404" y="2"/>
                  </a:lnTo>
                  <a:lnTo>
                    <a:pt x="439" y="2"/>
                  </a:lnTo>
                  <a:lnTo>
                    <a:pt x="390" y="99"/>
                  </a:lnTo>
                  <a:lnTo>
                    <a:pt x="439" y="221"/>
                  </a:lnTo>
                  <a:lnTo>
                    <a:pt x="403" y="221"/>
                  </a:lnTo>
                  <a:lnTo>
                    <a:pt x="370" y="134"/>
                  </a:lnTo>
                  <a:close/>
                  <a:moveTo>
                    <a:pt x="257" y="2"/>
                  </a:moveTo>
                  <a:lnTo>
                    <a:pt x="292" y="2"/>
                  </a:lnTo>
                  <a:lnTo>
                    <a:pt x="292" y="221"/>
                  </a:lnTo>
                  <a:lnTo>
                    <a:pt x="257" y="221"/>
                  </a:lnTo>
                  <a:lnTo>
                    <a:pt x="257" y="2"/>
                  </a:lnTo>
                  <a:close/>
                  <a:moveTo>
                    <a:pt x="157" y="33"/>
                  </a:moveTo>
                  <a:lnTo>
                    <a:pt x="15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9" y="99"/>
                  </a:lnTo>
                  <a:lnTo>
                    <a:pt x="184" y="98"/>
                  </a:lnTo>
                  <a:lnTo>
                    <a:pt x="185" y="97"/>
                  </a:lnTo>
                  <a:lnTo>
                    <a:pt x="186" y="95"/>
                  </a:lnTo>
                  <a:lnTo>
                    <a:pt x="189" y="93"/>
                  </a:lnTo>
                  <a:lnTo>
                    <a:pt x="190" y="88"/>
                  </a:lnTo>
                  <a:lnTo>
                    <a:pt x="191" y="83"/>
                  </a:lnTo>
                  <a:lnTo>
                    <a:pt x="192" y="77"/>
                  </a:lnTo>
                  <a:lnTo>
                    <a:pt x="192" y="56"/>
                  </a:lnTo>
                  <a:lnTo>
                    <a:pt x="191" y="50"/>
                  </a:lnTo>
                  <a:lnTo>
                    <a:pt x="191" y="45"/>
                  </a:lnTo>
                  <a:lnTo>
                    <a:pt x="189" y="42"/>
                  </a:lnTo>
                  <a:lnTo>
                    <a:pt x="188" y="39"/>
                  </a:lnTo>
                  <a:lnTo>
                    <a:pt x="185" y="36"/>
                  </a:lnTo>
                  <a:lnTo>
                    <a:pt x="184" y="34"/>
                  </a:lnTo>
                  <a:lnTo>
                    <a:pt x="183" y="34"/>
                  </a:lnTo>
                  <a:lnTo>
                    <a:pt x="178" y="33"/>
                  </a:lnTo>
                  <a:lnTo>
                    <a:pt x="174" y="33"/>
                  </a:lnTo>
                  <a:lnTo>
                    <a:pt x="157" y="33"/>
                  </a:lnTo>
                  <a:close/>
                  <a:moveTo>
                    <a:pt x="195" y="221"/>
                  </a:moveTo>
                  <a:lnTo>
                    <a:pt x="193" y="212"/>
                  </a:lnTo>
                  <a:lnTo>
                    <a:pt x="192" y="205"/>
                  </a:lnTo>
                  <a:lnTo>
                    <a:pt x="192" y="194"/>
                  </a:lnTo>
                  <a:lnTo>
                    <a:pt x="192" y="159"/>
                  </a:lnTo>
                  <a:lnTo>
                    <a:pt x="192" y="153"/>
                  </a:lnTo>
                  <a:lnTo>
                    <a:pt x="191" y="147"/>
                  </a:lnTo>
                  <a:lnTo>
                    <a:pt x="189" y="141"/>
                  </a:lnTo>
                  <a:lnTo>
                    <a:pt x="187" y="138"/>
                  </a:lnTo>
                  <a:lnTo>
                    <a:pt x="185" y="136"/>
                  </a:lnTo>
                  <a:lnTo>
                    <a:pt x="184" y="135"/>
                  </a:lnTo>
                  <a:lnTo>
                    <a:pt x="179" y="133"/>
                  </a:lnTo>
                  <a:lnTo>
                    <a:pt x="175" y="132"/>
                  </a:lnTo>
                  <a:lnTo>
                    <a:pt x="170" y="132"/>
                  </a:lnTo>
                  <a:lnTo>
                    <a:pt x="157" y="132"/>
                  </a:lnTo>
                  <a:lnTo>
                    <a:pt x="157" y="221"/>
                  </a:lnTo>
                  <a:lnTo>
                    <a:pt x="123" y="221"/>
                  </a:lnTo>
                  <a:lnTo>
                    <a:pt x="123" y="2"/>
                  </a:lnTo>
                  <a:lnTo>
                    <a:pt x="175" y="2"/>
                  </a:lnTo>
                  <a:lnTo>
                    <a:pt x="182" y="2"/>
                  </a:lnTo>
                  <a:lnTo>
                    <a:pt x="188" y="3"/>
                  </a:lnTo>
                  <a:lnTo>
                    <a:pt x="193" y="4"/>
                  </a:lnTo>
                  <a:lnTo>
                    <a:pt x="199" y="5"/>
                  </a:lnTo>
                  <a:lnTo>
                    <a:pt x="203" y="7"/>
                  </a:lnTo>
                  <a:lnTo>
                    <a:pt x="207" y="9"/>
                  </a:lnTo>
                  <a:lnTo>
                    <a:pt x="211" y="11"/>
                  </a:lnTo>
                  <a:lnTo>
                    <a:pt x="214" y="14"/>
                  </a:lnTo>
                  <a:lnTo>
                    <a:pt x="218" y="18"/>
                  </a:lnTo>
                  <a:lnTo>
                    <a:pt x="220" y="21"/>
                  </a:lnTo>
                  <a:lnTo>
                    <a:pt x="222" y="25"/>
                  </a:lnTo>
                  <a:lnTo>
                    <a:pt x="223" y="30"/>
                  </a:lnTo>
                  <a:lnTo>
                    <a:pt x="225" y="34"/>
                  </a:lnTo>
                  <a:lnTo>
                    <a:pt x="226" y="40"/>
                  </a:lnTo>
                  <a:lnTo>
                    <a:pt x="226" y="46"/>
                  </a:lnTo>
                  <a:lnTo>
                    <a:pt x="226" y="52"/>
                  </a:lnTo>
                  <a:lnTo>
                    <a:pt x="226" y="69"/>
                  </a:lnTo>
                  <a:lnTo>
                    <a:pt x="226" y="78"/>
                  </a:lnTo>
                  <a:lnTo>
                    <a:pt x="225" y="85"/>
                  </a:lnTo>
                  <a:lnTo>
                    <a:pt x="223" y="92"/>
                  </a:lnTo>
                  <a:lnTo>
                    <a:pt x="221" y="97"/>
                  </a:lnTo>
                  <a:lnTo>
                    <a:pt x="220" y="100"/>
                  </a:lnTo>
                  <a:lnTo>
                    <a:pt x="218" y="102"/>
                  </a:lnTo>
                  <a:lnTo>
                    <a:pt x="215" y="104"/>
                  </a:lnTo>
                  <a:lnTo>
                    <a:pt x="213" y="107"/>
                  </a:lnTo>
                  <a:lnTo>
                    <a:pt x="209" y="111"/>
                  </a:lnTo>
                  <a:lnTo>
                    <a:pt x="204" y="114"/>
                  </a:lnTo>
                  <a:lnTo>
                    <a:pt x="207" y="115"/>
                  </a:lnTo>
                  <a:lnTo>
                    <a:pt x="210" y="117"/>
                  </a:lnTo>
                  <a:lnTo>
                    <a:pt x="212" y="119"/>
                  </a:lnTo>
                  <a:lnTo>
                    <a:pt x="214" y="121"/>
                  </a:lnTo>
                  <a:lnTo>
                    <a:pt x="219" y="125"/>
                  </a:lnTo>
                  <a:lnTo>
                    <a:pt x="222" y="131"/>
                  </a:lnTo>
                  <a:lnTo>
                    <a:pt x="224" y="137"/>
                  </a:lnTo>
                  <a:lnTo>
                    <a:pt x="225" y="144"/>
                  </a:lnTo>
                  <a:lnTo>
                    <a:pt x="226" y="149"/>
                  </a:lnTo>
                  <a:lnTo>
                    <a:pt x="226" y="152"/>
                  </a:lnTo>
                  <a:lnTo>
                    <a:pt x="227" y="160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9"/>
                  </a:lnTo>
                  <a:lnTo>
                    <a:pt x="228" y="215"/>
                  </a:lnTo>
                  <a:lnTo>
                    <a:pt x="229" y="217"/>
                  </a:lnTo>
                  <a:lnTo>
                    <a:pt x="230" y="221"/>
                  </a:lnTo>
                  <a:lnTo>
                    <a:pt x="195" y="221"/>
                  </a:lnTo>
                  <a:close/>
                  <a:moveTo>
                    <a:pt x="35" y="94"/>
                  </a:moveTo>
                  <a:lnTo>
                    <a:pt x="82" y="94"/>
                  </a:lnTo>
                  <a:lnTo>
                    <a:pt x="82" y="125"/>
                  </a:lnTo>
                  <a:lnTo>
                    <a:pt x="35" y="125"/>
                  </a:lnTo>
                  <a:lnTo>
                    <a:pt x="35" y="190"/>
                  </a:lnTo>
                  <a:lnTo>
                    <a:pt x="94" y="190"/>
                  </a:lnTo>
                  <a:lnTo>
                    <a:pt x="94" y="221"/>
                  </a:lnTo>
                  <a:lnTo>
                    <a:pt x="0" y="221"/>
                  </a:lnTo>
                  <a:lnTo>
                    <a:pt x="0" y="2"/>
                  </a:lnTo>
                  <a:lnTo>
                    <a:pt x="94" y="2"/>
                  </a:lnTo>
                  <a:lnTo>
                    <a:pt x="94" y="33"/>
                  </a:lnTo>
                  <a:lnTo>
                    <a:pt x="35" y="33"/>
                  </a:lnTo>
                  <a:lnTo>
                    <a:pt x="35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542650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  <p:sldLayoutId id="2147483750" r:id="rId14"/>
    <p:sldLayoutId id="2147483751" r:id="rId15"/>
    <p:sldLayoutId id="2147483752" r:id="rId16"/>
    <p:sldLayoutId id="2147483753" r:id="rId17"/>
    <p:sldLayoutId id="2147483754" r:id="rId18"/>
    <p:sldLayoutId id="2147483755" r:id="rId19"/>
    <p:sldLayoutId id="2147483955" r:id="rId20"/>
    <p:sldLayoutId id="2147483756" r:id="rId21"/>
    <p:sldLayoutId id="2147483757" r:id="rId22"/>
    <p:sldLayoutId id="2147483758" r:id="rId23"/>
    <p:sldLayoutId id="2147483759" r:id="rId24"/>
    <p:sldLayoutId id="2147483760" r:id="rId25"/>
    <p:sldLayoutId id="2147483761" r:id="rId26"/>
    <p:sldLayoutId id="2147483762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4E500935-9F15-47D7-BD4E-59F66DEA1AB5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Freeform 7"/>
          <p:cNvSpPr>
            <a:spLocks noEditPoints="1"/>
          </p:cNvSpPr>
          <p:nvPr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4" name="Group 13"/>
          <p:cNvGrpSpPr/>
          <p:nvPr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1" name="Round Same Side Corner Rectangle 10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6"/>
            <p:cNvSpPr>
              <a:spLocks noChangeAspect="1" noEditPoints="1"/>
            </p:cNvSpPr>
            <p:nvPr userDrawn="1"/>
          </p:nvSpPr>
          <p:spPr bwMode="auto">
            <a:xfrm>
              <a:off x="8908139" y="6472998"/>
              <a:ext cx="1865548" cy="212400"/>
            </a:xfrm>
            <a:custGeom>
              <a:avLst/>
              <a:gdLst>
                <a:gd name="T0" fmla="*/ 1899 w 1985"/>
                <a:gd name="T1" fmla="*/ 2 h 226"/>
                <a:gd name="T2" fmla="*/ 67 w 1985"/>
                <a:gd name="T3" fmla="*/ 143 h 226"/>
                <a:gd name="T4" fmla="*/ 59 w 1985"/>
                <a:gd name="T5" fmla="*/ 2 h 226"/>
                <a:gd name="T6" fmla="*/ 99 w 1985"/>
                <a:gd name="T7" fmla="*/ 26 h 226"/>
                <a:gd name="T8" fmla="*/ 95 w 1985"/>
                <a:gd name="T9" fmla="*/ 104 h 226"/>
                <a:gd name="T10" fmla="*/ 99 w 1985"/>
                <a:gd name="T11" fmla="*/ 133 h 226"/>
                <a:gd name="T12" fmla="*/ 106 w 1985"/>
                <a:gd name="T13" fmla="*/ 217 h 226"/>
                <a:gd name="T14" fmla="*/ 68 w 1985"/>
                <a:gd name="T15" fmla="*/ 89 h 226"/>
                <a:gd name="T16" fmla="*/ 52 w 1985"/>
                <a:gd name="T17" fmla="*/ 34 h 226"/>
                <a:gd name="T18" fmla="*/ 168 w 1985"/>
                <a:gd name="T19" fmla="*/ 153 h 226"/>
                <a:gd name="T20" fmla="*/ 316 w 1985"/>
                <a:gd name="T21" fmla="*/ 183 h 226"/>
                <a:gd name="T22" fmla="*/ 493 w 1985"/>
                <a:gd name="T23" fmla="*/ 223 h 226"/>
                <a:gd name="T24" fmla="*/ 668 w 1985"/>
                <a:gd name="T25" fmla="*/ 11 h 226"/>
                <a:gd name="T26" fmla="*/ 652 w 1985"/>
                <a:gd name="T27" fmla="*/ 62 h 226"/>
                <a:gd name="T28" fmla="*/ 631 w 1985"/>
                <a:gd name="T29" fmla="*/ 31 h 226"/>
                <a:gd name="T30" fmla="*/ 623 w 1985"/>
                <a:gd name="T31" fmla="*/ 75 h 226"/>
                <a:gd name="T32" fmla="*/ 682 w 1985"/>
                <a:gd name="T33" fmla="*/ 149 h 226"/>
                <a:gd name="T34" fmla="*/ 675 w 1985"/>
                <a:gd name="T35" fmla="*/ 208 h 226"/>
                <a:gd name="T36" fmla="*/ 621 w 1985"/>
                <a:gd name="T37" fmla="*/ 225 h 226"/>
                <a:gd name="T38" fmla="*/ 583 w 1985"/>
                <a:gd name="T39" fmla="*/ 188 h 226"/>
                <a:gd name="T40" fmla="*/ 622 w 1985"/>
                <a:gd name="T41" fmla="*/ 191 h 226"/>
                <a:gd name="T42" fmla="*/ 650 w 1985"/>
                <a:gd name="T43" fmla="*/ 178 h 226"/>
                <a:gd name="T44" fmla="*/ 604 w 1985"/>
                <a:gd name="T45" fmla="*/ 108 h 226"/>
                <a:gd name="T46" fmla="*/ 583 w 1985"/>
                <a:gd name="T47" fmla="*/ 43 h 226"/>
                <a:gd name="T48" fmla="*/ 616 w 1985"/>
                <a:gd name="T49" fmla="*/ 2 h 226"/>
                <a:gd name="T50" fmla="*/ 713 w 1985"/>
                <a:gd name="T51" fmla="*/ 223 h 226"/>
                <a:gd name="T52" fmla="*/ 950 w 1985"/>
                <a:gd name="T53" fmla="*/ 65 h 226"/>
                <a:gd name="T54" fmla="*/ 1051 w 1985"/>
                <a:gd name="T55" fmla="*/ 223 h 226"/>
                <a:gd name="T56" fmla="*/ 1170 w 1985"/>
                <a:gd name="T57" fmla="*/ 14 h 226"/>
                <a:gd name="T58" fmla="*/ 1150 w 1985"/>
                <a:gd name="T59" fmla="*/ 53 h 226"/>
                <a:gd name="T60" fmla="*/ 1125 w 1985"/>
                <a:gd name="T61" fmla="*/ 32 h 226"/>
                <a:gd name="T62" fmla="*/ 1126 w 1985"/>
                <a:gd name="T63" fmla="*/ 82 h 226"/>
                <a:gd name="T64" fmla="*/ 1181 w 1985"/>
                <a:gd name="T65" fmla="*/ 154 h 226"/>
                <a:gd name="T66" fmla="*/ 1170 w 1985"/>
                <a:gd name="T67" fmla="*/ 211 h 226"/>
                <a:gd name="T68" fmla="*/ 1114 w 1985"/>
                <a:gd name="T69" fmla="*/ 224 h 226"/>
                <a:gd name="T70" fmla="*/ 1080 w 1985"/>
                <a:gd name="T71" fmla="*/ 183 h 226"/>
                <a:gd name="T72" fmla="*/ 1123 w 1985"/>
                <a:gd name="T73" fmla="*/ 193 h 226"/>
                <a:gd name="T74" fmla="*/ 1148 w 1985"/>
                <a:gd name="T75" fmla="*/ 172 h 226"/>
                <a:gd name="T76" fmla="*/ 1096 w 1985"/>
                <a:gd name="T77" fmla="*/ 101 h 226"/>
                <a:gd name="T78" fmla="*/ 1082 w 1985"/>
                <a:gd name="T79" fmla="*/ 37 h 226"/>
                <a:gd name="T80" fmla="*/ 1120 w 1985"/>
                <a:gd name="T81" fmla="*/ 0 h 226"/>
                <a:gd name="T82" fmla="*/ 1326 w 1985"/>
                <a:gd name="T83" fmla="*/ 2 h 226"/>
                <a:gd name="T84" fmla="*/ 1376 w 1985"/>
                <a:gd name="T85" fmla="*/ 2 h 226"/>
                <a:gd name="T86" fmla="*/ 1522 w 1985"/>
                <a:gd name="T87" fmla="*/ 186 h 226"/>
                <a:gd name="T88" fmla="*/ 1552 w 1985"/>
                <a:gd name="T89" fmla="*/ 186 h 226"/>
                <a:gd name="T90" fmla="*/ 1583 w 1985"/>
                <a:gd name="T91" fmla="*/ 199 h 226"/>
                <a:gd name="T92" fmla="*/ 1536 w 1985"/>
                <a:gd name="T93" fmla="*/ 226 h 226"/>
                <a:gd name="T94" fmla="*/ 1489 w 1985"/>
                <a:gd name="T95" fmla="*/ 199 h 226"/>
                <a:gd name="T96" fmla="*/ 1722 w 1985"/>
                <a:gd name="T97" fmla="*/ 98 h 226"/>
                <a:gd name="T98" fmla="*/ 1688 w 1985"/>
                <a:gd name="T99" fmla="*/ 138 h 226"/>
                <a:gd name="T100" fmla="*/ 1688 w 1985"/>
                <a:gd name="T101" fmla="*/ 4 h 226"/>
                <a:gd name="T102" fmla="*/ 1722 w 1985"/>
                <a:gd name="T103" fmla="*/ 50 h 226"/>
                <a:gd name="T104" fmla="*/ 1687 w 1985"/>
                <a:gd name="T105" fmla="*/ 95 h 226"/>
                <a:gd name="T106" fmla="*/ 1671 w 1985"/>
                <a:gd name="T107" fmla="*/ 34 h 226"/>
                <a:gd name="T108" fmla="*/ 1838 w 1985"/>
                <a:gd name="T109" fmla="*/ 126 h 226"/>
                <a:gd name="T110" fmla="*/ 1748 w 1985"/>
                <a:gd name="T111" fmla="*/ 223 h 226"/>
                <a:gd name="T112" fmla="*/ 1841 w 1985"/>
                <a:gd name="T113" fmla="*/ 20 h 226"/>
                <a:gd name="T114" fmla="*/ 1807 w 1985"/>
                <a:gd name="T115" fmla="*/ 108 h 226"/>
                <a:gd name="T116" fmla="*/ 1814 w 1985"/>
                <a:gd name="T117" fmla="*/ 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5" h="226">
                  <a:moveTo>
                    <a:pt x="1906" y="153"/>
                  </a:moveTo>
                  <a:lnTo>
                    <a:pt x="1939" y="153"/>
                  </a:lnTo>
                  <a:lnTo>
                    <a:pt x="1922" y="41"/>
                  </a:lnTo>
                  <a:lnTo>
                    <a:pt x="1906" y="153"/>
                  </a:lnTo>
                  <a:close/>
                  <a:moveTo>
                    <a:pt x="1985" y="223"/>
                  </a:moveTo>
                  <a:lnTo>
                    <a:pt x="1950" y="223"/>
                  </a:lnTo>
                  <a:lnTo>
                    <a:pt x="1944" y="183"/>
                  </a:lnTo>
                  <a:lnTo>
                    <a:pt x="1901" y="183"/>
                  </a:lnTo>
                  <a:lnTo>
                    <a:pt x="1895" y="223"/>
                  </a:lnTo>
                  <a:lnTo>
                    <a:pt x="1863" y="223"/>
                  </a:lnTo>
                  <a:lnTo>
                    <a:pt x="1899" y="2"/>
                  </a:lnTo>
                  <a:lnTo>
                    <a:pt x="1950" y="2"/>
                  </a:lnTo>
                  <a:lnTo>
                    <a:pt x="1985" y="223"/>
                  </a:lnTo>
                  <a:close/>
                  <a:moveTo>
                    <a:pt x="73" y="223"/>
                  </a:moveTo>
                  <a:lnTo>
                    <a:pt x="72" y="219"/>
                  </a:lnTo>
                  <a:lnTo>
                    <a:pt x="71" y="214"/>
                  </a:lnTo>
                  <a:lnTo>
                    <a:pt x="70" y="207"/>
                  </a:lnTo>
                  <a:lnTo>
                    <a:pt x="70" y="196"/>
                  </a:lnTo>
                  <a:lnTo>
                    <a:pt x="70" y="161"/>
                  </a:lnTo>
                  <a:lnTo>
                    <a:pt x="69" y="154"/>
                  </a:lnTo>
                  <a:lnTo>
                    <a:pt x="68" y="148"/>
                  </a:lnTo>
                  <a:lnTo>
                    <a:pt x="67" y="143"/>
                  </a:lnTo>
                  <a:lnTo>
                    <a:pt x="64" y="140"/>
                  </a:lnTo>
                  <a:lnTo>
                    <a:pt x="61" y="137"/>
                  </a:lnTo>
                  <a:lnTo>
                    <a:pt x="57" y="135"/>
                  </a:lnTo>
                  <a:lnTo>
                    <a:pt x="52" y="134"/>
                  </a:lnTo>
                  <a:lnTo>
                    <a:pt x="47" y="133"/>
                  </a:lnTo>
                  <a:lnTo>
                    <a:pt x="35" y="133"/>
                  </a:lnTo>
                  <a:lnTo>
                    <a:pt x="35" y="223"/>
                  </a:lnTo>
                  <a:lnTo>
                    <a:pt x="0" y="223"/>
                  </a:lnTo>
                  <a:lnTo>
                    <a:pt x="0" y="2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65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6" y="5"/>
                  </a:lnTo>
                  <a:lnTo>
                    <a:pt x="80" y="7"/>
                  </a:lnTo>
                  <a:lnTo>
                    <a:pt x="85" y="9"/>
                  </a:lnTo>
                  <a:lnTo>
                    <a:pt x="88" y="12"/>
                  </a:lnTo>
                  <a:lnTo>
                    <a:pt x="92" y="15"/>
                  </a:lnTo>
                  <a:lnTo>
                    <a:pt x="95" y="18"/>
                  </a:lnTo>
                  <a:lnTo>
                    <a:pt x="97" y="22"/>
                  </a:lnTo>
                  <a:lnTo>
                    <a:pt x="99" y="26"/>
                  </a:lnTo>
                  <a:lnTo>
                    <a:pt x="101" y="31"/>
                  </a:lnTo>
                  <a:lnTo>
                    <a:pt x="102" y="36"/>
                  </a:lnTo>
                  <a:lnTo>
                    <a:pt x="103" y="41"/>
                  </a:lnTo>
                  <a:lnTo>
                    <a:pt x="104" y="47"/>
                  </a:lnTo>
                  <a:lnTo>
                    <a:pt x="104" y="53"/>
                  </a:lnTo>
                  <a:lnTo>
                    <a:pt x="104" y="70"/>
                  </a:lnTo>
                  <a:lnTo>
                    <a:pt x="104" y="78"/>
                  </a:lnTo>
                  <a:lnTo>
                    <a:pt x="103" y="86"/>
                  </a:lnTo>
                  <a:lnTo>
                    <a:pt x="101" y="93"/>
                  </a:lnTo>
                  <a:lnTo>
                    <a:pt x="99" y="99"/>
                  </a:lnTo>
                  <a:lnTo>
                    <a:pt x="95" y="104"/>
                  </a:lnTo>
                  <a:lnTo>
                    <a:pt x="93" y="106"/>
                  </a:lnTo>
                  <a:lnTo>
                    <a:pt x="91" y="108"/>
                  </a:lnTo>
                  <a:lnTo>
                    <a:pt x="89" y="110"/>
                  </a:lnTo>
                  <a:lnTo>
                    <a:pt x="87" y="112"/>
                  </a:lnTo>
                  <a:lnTo>
                    <a:pt x="84" y="114"/>
                  </a:lnTo>
                  <a:lnTo>
                    <a:pt x="81" y="115"/>
                  </a:lnTo>
                  <a:lnTo>
                    <a:pt x="87" y="118"/>
                  </a:lnTo>
                  <a:lnTo>
                    <a:pt x="92" y="122"/>
                  </a:lnTo>
                  <a:lnTo>
                    <a:pt x="96" y="127"/>
                  </a:lnTo>
                  <a:lnTo>
                    <a:pt x="98" y="130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2" y="139"/>
                  </a:lnTo>
                  <a:lnTo>
                    <a:pt x="103" y="143"/>
                  </a:lnTo>
                  <a:lnTo>
                    <a:pt x="103" y="146"/>
                  </a:lnTo>
                  <a:lnTo>
                    <a:pt x="104" y="154"/>
                  </a:lnTo>
                  <a:lnTo>
                    <a:pt x="104" y="162"/>
                  </a:lnTo>
                  <a:lnTo>
                    <a:pt x="104" y="196"/>
                  </a:lnTo>
                  <a:lnTo>
                    <a:pt x="105" y="204"/>
                  </a:lnTo>
                  <a:lnTo>
                    <a:pt x="105" y="211"/>
                  </a:lnTo>
                  <a:lnTo>
                    <a:pt x="105" y="214"/>
                  </a:lnTo>
                  <a:lnTo>
                    <a:pt x="106" y="217"/>
                  </a:lnTo>
                  <a:lnTo>
                    <a:pt x="108" y="223"/>
                  </a:lnTo>
                  <a:lnTo>
                    <a:pt x="73" y="223"/>
                  </a:lnTo>
                  <a:close/>
                  <a:moveTo>
                    <a:pt x="35" y="34"/>
                  </a:moveTo>
                  <a:lnTo>
                    <a:pt x="35" y="102"/>
                  </a:lnTo>
                  <a:lnTo>
                    <a:pt x="48" y="102"/>
                  </a:lnTo>
                  <a:lnTo>
                    <a:pt x="53" y="101"/>
                  </a:lnTo>
                  <a:lnTo>
                    <a:pt x="57" y="100"/>
                  </a:lnTo>
                  <a:lnTo>
                    <a:pt x="61" y="99"/>
                  </a:lnTo>
                  <a:lnTo>
                    <a:pt x="64" y="97"/>
                  </a:lnTo>
                  <a:lnTo>
                    <a:pt x="66" y="93"/>
                  </a:lnTo>
                  <a:lnTo>
                    <a:pt x="68" y="89"/>
                  </a:lnTo>
                  <a:lnTo>
                    <a:pt x="69" y="84"/>
                  </a:lnTo>
                  <a:lnTo>
                    <a:pt x="69" y="78"/>
                  </a:lnTo>
                  <a:lnTo>
                    <a:pt x="69" y="56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5" y="39"/>
                  </a:lnTo>
                  <a:lnTo>
                    <a:pt x="63" y="37"/>
                  </a:lnTo>
                  <a:lnTo>
                    <a:pt x="60" y="35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35" y="34"/>
                  </a:lnTo>
                  <a:close/>
                  <a:moveTo>
                    <a:pt x="248" y="223"/>
                  </a:moveTo>
                  <a:lnTo>
                    <a:pt x="212" y="223"/>
                  </a:lnTo>
                  <a:lnTo>
                    <a:pt x="206" y="183"/>
                  </a:lnTo>
                  <a:lnTo>
                    <a:pt x="164" y="183"/>
                  </a:lnTo>
                  <a:lnTo>
                    <a:pt x="158" y="223"/>
                  </a:lnTo>
                  <a:lnTo>
                    <a:pt x="126" y="223"/>
                  </a:lnTo>
                  <a:lnTo>
                    <a:pt x="161" y="2"/>
                  </a:lnTo>
                  <a:lnTo>
                    <a:pt x="212" y="2"/>
                  </a:lnTo>
                  <a:lnTo>
                    <a:pt x="248" y="223"/>
                  </a:lnTo>
                  <a:close/>
                  <a:moveTo>
                    <a:pt x="168" y="153"/>
                  </a:moveTo>
                  <a:lnTo>
                    <a:pt x="202" y="153"/>
                  </a:lnTo>
                  <a:lnTo>
                    <a:pt x="185" y="41"/>
                  </a:lnTo>
                  <a:lnTo>
                    <a:pt x="168" y="153"/>
                  </a:lnTo>
                  <a:close/>
                  <a:moveTo>
                    <a:pt x="316" y="183"/>
                  </a:moveTo>
                  <a:lnTo>
                    <a:pt x="343" y="2"/>
                  </a:lnTo>
                  <a:lnTo>
                    <a:pt x="375" y="2"/>
                  </a:lnTo>
                  <a:lnTo>
                    <a:pt x="340" y="223"/>
                  </a:lnTo>
                  <a:lnTo>
                    <a:pt x="289" y="223"/>
                  </a:lnTo>
                  <a:lnTo>
                    <a:pt x="254" y="2"/>
                  </a:lnTo>
                  <a:lnTo>
                    <a:pt x="290" y="2"/>
                  </a:lnTo>
                  <a:lnTo>
                    <a:pt x="316" y="183"/>
                  </a:lnTo>
                  <a:close/>
                  <a:moveTo>
                    <a:pt x="398" y="2"/>
                  </a:moveTo>
                  <a:lnTo>
                    <a:pt x="433" y="2"/>
                  </a:lnTo>
                  <a:lnTo>
                    <a:pt x="433" y="223"/>
                  </a:lnTo>
                  <a:lnTo>
                    <a:pt x="398" y="223"/>
                  </a:lnTo>
                  <a:lnTo>
                    <a:pt x="398" y="2"/>
                  </a:lnTo>
                  <a:close/>
                  <a:moveTo>
                    <a:pt x="456" y="2"/>
                  </a:moveTo>
                  <a:lnTo>
                    <a:pt x="564" y="2"/>
                  </a:lnTo>
                  <a:lnTo>
                    <a:pt x="564" y="34"/>
                  </a:lnTo>
                  <a:lnTo>
                    <a:pt x="527" y="34"/>
                  </a:lnTo>
                  <a:lnTo>
                    <a:pt x="527" y="223"/>
                  </a:lnTo>
                  <a:lnTo>
                    <a:pt x="493" y="223"/>
                  </a:lnTo>
                  <a:lnTo>
                    <a:pt x="493" y="34"/>
                  </a:lnTo>
                  <a:lnTo>
                    <a:pt x="456" y="34"/>
                  </a:lnTo>
                  <a:lnTo>
                    <a:pt x="456" y="2"/>
                  </a:lnTo>
                  <a:close/>
                  <a:moveTo>
                    <a:pt x="634" y="0"/>
                  </a:moveTo>
                  <a:lnTo>
                    <a:pt x="640" y="0"/>
                  </a:lnTo>
                  <a:lnTo>
                    <a:pt x="645" y="0"/>
                  </a:lnTo>
                  <a:lnTo>
                    <a:pt x="651" y="2"/>
                  </a:lnTo>
                  <a:lnTo>
                    <a:pt x="656" y="3"/>
                  </a:lnTo>
                  <a:lnTo>
                    <a:pt x="660" y="5"/>
                  </a:lnTo>
                  <a:lnTo>
                    <a:pt x="665" y="8"/>
                  </a:lnTo>
                  <a:lnTo>
                    <a:pt x="668" y="11"/>
                  </a:lnTo>
                  <a:lnTo>
                    <a:pt x="672" y="14"/>
                  </a:lnTo>
                  <a:lnTo>
                    <a:pt x="675" y="18"/>
                  </a:lnTo>
                  <a:lnTo>
                    <a:pt x="677" y="22"/>
                  </a:lnTo>
                  <a:lnTo>
                    <a:pt x="680" y="27"/>
                  </a:lnTo>
                  <a:lnTo>
                    <a:pt x="681" y="32"/>
                  </a:lnTo>
                  <a:lnTo>
                    <a:pt x="683" y="37"/>
                  </a:lnTo>
                  <a:lnTo>
                    <a:pt x="684" y="43"/>
                  </a:lnTo>
                  <a:lnTo>
                    <a:pt x="685" y="49"/>
                  </a:lnTo>
                  <a:lnTo>
                    <a:pt x="685" y="55"/>
                  </a:lnTo>
                  <a:lnTo>
                    <a:pt x="685" y="62"/>
                  </a:lnTo>
                  <a:lnTo>
                    <a:pt x="652" y="62"/>
                  </a:lnTo>
                  <a:lnTo>
                    <a:pt x="652" y="53"/>
                  </a:lnTo>
                  <a:lnTo>
                    <a:pt x="652" y="47"/>
                  </a:lnTo>
                  <a:lnTo>
                    <a:pt x="651" y="43"/>
                  </a:lnTo>
                  <a:lnTo>
                    <a:pt x="650" y="41"/>
                  </a:lnTo>
                  <a:lnTo>
                    <a:pt x="649" y="39"/>
                  </a:lnTo>
                  <a:lnTo>
                    <a:pt x="647" y="36"/>
                  </a:lnTo>
                  <a:lnTo>
                    <a:pt x="645" y="34"/>
                  </a:lnTo>
                  <a:lnTo>
                    <a:pt x="642" y="32"/>
                  </a:lnTo>
                  <a:lnTo>
                    <a:pt x="638" y="31"/>
                  </a:lnTo>
                  <a:lnTo>
                    <a:pt x="634" y="31"/>
                  </a:lnTo>
                  <a:lnTo>
                    <a:pt x="631" y="31"/>
                  </a:lnTo>
                  <a:lnTo>
                    <a:pt x="627" y="32"/>
                  </a:lnTo>
                  <a:lnTo>
                    <a:pt x="624" y="34"/>
                  </a:lnTo>
                  <a:lnTo>
                    <a:pt x="622" y="36"/>
                  </a:lnTo>
                  <a:lnTo>
                    <a:pt x="620" y="39"/>
                  </a:lnTo>
                  <a:lnTo>
                    <a:pt x="618" y="43"/>
                  </a:lnTo>
                  <a:lnTo>
                    <a:pt x="617" y="47"/>
                  </a:lnTo>
                  <a:lnTo>
                    <a:pt x="617" y="53"/>
                  </a:lnTo>
                  <a:lnTo>
                    <a:pt x="617" y="57"/>
                  </a:lnTo>
                  <a:lnTo>
                    <a:pt x="618" y="61"/>
                  </a:lnTo>
                  <a:lnTo>
                    <a:pt x="620" y="68"/>
                  </a:lnTo>
                  <a:lnTo>
                    <a:pt x="623" y="75"/>
                  </a:lnTo>
                  <a:lnTo>
                    <a:pt x="628" y="82"/>
                  </a:lnTo>
                  <a:lnTo>
                    <a:pt x="633" y="88"/>
                  </a:lnTo>
                  <a:lnTo>
                    <a:pt x="639" y="93"/>
                  </a:lnTo>
                  <a:lnTo>
                    <a:pt x="651" y="105"/>
                  </a:lnTo>
                  <a:lnTo>
                    <a:pt x="657" y="111"/>
                  </a:lnTo>
                  <a:lnTo>
                    <a:pt x="664" y="117"/>
                  </a:lnTo>
                  <a:lnTo>
                    <a:pt x="669" y="124"/>
                  </a:lnTo>
                  <a:lnTo>
                    <a:pt x="674" y="132"/>
                  </a:lnTo>
                  <a:lnTo>
                    <a:pt x="679" y="140"/>
                  </a:lnTo>
                  <a:lnTo>
                    <a:pt x="681" y="144"/>
                  </a:lnTo>
                  <a:lnTo>
                    <a:pt x="682" y="149"/>
                  </a:lnTo>
                  <a:lnTo>
                    <a:pt x="683" y="154"/>
                  </a:lnTo>
                  <a:lnTo>
                    <a:pt x="684" y="159"/>
                  </a:lnTo>
                  <a:lnTo>
                    <a:pt x="685" y="164"/>
                  </a:lnTo>
                  <a:lnTo>
                    <a:pt x="685" y="170"/>
                  </a:lnTo>
                  <a:lnTo>
                    <a:pt x="685" y="177"/>
                  </a:lnTo>
                  <a:lnTo>
                    <a:pt x="684" y="183"/>
                  </a:lnTo>
                  <a:lnTo>
                    <a:pt x="683" y="188"/>
                  </a:lnTo>
                  <a:lnTo>
                    <a:pt x="682" y="194"/>
                  </a:lnTo>
                  <a:lnTo>
                    <a:pt x="680" y="199"/>
                  </a:lnTo>
                  <a:lnTo>
                    <a:pt x="678" y="203"/>
                  </a:lnTo>
                  <a:lnTo>
                    <a:pt x="675" y="208"/>
                  </a:lnTo>
                  <a:lnTo>
                    <a:pt x="672" y="211"/>
                  </a:lnTo>
                  <a:lnTo>
                    <a:pt x="668" y="215"/>
                  </a:lnTo>
                  <a:lnTo>
                    <a:pt x="665" y="218"/>
                  </a:lnTo>
                  <a:lnTo>
                    <a:pt x="660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5" y="225"/>
                  </a:lnTo>
                  <a:lnTo>
                    <a:pt x="639" y="226"/>
                  </a:lnTo>
                  <a:lnTo>
                    <a:pt x="633" y="226"/>
                  </a:lnTo>
                  <a:lnTo>
                    <a:pt x="627" y="226"/>
                  </a:lnTo>
                  <a:lnTo>
                    <a:pt x="621" y="225"/>
                  </a:lnTo>
                  <a:lnTo>
                    <a:pt x="616" y="224"/>
                  </a:lnTo>
                  <a:lnTo>
                    <a:pt x="611" y="222"/>
                  </a:lnTo>
                  <a:lnTo>
                    <a:pt x="606" y="220"/>
                  </a:lnTo>
                  <a:lnTo>
                    <a:pt x="602" y="218"/>
                  </a:lnTo>
                  <a:lnTo>
                    <a:pt x="598" y="215"/>
                  </a:lnTo>
                  <a:lnTo>
                    <a:pt x="594" y="211"/>
                  </a:lnTo>
                  <a:lnTo>
                    <a:pt x="591" y="208"/>
                  </a:lnTo>
                  <a:lnTo>
                    <a:pt x="589" y="203"/>
                  </a:lnTo>
                  <a:lnTo>
                    <a:pt x="587" y="199"/>
                  </a:lnTo>
                  <a:lnTo>
                    <a:pt x="585" y="194"/>
                  </a:lnTo>
                  <a:lnTo>
                    <a:pt x="583" y="188"/>
                  </a:lnTo>
                  <a:lnTo>
                    <a:pt x="582" y="183"/>
                  </a:lnTo>
                  <a:lnTo>
                    <a:pt x="582" y="177"/>
                  </a:lnTo>
                  <a:lnTo>
                    <a:pt x="581" y="170"/>
                  </a:lnTo>
                  <a:lnTo>
                    <a:pt x="581" y="157"/>
                  </a:lnTo>
                  <a:lnTo>
                    <a:pt x="614" y="157"/>
                  </a:lnTo>
                  <a:lnTo>
                    <a:pt x="614" y="172"/>
                  </a:lnTo>
                  <a:lnTo>
                    <a:pt x="615" y="178"/>
                  </a:lnTo>
                  <a:lnTo>
                    <a:pt x="616" y="182"/>
                  </a:lnTo>
                  <a:lnTo>
                    <a:pt x="617" y="186"/>
                  </a:lnTo>
                  <a:lnTo>
                    <a:pt x="619" y="189"/>
                  </a:lnTo>
                  <a:lnTo>
                    <a:pt x="622" y="191"/>
                  </a:lnTo>
                  <a:lnTo>
                    <a:pt x="625" y="193"/>
                  </a:lnTo>
                  <a:lnTo>
                    <a:pt x="628" y="194"/>
                  </a:lnTo>
                  <a:lnTo>
                    <a:pt x="632" y="194"/>
                  </a:lnTo>
                  <a:lnTo>
                    <a:pt x="636" y="194"/>
                  </a:lnTo>
                  <a:lnTo>
                    <a:pt x="640" y="193"/>
                  </a:lnTo>
                  <a:lnTo>
                    <a:pt x="643" y="191"/>
                  </a:lnTo>
                  <a:lnTo>
                    <a:pt x="644" y="190"/>
                  </a:lnTo>
                  <a:lnTo>
                    <a:pt x="645" y="189"/>
                  </a:lnTo>
                  <a:lnTo>
                    <a:pt x="647" y="186"/>
                  </a:lnTo>
                  <a:lnTo>
                    <a:pt x="649" y="182"/>
                  </a:lnTo>
                  <a:lnTo>
                    <a:pt x="650" y="178"/>
                  </a:lnTo>
                  <a:lnTo>
                    <a:pt x="650" y="172"/>
                  </a:lnTo>
                  <a:lnTo>
                    <a:pt x="650" y="168"/>
                  </a:lnTo>
                  <a:lnTo>
                    <a:pt x="649" y="164"/>
                  </a:lnTo>
                  <a:lnTo>
                    <a:pt x="647" y="157"/>
                  </a:lnTo>
                  <a:lnTo>
                    <a:pt x="644" y="150"/>
                  </a:lnTo>
                  <a:lnTo>
                    <a:pt x="640" y="144"/>
                  </a:lnTo>
                  <a:lnTo>
                    <a:pt x="635" y="138"/>
                  </a:lnTo>
                  <a:lnTo>
                    <a:pt x="629" y="132"/>
                  </a:lnTo>
                  <a:lnTo>
                    <a:pt x="616" y="120"/>
                  </a:lnTo>
                  <a:lnTo>
                    <a:pt x="610" y="114"/>
                  </a:lnTo>
                  <a:lnTo>
                    <a:pt x="604" y="108"/>
                  </a:lnTo>
                  <a:lnTo>
                    <a:pt x="598" y="101"/>
                  </a:lnTo>
                  <a:lnTo>
                    <a:pt x="593" y="94"/>
                  </a:lnTo>
                  <a:lnTo>
                    <a:pt x="589" y="86"/>
                  </a:lnTo>
                  <a:lnTo>
                    <a:pt x="587" y="81"/>
                  </a:lnTo>
                  <a:lnTo>
                    <a:pt x="585" y="76"/>
                  </a:lnTo>
                  <a:lnTo>
                    <a:pt x="584" y="72"/>
                  </a:lnTo>
                  <a:lnTo>
                    <a:pt x="583" y="66"/>
                  </a:lnTo>
                  <a:lnTo>
                    <a:pt x="583" y="61"/>
                  </a:lnTo>
                  <a:lnTo>
                    <a:pt x="582" y="55"/>
                  </a:lnTo>
                  <a:lnTo>
                    <a:pt x="583" y="49"/>
                  </a:lnTo>
                  <a:lnTo>
                    <a:pt x="583" y="43"/>
                  </a:lnTo>
                  <a:lnTo>
                    <a:pt x="584" y="37"/>
                  </a:lnTo>
                  <a:lnTo>
                    <a:pt x="586" y="32"/>
                  </a:lnTo>
                  <a:lnTo>
                    <a:pt x="587" y="27"/>
                  </a:lnTo>
                  <a:lnTo>
                    <a:pt x="590" y="22"/>
                  </a:lnTo>
                  <a:lnTo>
                    <a:pt x="592" y="18"/>
                  </a:lnTo>
                  <a:lnTo>
                    <a:pt x="595" y="14"/>
                  </a:lnTo>
                  <a:lnTo>
                    <a:pt x="599" y="11"/>
                  </a:lnTo>
                  <a:lnTo>
                    <a:pt x="602" y="8"/>
                  </a:lnTo>
                  <a:lnTo>
                    <a:pt x="607" y="5"/>
                  </a:lnTo>
                  <a:lnTo>
                    <a:pt x="611" y="3"/>
                  </a:lnTo>
                  <a:lnTo>
                    <a:pt x="616" y="2"/>
                  </a:lnTo>
                  <a:lnTo>
                    <a:pt x="622" y="0"/>
                  </a:lnTo>
                  <a:lnTo>
                    <a:pt x="627" y="0"/>
                  </a:lnTo>
                  <a:lnTo>
                    <a:pt x="634" y="0"/>
                  </a:lnTo>
                  <a:close/>
                  <a:moveTo>
                    <a:pt x="748" y="95"/>
                  </a:moveTo>
                  <a:lnTo>
                    <a:pt x="795" y="95"/>
                  </a:lnTo>
                  <a:lnTo>
                    <a:pt x="795" y="127"/>
                  </a:lnTo>
                  <a:lnTo>
                    <a:pt x="748" y="127"/>
                  </a:lnTo>
                  <a:lnTo>
                    <a:pt x="748" y="192"/>
                  </a:lnTo>
                  <a:lnTo>
                    <a:pt x="808" y="192"/>
                  </a:lnTo>
                  <a:lnTo>
                    <a:pt x="808" y="223"/>
                  </a:lnTo>
                  <a:lnTo>
                    <a:pt x="713" y="223"/>
                  </a:lnTo>
                  <a:lnTo>
                    <a:pt x="713" y="2"/>
                  </a:lnTo>
                  <a:lnTo>
                    <a:pt x="808" y="2"/>
                  </a:lnTo>
                  <a:lnTo>
                    <a:pt x="808" y="34"/>
                  </a:lnTo>
                  <a:lnTo>
                    <a:pt x="748" y="34"/>
                  </a:lnTo>
                  <a:lnTo>
                    <a:pt x="748" y="95"/>
                  </a:lnTo>
                  <a:close/>
                  <a:moveTo>
                    <a:pt x="911" y="159"/>
                  </a:moveTo>
                  <a:lnTo>
                    <a:pt x="934" y="2"/>
                  </a:lnTo>
                  <a:lnTo>
                    <a:pt x="983" y="2"/>
                  </a:lnTo>
                  <a:lnTo>
                    <a:pt x="983" y="223"/>
                  </a:lnTo>
                  <a:lnTo>
                    <a:pt x="950" y="223"/>
                  </a:lnTo>
                  <a:lnTo>
                    <a:pt x="950" y="65"/>
                  </a:lnTo>
                  <a:lnTo>
                    <a:pt x="926" y="223"/>
                  </a:lnTo>
                  <a:lnTo>
                    <a:pt x="893" y="223"/>
                  </a:lnTo>
                  <a:lnTo>
                    <a:pt x="867" y="67"/>
                  </a:lnTo>
                  <a:lnTo>
                    <a:pt x="867" y="223"/>
                  </a:lnTo>
                  <a:lnTo>
                    <a:pt x="837" y="223"/>
                  </a:lnTo>
                  <a:lnTo>
                    <a:pt x="837" y="2"/>
                  </a:lnTo>
                  <a:lnTo>
                    <a:pt x="885" y="2"/>
                  </a:lnTo>
                  <a:lnTo>
                    <a:pt x="911" y="159"/>
                  </a:lnTo>
                  <a:close/>
                  <a:moveTo>
                    <a:pt x="1017" y="2"/>
                  </a:moveTo>
                  <a:lnTo>
                    <a:pt x="1051" y="2"/>
                  </a:lnTo>
                  <a:lnTo>
                    <a:pt x="1051" y="223"/>
                  </a:lnTo>
                  <a:lnTo>
                    <a:pt x="1017" y="223"/>
                  </a:lnTo>
                  <a:lnTo>
                    <a:pt x="1017" y="2"/>
                  </a:lnTo>
                  <a:close/>
                  <a:moveTo>
                    <a:pt x="1131" y="0"/>
                  </a:moveTo>
                  <a:lnTo>
                    <a:pt x="1138" y="0"/>
                  </a:lnTo>
                  <a:lnTo>
                    <a:pt x="1143" y="0"/>
                  </a:lnTo>
                  <a:lnTo>
                    <a:pt x="1149" y="2"/>
                  </a:lnTo>
                  <a:lnTo>
                    <a:pt x="1154" y="3"/>
                  </a:lnTo>
                  <a:lnTo>
                    <a:pt x="1158" y="5"/>
                  </a:lnTo>
                  <a:lnTo>
                    <a:pt x="1162" y="8"/>
                  </a:lnTo>
                  <a:lnTo>
                    <a:pt x="1166" y="11"/>
                  </a:lnTo>
                  <a:lnTo>
                    <a:pt x="1170" y="14"/>
                  </a:lnTo>
                  <a:lnTo>
                    <a:pt x="1173" y="18"/>
                  </a:lnTo>
                  <a:lnTo>
                    <a:pt x="1175" y="22"/>
                  </a:lnTo>
                  <a:lnTo>
                    <a:pt x="1178" y="27"/>
                  </a:lnTo>
                  <a:lnTo>
                    <a:pt x="1179" y="32"/>
                  </a:lnTo>
                  <a:lnTo>
                    <a:pt x="1181" y="37"/>
                  </a:lnTo>
                  <a:lnTo>
                    <a:pt x="1182" y="43"/>
                  </a:lnTo>
                  <a:lnTo>
                    <a:pt x="1182" y="49"/>
                  </a:lnTo>
                  <a:lnTo>
                    <a:pt x="1183" y="55"/>
                  </a:lnTo>
                  <a:lnTo>
                    <a:pt x="1183" y="62"/>
                  </a:lnTo>
                  <a:lnTo>
                    <a:pt x="1150" y="62"/>
                  </a:lnTo>
                  <a:lnTo>
                    <a:pt x="1150" y="53"/>
                  </a:lnTo>
                  <a:lnTo>
                    <a:pt x="1149" y="47"/>
                  </a:lnTo>
                  <a:lnTo>
                    <a:pt x="1149" y="43"/>
                  </a:lnTo>
                  <a:lnTo>
                    <a:pt x="1148" y="41"/>
                  </a:lnTo>
                  <a:lnTo>
                    <a:pt x="1147" y="39"/>
                  </a:lnTo>
                  <a:lnTo>
                    <a:pt x="1145" y="36"/>
                  </a:lnTo>
                  <a:lnTo>
                    <a:pt x="1143" y="34"/>
                  </a:lnTo>
                  <a:lnTo>
                    <a:pt x="1140" y="32"/>
                  </a:lnTo>
                  <a:lnTo>
                    <a:pt x="1136" y="31"/>
                  </a:lnTo>
                  <a:lnTo>
                    <a:pt x="1132" y="31"/>
                  </a:lnTo>
                  <a:lnTo>
                    <a:pt x="1128" y="31"/>
                  </a:lnTo>
                  <a:lnTo>
                    <a:pt x="1125" y="32"/>
                  </a:lnTo>
                  <a:lnTo>
                    <a:pt x="1122" y="34"/>
                  </a:lnTo>
                  <a:lnTo>
                    <a:pt x="1120" y="36"/>
                  </a:lnTo>
                  <a:lnTo>
                    <a:pt x="1118" y="39"/>
                  </a:lnTo>
                  <a:lnTo>
                    <a:pt x="1116" y="43"/>
                  </a:lnTo>
                  <a:lnTo>
                    <a:pt x="1115" y="47"/>
                  </a:lnTo>
                  <a:lnTo>
                    <a:pt x="1115" y="53"/>
                  </a:lnTo>
                  <a:lnTo>
                    <a:pt x="1115" y="57"/>
                  </a:lnTo>
                  <a:lnTo>
                    <a:pt x="1116" y="61"/>
                  </a:lnTo>
                  <a:lnTo>
                    <a:pt x="1118" y="68"/>
                  </a:lnTo>
                  <a:lnTo>
                    <a:pt x="1121" y="75"/>
                  </a:lnTo>
                  <a:lnTo>
                    <a:pt x="1126" y="82"/>
                  </a:lnTo>
                  <a:lnTo>
                    <a:pt x="1131" y="88"/>
                  </a:lnTo>
                  <a:lnTo>
                    <a:pt x="1136" y="93"/>
                  </a:lnTo>
                  <a:lnTo>
                    <a:pt x="1149" y="105"/>
                  </a:lnTo>
                  <a:lnTo>
                    <a:pt x="1155" y="111"/>
                  </a:lnTo>
                  <a:lnTo>
                    <a:pt x="1161" y="117"/>
                  </a:lnTo>
                  <a:lnTo>
                    <a:pt x="1167" y="124"/>
                  </a:lnTo>
                  <a:lnTo>
                    <a:pt x="1172" y="132"/>
                  </a:lnTo>
                  <a:lnTo>
                    <a:pt x="1177" y="140"/>
                  </a:lnTo>
                  <a:lnTo>
                    <a:pt x="1178" y="144"/>
                  </a:lnTo>
                  <a:lnTo>
                    <a:pt x="1180" y="149"/>
                  </a:lnTo>
                  <a:lnTo>
                    <a:pt x="1181" y="154"/>
                  </a:lnTo>
                  <a:lnTo>
                    <a:pt x="1182" y="159"/>
                  </a:lnTo>
                  <a:lnTo>
                    <a:pt x="1183" y="164"/>
                  </a:lnTo>
                  <a:lnTo>
                    <a:pt x="1183" y="170"/>
                  </a:lnTo>
                  <a:lnTo>
                    <a:pt x="1183" y="177"/>
                  </a:lnTo>
                  <a:lnTo>
                    <a:pt x="1182" y="183"/>
                  </a:lnTo>
                  <a:lnTo>
                    <a:pt x="1181" y="188"/>
                  </a:lnTo>
                  <a:lnTo>
                    <a:pt x="1180" y="194"/>
                  </a:lnTo>
                  <a:lnTo>
                    <a:pt x="1178" y="199"/>
                  </a:lnTo>
                  <a:lnTo>
                    <a:pt x="1176" y="203"/>
                  </a:lnTo>
                  <a:lnTo>
                    <a:pt x="1173" y="208"/>
                  </a:lnTo>
                  <a:lnTo>
                    <a:pt x="1170" y="211"/>
                  </a:lnTo>
                  <a:lnTo>
                    <a:pt x="1166" y="215"/>
                  </a:lnTo>
                  <a:lnTo>
                    <a:pt x="1162" y="218"/>
                  </a:lnTo>
                  <a:lnTo>
                    <a:pt x="1158" y="220"/>
                  </a:lnTo>
                  <a:lnTo>
                    <a:pt x="1154" y="222"/>
                  </a:lnTo>
                  <a:lnTo>
                    <a:pt x="1149" y="224"/>
                  </a:lnTo>
                  <a:lnTo>
                    <a:pt x="1143" y="225"/>
                  </a:lnTo>
                  <a:lnTo>
                    <a:pt x="1137" y="226"/>
                  </a:lnTo>
                  <a:lnTo>
                    <a:pt x="1131" y="226"/>
                  </a:lnTo>
                  <a:lnTo>
                    <a:pt x="1125" y="226"/>
                  </a:lnTo>
                  <a:lnTo>
                    <a:pt x="1119" y="225"/>
                  </a:lnTo>
                  <a:lnTo>
                    <a:pt x="1114" y="224"/>
                  </a:lnTo>
                  <a:lnTo>
                    <a:pt x="1109" y="222"/>
                  </a:lnTo>
                  <a:lnTo>
                    <a:pt x="1104" y="220"/>
                  </a:lnTo>
                  <a:lnTo>
                    <a:pt x="1100" y="218"/>
                  </a:lnTo>
                  <a:lnTo>
                    <a:pt x="1096" y="215"/>
                  </a:lnTo>
                  <a:lnTo>
                    <a:pt x="1092" y="211"/>
                  </a:lnTo>
                  <a:lnTo>
                    <a:pt x="1089" y="208"/>
                  </a:lnTo>
                  <a:lnTo>
                    <a:pt x="1087" y="203"/>
                  </a:lnTo>
                  <a:lnTo>
                    <a:pt x="1084" y="199"/>
                  </a:lnTo>
                  <a:lnTo>
                    <a:pt x="1083" y="194"/>
                  </a:lnTo>
                  <a:lnTo>
                    <a:pt x="1081" y="188"/>
                  </a:lnTo>
                  <a:lnTo>
                    <a:pt x="1080" y="183"/>
                  </a:lnTo>
                  <a:lnTo>
                    <a:pt x="1079" y="177"/>
                  </a:lnTo>
                  <a:lnTo>
                    <a:pt x="1079" y="170"/>
                  </a:lnTo>
                  <a:lnTo>
                    <a:pt x="1079" y="157"/>
                  </a:lnTo>
                  <a:lnTo>
                    <a:pt x="1112" y="157"/>
                  </a:lnTo>
                  <a:lnTo>
                    <a:pt x="1112" y="172"/>
                  </a:lnTo>
                  <a:lnTo>
                    <a:pt x="1112" y="178"/>
                  </a:lnTo>
                  <a:lnTo>
                    <a:pt x="1113" y="182"/>
                  </a:lnTo>
                  <a:lnTo>
                    <a:pt x="1115" y="186"/>
                  </a:lnTo>
                  <a:lnTo>
                    <a:pt x="1117" y="189"/>
                  </a:lnTo>
                  <a:lnTo>
                    <a:pt x="1120" y="191"/>
                  </a:lnTo>
                  <a:lnTo>
                    <a:pt x="1123" y="193"/>
                  </a:lnTo>
                  <a:lnTo>
                    <a:pt x="1126" y="194"/>
                  </a:lnTo>
                  <a:lnTo>
                    <a:pt x="1130" y="194"/>
                  </a:lnTo>
                  <a:lnTo>
                    <a:pt x="1134" y="194"/>
                  </a:lnTo>
                  <a:lnTo>
                    <a:pt x="1138" y="193"/>
                  </a:lnTo>
                  <a:lnTo>
                    <a:pt x="1141" y="191"/>
                  </a:lnTo>
                  <a:lnTo>
                    <a:pt x="1142" y="190"/>
                  </a:lnTo>
                  <a:lnTo>
                    <a:pt x="1143" y="189"/>
                  </a:lnTo>
                  <a:lnTo>
                    <a:pt x="1145" y="186"/>
                  </a:lnTo>
                  <a:lnTo>
                    <a:pt x="1147" y="182"/>
                  </a:lnTo>
                  <a:lnTo>
                    <a:pt x="1148" y="178"/>
                  </a:lnTo>
                  <a:lnTo>
                    <a:pt x="1148" y="172"/>
                  </a:lnTo>
                  <a:lnTo>
                    <a:pt x="1148" y="168"/>
                  </a:lnTo>
                  <a:lnTo>
                    <a:pt x="1147" y="164"/>
                  </a:lnTo>
                  <a:lnTo>
                    <a:pt x="1145" y="157"/>
                  </a:lnTo>
                  <a:lnTo>
                    <a:pt x="1142" y="150"/>
                  </a:lnTo>
                  <a:lnTo>
                    <a:pt x="1138" y="144"/>
                  </a:lnTo>
                  <a:lnTo>
                    <a:pt x="1132" y="138"/>
                  </a:lnTo>
                  <a:lnTo>
                    <a:pt x="1127" y="132"/>
                  </a:lnTo>
                  <a:lnTo>
                    <a:pt x="1114" y="120"/>
                  </a:lnTo>
                  <a:lnTo>
                    <a:pt x="1108" y="114"/>
                  </a:lnTo>
                  <a:lnTo>
                    <a:pt x="1102" y="108"/>
                  </a:lnTo>
                  <a:lnTo>
                    <a:pt x="1096" y="101"/>
                  </a:lnTo>
                  <a:lnTo>
                    <a:pt x="1091" y="94"/>
                  </a:lnTo>
                  <a:lnTo>
                    <a:pt x="1086" y="86"/>
                  </a:lnTo>
                  <a:lnTo>
                    <a:pt x="1085" y="81"/>
                  </a:lnTo>
                  <a:lnTo>
                    <a:pt x="1083" y="76"/>
                  </a:lnTo>
                  <a:lnTo>
                    <a:pt x="1082" y="72"/>
                  </a:lnTo>
                  <a:lnTo>
                    <a:pt x="1081" y="66"/>
                  </a:lnTo>
                  <a:lnTo>
                    <a:pt x="1080" y="61"/>
                  </a:lnTo>
                  <a:lnTo>
                    <a:pt x="1080" y="55"/>
                  </a:lnTo>
                  <a:lnTo>
                    <a:pt x="1080" y="49"/>
                  </a:lnTo>
                  <a:lnTo>
                    <a:pt x="1081" y="43"/>
                  </a:lnTo>
                  <a:lnTo>
                    <a:pt x="1082" y="37"/>
                  </a:lnTo>
                  <a:lnTo>
                    <a:pt x="1083" y="32"/>
                  </a:lnTo>
                  <a:lnTo>
                    <a:pt x="1085" y="27"/>
                  </a:lnTo>
                  <a:lnTo>
                    <a:pt x="1088" y="22"/>
                  </a:lnTo>
                  <a:lnTo>
                    <a:pt x="1090" y="18"/>
                  </a:lnTo>
                  <a:lnTo>
                    <a:pt x="1093" y="14"/>
                  </a:lnTo>
                  <a:lnTo>
                    <a:pt x="1097" y="11"/>
                  </a:lnTo>
                  <a:lnTo>
                    <a:pt x="1100" y="8"/>
                  </a:lnTo>
                  <a:lnTo>
                    <a:pt x="1105" y="5"/>
                  </a:lnTo>
                  <a:lnTo>
                    <a:pt x="1109" y="3"/>
                  </a:lnTo>
                  <a:lnTo>
                    <a:pt x="1114" y="2"/>
                  </a:lnTo>
                  <a:lnTo>
                    <a:pt x="1120" y="0"/>
                  </a:lnTo>
                  <a:lnTo>
                    <a:pt x="1125" y="0"/>
                  </a:lnTo>
                  <a:lnTo>
                    <a:pt x="1131" y="0"/>
                  </a:lnTo>
                  <a:close/>
                  <a:moveTo>
                    <a:pt x="1256" y="135"/>
                  </a:moveTo>
                  <a:lnTo>
                    <a:pt x="1245" y="155"/>
                  </a:lnTo>
                  <a:lnTo>
                    <a:pt x="1245" y="223"/>
                  </a:lnTo>
                  <a:lnTo>
                    <a:pt x="1211" y="223"/>
                  </a:lnTo>
                  <a:lnTo>
                    <a:pt x="1211" y="2"/>
                  </a:lnTo>
                  <a:lnTo>
                    <a:pt x="1245" y="2"/>
                  </a:lnTo>
                  <a:lnTo>
                    <a:pt x="1245" y="98"/>
                  </a:lnTo>
                  <a:lnTo>
                    <a:pt x="1291" y="2"/>
                  </a:lnTo>
                  <a:lnTo>
                    <a:pt x="1326" y="2"/>
                  </a:lnTo>
                  <a:lnTo>
                    <a:pt x="1277" y="101"/>
                  </a:lnTo>
                  <a:lnTo>
                    <a:pt x="1326" y="223"/>
                  </a:lnTo>
                  <a:lnTo>
                    <a:pt x="1290" y="223"/>
                  </a:lnTo>
                  <a:lnTo>
                    <a:pt x="1256" y="135"/>
                  </a:lnTo>
                  <a:close/>
                  <a:moveTo>
                    <a:pt x="1462" y="223"/>
                  </a:moveTo>
                  <a:lnTo>
                    <a:pt x="1427" y="223"/>
                  </a:lnTo>
                  <a:lnTo>
                    <a:pt x="1421" y="183"/>
                  </a:lnTo>
                  <a:lnTo>
                    <a:pt x="1378" y="183"/>
                  </a:lnTo>
                  <a:lnTo>
                    <a:pt x="1372" y="223"/>
                  </a:lnTo>
                  <a:lnTo>
                    <a:pt x="1340" y="223"/>
                  </a:lnTo>
                  <a:lnTo>
                    <a:pt x="1376" y="2"/>
                  </a:lnTo>
                  <a:lnTo>
                    <a:pt x="1426" y="2"/>
                  </a:lnTo>
                  <a:lnTo>
                    <a:pt x="1462" y="223"/>
                  </a:lnTo>
                  <a:close/>
                  <a:moveTo>
                    <a:pt x="1383" y="153"/>
                  </a:moveTo>
                  <a:lnTo>
                    <a:pt x="1416" y="153"/>
                  </a:lnTo>
                  <a:lnTo>
                    <a:pt x="1399" y="41"/>
                  </a:lnTo>
                  <a:lnTo>
                    <a:pt x="1383" y="153"/>
                  </a:lnTo>
                  <a:close/>
                  <a:moveTo>
                    <a:pt x="1519" y="2"/>
                  </a:moveTo>
                  <a:lnTo>
                    <a:pt x="1519" y="173"/>
                  </a:lnTo>
                  <a:lnTo>
                    <a:pt x="1519" y="178"/>
                  </a:lnTo>
                  <a:lnTo>
                    <a:pt x="1520" y="183"/>
                  </a:lnTo>
                  <a:lnTo>
                    <a:pt x="1522" y="186"/>
                  </a:lnTo>
                  <a:lnTo>
                    <a:pt x="1524" y="189"/>
                  </a:lnTo>
                  <a:lnTo>
                    <a:pt x="1526" y="192"/>
                  </a:lnTo>
                  <a:lnTo>
                    <a:pt x="1530" y="193"/>
                  </a:lnTo>
                  <a:lnTo>
                    <a:pt x="1533" y="194"/>
                  </a:lnTo>
                  <a:lnTo>
                    <a:pt x="1537" y="194"/>
                  </a:lnTo>
                  <a:lnTo>
                    <a:pt x="1541" y="194"/>
                  </a:lnTo>
                  <a:lnTo>
                    <a:pt x="1545" y="193"/>
                  </a:lnTo>
                  <a:lnTo>
                    <a:pt x="1548" y="192"/>
                  </a:lnTo>
                  <a:lnTo>
                    <a:pt x="1549" y="191"/>
                  </a:lnTo>
                  <a:lnTo>
                    <a:pt x="1550" y="189"/>
                  </a:lnTo>
                  <a:lnTo>
                    <a:pt x="1552" y="186"/>
                  </a:lnTo>
                  <a:lnTo>
                    <a:pt x="1554" y="183"/>
                  </a:lnTo>
                  <a:lnTo>
                    <a:pt x="1555" y="178"/>
                  </a:lnTo>
                  <a:lnTo>
                    <a:pt x="1555" y="173"/>
                  </a:lnTo>
                  <a:lnTo>
                    <a:pt x="1555" y="2"/>
                  </a:lnTo>
                  <a:lnTo>
                    <a:pt x="1588" y="2"/>
                  </a:lnTo>
                  <a:lnTo>
                    <a:pt x="1588" y="171"/>
                  </a:lnTo>
                  <a:lnTo>
                    <a:pt x="1588" y="177"/>
                  </a:lnTo>
                  <a:lnTo>
                    <a:pt x="1587" y="183"/>
                  </a:lnTo>
                  <a:lnTo>
                    <a:pt x="1586" y="189"/>
                  </a:lnTo>
                  <a:lnTo>
                    <a:pt x="1585" y="194"/>
                  </a:lnTo>
                  <a:lnTo>
                    <a:pt x="1583" y="199"/>
                  </a:lnTo>
                  <a:lnTo>
                    <a:pt x="1581" y="204"/>
                  </a:lnTo>
                  <a:lnTo>
                    <a:pt x="1578" y="208"/>
                  </a:lnTo>
                  <a:lnTo>
                    <a:pt x="1575" y="212"/>
                  </a:lnTo>
                  <a:lnTo>
                    <a:pt x="1571" y="215"/>
                  </a:lnTo>
                  <a:lnTo>
                    <a:pt x="1567" y="218"/>
                  </a:lnTo>
                  <a:lnTo>
                    <a:pt x="1563" y="220"/>
                  </a:lnTo>
                  <a:lnTo>
                    <a:pt x="1559" y="222"/>
                  </a:lnTo>
                  <a:lnTo>
                    <a:pt x="1554" y="224"/>
                  </a:lnTo>
                  <a:lnTo>
                    <a:pt x="1548" y="225"/>
                  </a:lnTo>
                  <a:lnTo>
                    <a:pt x="1542" y="226"/>
                  </a:lnTo>
                  <a:lnTo>
                    <a:pt x="1536" y="226"/>
                  </a:lnTo>
                  <a:lnTo>
                    <a:pt x="1530" y="226"/>
                  </a:lnTo>
                  <a:lnTo>
                    <a:pt x="1524" y="225"/>
                  </a:lnTo>
                  <a:lnTo>
                    <a:pt x="1519" y="224"/>
                  </a:lnTo>
                  <a:lnTo>
                    <a:pt x="1514" y="222"/>
                  </a:lnTo>
                  <a:lnTo>
                    <a:pt x="1509" y="220"/>
                  </a:lnTo>
                  <a:lnTo>
                    <a:pt x="1505" y="218"/>
                  </a:lnTo>
                  <a:lnTo>
                    <a:pt x="1501" y="215"/>
                  </a:lnTo>
                  <a:lnTo>
                    <a:pt x="1497" y="212"/>
                  </a:lnTo>
                  <a:lnTo>
                    <a:pt x="1494" y="208"/>
                  </a:lnTo>
                  <a:lnTo>
                    <a:pt x="1492" y="204"/>
                  </a:lnTo>
                  <a:lnTo>
                    <a:pt x="1489" y="199"/>
                  </a:lnTo>
                  <a:lnTo>
                    <a:pt x="1488" y="194"/>
                  </a:lnTo>
                  <a:lnTo>
                    <a:pt x="1486" y="189"/>
                  </a:lnTo>
                  <a:lnTo>
                    <a:pt x="1485" y="183"/>
                  </a:lnTo>
                  <a:lnTo>
                    <a:pt x="1484" y="177"/>
                  </a:lnTo>
                  <a:lnTo>
                    <a:pt x="1484" y="171"/>
                  </a:lnTo>
                  <a:lnTo>
                    <a:pt x="1484" y="2"/>
                  </a:lnTo>
                  <a:lnTo>
                    <a:pt x="1519" y="2"/>
                  </a:lnTo>
                  <a:close/>
                  <a:moveTo>
                    <a:pt x="1722" y="57"/>
                  </a:moveTo>
                  <a:lnTo>
                    <a:pt x="1722" y="85"/>
                  </a:lnTo>
                  <a:lnTo>
                    <a:pt x="1722" y="92"/>
                  </a:lnTo>
                  <a:lnTo>
                    <a:pt x="1722" y="98"/>
                  </a:lnTo>
                  <a:lnTo>
                    <a:pt x="1721" y="104"/>
                  </a:lnTo>
                  <a:lnTo>
                    <a:pt x="1719" y="109"/>
                  </a:lnTo>
                  <a:lnTo>
                    <a:pt x="1717" y="114"/>
                  </a:lnTo>
                  <a:lnTo>
                    <a:pt x="1715" y="118"/>
                  </a:lnTo>
                  <a:lnTo>
                    <a:pt x="1713" y="122"/>
                  </a:lnTo>
                  <a:lnTo>
                    <a:pt x="1710" y="126"/>
                  </a:lnTo>
                  <a:lnTo>
                    <a:pt x="1706" y="129"/>
                  </a:lnTo>
                  <a:lnTo>
                    <a:pt x="1702" y="132"/>
                  </a:lnTo>
                  <a:lnTo>
                    <a:pt x="1698" y="135"/>
                  </a:lnTo>
                  <a:lnTo>
                    <a:pt x="1693" y="137"/>
                  </a:lnTo>
                  <a:lnTo>
                    <a:pt x="1688" y="138"/>
                  </a:lnTo>
                  <a:lnTo>
                    <a:pt x="1683" y="139"/>
                  </a:lnTo>
                  <a:lnTo>
                    <a:pt x="1677" y="140"/>
                  </a:lnTo>
                  <a:lnTo>
                    <a:pt x="1671" y="140"/>
                  </a:lnTo>
                  <a:lnTo>
                    <a:pt x="1654" y="140"/>
                  </a:lnTo>
                  <a:lnTo>
                    <a:pt x="1654" y="223"/>
                  </a:lnTo>
                  <a:lnTo>
                    <a:pt x="1619" y="223"/>
                  </a:lnTo>
                  <a:lnTo>
                    <a:pt x="1619" y="2"/>
                  </a:lnTo>
                  <a:lnTo>
                    <a:pt x="1671" y="2"/>
                  </a:lnTo>
                  <a:lnTo>
                    <a:pt x="1677" y="2"/>
                  </a:lnTo>
                  <a:lnTo>
                    <a:pt x="1683" y="3"/>
                  </a:lnTo>
                  <a:lnTo>
                    <a:pt x="1688" y="4"/>
                  </a:lnTo>
                  <a:lnTo>
                    <a:pt x="1693" y="6"/>
                  </a:lnTo>
                  <a:lnTo>
                    <a:pt x="1698" y="8"/>
                  </a:lnTo>
                  <a:lnTo>
                    <a:pt x="1702" y="10"/>
                  </a:lnTo>
                  <a:lnTo>
                    <a:pt x="1706" y="13"/>
                  </a:lnTo>
                  <a:lnTo>
                    <a:pt x="1710" y="16"/>
                  </a:lnTo>
                  <a:lnTo>
                    <a:pt x="1713" y="20"/>
                  </a:lnTo>
                  <a:lnTo>
                    <a:pt x="1715" y="24"/>
                  </a:lnTo>
                  <a:lnTo>
                    <a:pt x="1717" y="28"/>
                  </a:lnTo>
                  <a:lnTo>
                    <a:pt x="1719" y="33"/>
                  </a:lnTo>
                  <a:lnTo>
                    <a:pt x="1722" y="44"/>
                  </a:lnTo>
                  <a:lnTo>
                    <a:pt x="1722" y="50"/>
                  </a:lnTo>
                  <a:lnTo>
                    <a:pt x="1722" y="57"/>
                  </a:lnTo>
                  <a:close/>
                  <a:moveTo>
                    <a:pt x="1654" y="34"/>
                  </a:moveTo>
                  <a:lnTo>
                    <a:pt x="1654" y="109"/>
                  </a:lnTo>
                  <a:lnTo>
                    <a:pt x="1671" y="109"/>
                  </a:lnTo>
                  <a:lnTo>
                    <a:pt x="1675" y="108"/>
                  </a:lnTo>
                  <a:lnTo>
                    <a:pt x="1678" y="108"/>
                  </a:lnTo>
                  <a:lnTo>
                    <a:pt x="1681" y="106"/>
                  </a:lnTo>
                  <a:lnTo>
                    <a:pt x="1683" y="104"/>
                  </a:lnTo>
                  <a:lnTo>
                    <a:pt x="1685" y="101"/>
                  </a:lnTo>
                  <a:lnTo>
                    <a:pt x="1687" y="98"/>
                  </a:lnTo>
                  <a:lnTo>
                    <a:pt x="1687" y="95"/>
                  </a:lnTo>
                  <a:lnTo>
                    <a:pt x="1687" y="93"/>
                  </a:lnTo>
                  <a:lnTo>
                    <a:pt x="1688" y="88"/>
                  </a:lnTo>
                  <a:lnTo>
                    <a:pt x="1688" y="55"/>
                  </a:lnTo>
                  <a:lnTo>
                    <a:pt x="1687" y="49"/>
                  </a:lnTo>
                  <a:lnTo>
                    <a:pt x="1687" y="45"/>
                  </a:lnTo>
                  <a:lnTo>
                    <a:pt x="1685" y="41"/>
                  </a:lnTo>
                  <a:lnTo>
                    <a:pt x="1683" y="38"/>
                  </a:lnTo>
                  <a:lnTo>
                    <a:pt x="1681" y="36"/>
                  </a:lnTo>
                  <a:lnTo>
                    <a:pt x="1678" y="35"/>
                  </a:lnTo>
                  <a:lnTo>
                    <a:pt x="1675" y="34"/>
                  </a:lnTo>
                  <a:lnTo>
                    <a:pt x="1671" y="34"/>
                  </a:lnTo>
                  <a:lnTo>
                    <a:pt x="1654" y="34"/>
                  </a:lnTo>
                  <a:close/>
                  <a:moveTo>
                    <a:pt x="1851" y="57"/>
                  </a:moveTo>
                  <a:lnTo>
                    <a:pt x="1851" y="85"/>
                  </a:lnTo>
                  <a:lnTo>
                    <a:pt x="1851" y="92"/>
                  </a:lnTo>
                  <a:lnTo>
                    <a:pt x="1850" y="98"/>
                  </a:lnTo>
                  <a:lnTo>
                    <a:pt x="1849" y="104"/>
                  </a:lnTo>
                  <a:lnTo>
                    <a:pt x="1848" y="109"/>
                  </a:lnTo>
                  <a:lnTo>
                    <a:pt x="1846" y="114"/>
                  </a:lnTo>
                  <a:lnTo>
                    <a:pt x="1844" y="118"/>
                  </a:lnTo>
                  <a:lnTo>
                    <a:pt x="1841" y="122"/>
                  </a:lnTo>
                  <a:lnTo>
                    <a:pt x="1838" y="126"/>
                  </a:lnTo>
                  <a:lnTo>
                    <a:pt x="1835" y="129"/>
                  </a:lnTo>
                  <a:lnTo>
                    <a:pt x="1831" y="132"/>
                  </a:lnTo>
                  <a:lnTo>
                    <a:pt x="1827" y="135"/>
                  </a:lnTo>
                  <a:lnTo>
                    <a:pt x="1822" y="137"/>
                  </a:lnTo>
                  <a:lnTo>
                    <a:pt x="1817" y="138"/>
                  </a:lnTo>
                  <a:lnTo>
                    <a:pt x="1811" y="139"/>
                  </a:lnTo>
                  <a:lnTo>
                    <a:pt x="1806" y="140"/>
                  </a:lnTo>
                  <a:lnTo>
                    <a:pt x="1799" y="140"/>
                  </a:lnTo>
                  <a:lnTo>
                    <a:pt x="1783" y="140"/>
                  </a:lnTo>
                  <a:lnTo>
                    <a:pt x="1783" y="223"/>
                  </a:lnTo>
                  <a:lnTo>
                    <a:pt x="1748" y="223"/>
                  </a:lnTo>
                  <a:lnTo>
                    <a:pt x="1748" y="2"/>
                  </a:lnTo>
                  <a:lnTo>
                    <a:pt x="1799" y="2"/>
                  </a:lnTo>
                  <a:lnTo>
                    <a:pt x="1806" y="2"/>
                  </a:lnTo>
                  <a:lnTo>
                    <a:pt x="1811" y="3"/>
                  </a:lnTo>
                  <a:lnTo>
                    <a:pt x="1817" y="4"/>
                  </a:lnTo>
                  <a:lnTo>
                    <a:pt x="1822" y="6"/>
                  </a:lnTo>
                  <a:lnTo>
                    <a:pt x="1827" y="8"/>
                  </a:lnTo>
                  <a:lnTo>
                    <a:pt x="1831" y="10"/>
                  </a:lnTo>
                  <a:lnTo>
                    <a:pt x="1835" y="13"/>
                  </a:lnTo>
                  <a:lnTo>
                    <a:pt x="1838" y="16"/>
                  </a:lnTo>
                  <a:lnTo>
                    <a:pt x="1841" y="20"/>
                  </a:lnTo>
                  <a:lnTo>
                    <a:pt x="1844" y="24"/>
                  </a:lnTo>
                  <a:lnTo>
                    <a:pt x="1846" y="28"/>
                  </a:lnTo>
                  <a:lnTo>
                    <a:pt x="1848" y="33"/>
                  </a:lnTo>
                  <a:lnTo>
                    <a:pt x="1850" y="44"/>
                  </a:lnTo>
                  <a:lnTo>
                    <a:pt x="1851" y="50"/>
                  </a:lnTo>
                  <a:lnTo>
                    <a:pt x="1851" y="57"/>
                  </a:lnTo>
                  <a:close/>
                  <a:moveTo>
                    <a:pt x="1783" y="34"/>
                  </a:moveTo>
                  <a:lnTo>
                    <a:pt x="1783" y="109"/>
                  </a:lnTo>
                  <a:lnTo>
                    <a:pt x="1799" y="109"/>
                  </a:lnTo>
                  <a:lnTo>
                    <a:pt x="1803" y="108"/>
                  </a:lnTo>
                  <a:lnTo>
                    <a:pt x="1807" y="108"/>
                  </a:lnTo>
                  <a:lnTo>
                    <a:pt x="1810" y="106"/>
                  </a:lnTo>
                  <a:lnTo>
                    <a:pt x="1812" y="104"/>
                  </a:lnTo>
                  <a:lnTo>
                    <a:pt x="1814" y="101"/>
                  </a:lnTo>
                  <a:lnTo>
                    <a:pt x="1815" y="98"/>
                  </a:lnTo>
                  <a:lnTo>
                    <a:pt x="1816" y="95"/>
                  </a:lnTo>
                  <a:lnTo>
                    <a:pt x="1816" y="93"/>
                  </a:lnTo>
                  <a:lnTo>
                    <a:pt x="1816" y="88"/>
                  </a:lnTo>
                  <a:lnTo>
                    <a:pt x="1816" y="55"/>
                  </a:lnTo>
                  <a:lnTo>
                    <a:pt x="1816" y="49"/>
                  </a:lnTo>
                  <a:lnTo>
                    <a:pt x="1815" y="45"/>
                  </a:lnTo>
                  <a:lnTo>
                    <a:pt x="1814" y="41"/>
                  </a:lnTo>
                  <a:lnTo>
                    <a:pt x="1812" y="38"/>
                  </a:lnTo>
                  <a:lnTo>
                    <a:pt x="1810" y="36"/>
                  </a:lnTo>
                  <a:lnTo>
                    <a:pt x="1807" y="35"/>
                  </a:lnTo>
                  <a:lnTo>
                    <a:pt x="1803" y="34"/>
                  </a:lnTo>
                  <a:lnTo>
                    <a:pt x="1799" y="34"/>
                  </a:lnTo>
                  <a:lnTo>
                    <a:pt x="1783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096246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956" r:id="rId20"/>
    <p:sldLayoutId id="2147483783" r:id="rId21"/>
    <p:sldLayoutId id="2147483784" r:id="rId22"/>
    <p:sldLayoutId id="2147483785" r:id="rId23"/>
    <p:sldLayoutId id="2147483786" r:id="rId24"/>
    <p:sldLayoutId id="2147483787" r:id="rId25"/>
    <p:sldLayoutId id="2147483788" r:id="rId26"/>
    <p:sldLayoutId id="2147483789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4E060EF4-6653-441F-B1F0-04AF918DF5BA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Freeform 7"/>
          <p:cNvSpPr>
            <a:spLocks noEditPoints="1"/>
          </p:cNvSpPr>
          <p:nvPr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9" name="Group 8"/>
          <p:cNvGrpSpPr/>
          <p:nvPr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1" name="Round Same Side Corner Rectangle 10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36" name="Freeform 32"/>
            <p:cNvSpPr>
              <a:spLocks noEditPoints="1"/>
            </p:cNvSpPr>
            <p:nvPr userDrawn="1"/>
          </p:nvSpPr>
          <p:spPr bwMode="auto">
            <a:xfrm>
              <a:off x="8841484" y="6473685"/>
              <a:ext cx="2006400" cy="211200"/>
            </a:xfrm>
            <a:custGeom>
              <a:avLst/>
              <a:gdLst>
                <a:gd name="T0" fmla="*/ 2042 w 2127"/>
                <a:gd name="T1" fmla="*/ 3 h 225"/>
                <a:gd name="T2" fmla="*/ 1959 w 2127"/>
                <a:gd name="T3" fmla="*/ 97 h 225"/>
                <a:gd name="T4" fmla="*/ 1943 w 2127"/>
                <a:gd name="T5" fmla="*/ 34 h 225"/>
                <a:gd name="T6" fmla="*/ 1982 w 2127"/>
                <a:gd name="T7" fmla="*/ 126 h 225"/>
                <a:gd name="T8" fmla="*/ 1893 w 2127"/>
                <a:gd name="T9" fmla="*/ 222 h 225"/>
                <a:gd name="T10" fmla="*/ 1985 w 2127"/>
                <a:gd name="T11" fmla="*/ 20 h 225"/>
                <a:gd name="T12" fmla="*/ 1820 w 2127"/>
                <a:gd name="T13" fmla="*/ 108 h 225"/>
                <a:gd name="T14" fmla="*/ 1830 w 2127"/>
                <a:gd name="T15" fmla="*/ 41 h 225"/>
                <a:gd name="T16" fmla="*/ 1865 w 2127"/>
                <a:gd name="T17" fmla="*/ 104 h 225"/>
                <a:gd name="T18" fmla="*/ 1828 w 2127"/>
                <a:gd name="T19" fmla="*/ 139 h 225"/>
                <a:gd name="T20" fmla="*/ 1839 w 2127"/>
                <a:gd name="T21" fmla="*/ 6 h 225"/>
                <a:gd name="T22" fmla="*/ 1867 w 2127"/>
                <a:gd name="T23" fmla="*/ 51 h 225"/>
                <a:gd name="T24" fmla="*/ 1680 w 2127"/>
                <a:gd name="T25" fmla="*/ 193 h 225"/>
                <a:gd name="T26" fmla="*/ 1734 w 2127"/>
                <a:gd name="T27" fmla="*/ 3 h 225"/>
                <a:gd name="T28" fmla="*/ 1714 w 2127"/>
                <a:gd name="T29" fmla="*/ 217 h 225"/>
                <a:gd name="T30" fmla="*/ 1660 w 2127"/>
                <a:gd name="T31" fmla="*/ 221 h 225"/>
                <a:gd name="T32" fmla="*/ 1631 w 2127"/>
                <a:gd name="T33" fmla="*/ 176 h 225"/>
                <a:gd name="T34" fmla="*/ 1526 w 2127"/>
                <a:gd name="T35" fmla="*/ 182 h 225"/>
                <a:gd name="T36" fmla="*/ 1394 w 2127"/>
                <a:gd name="T37" fmla="*/ 3 h 225"/>
                <a:gd name="T38" fmla="*/ 1271 w 2127"/>
                <a:gd name="T39" fmla="*/ 127 h 225"/>
                <a:gd name="T40" fmla="*/ 1214 w 2127"/>
                <a:gd name="T41" fmla="*/ 3 h 225"/>
                <a:gd name="T42" fmla="*/ 1056 w 2127"/>
                <a:gd name="T43" fmla="*/ 2 h 225"/>
                <a:gd name="T44" fmla="*/ 1089 w 2127"/>
                <a:gd name="T45" fmla="*/ 43 h 225"/>
                <a:gd name="T46" fmla="*/ 1048 w 2127"/>
                <a:gd name="T47" fmla="*/ 33 h 225"/>
                <a:gd name="T48" fmla="*/ 1022 w 2127"/>
                <a:gd name="T49" fmla="*/ 53 h 225"/>
                <a:gd name="T50" fmla="*/ 1074 w 2127"/>
                <a:gd name="T51" fmla="*/ 124 h 225"/>
                <a:gd name="T52" fmla="*/ 1085 w 2127"/>
                <a:gd name="T53" fmla="*/ 198 h 225"/>
                <a:gd name="T54" fmla="*/ 1044 w 2127"/>
                <a:gd name="T55" fmla="*/ 224 h 225"/>
                <a:gd name="T56" fmla="*/ 995 w 2127"/>
                <a:gd name="T57" fmla="*/ 202 h 225"/>
                <a:gd name="T58" fmla="*/ 1021 w 2127"/>
                <a:gd name="T59" fmla="*/ 182 h 225"/>
                <a:gd name="T60" fmla="*/ 1051 w 2127"/>
                <a:gd name="T61" fmla="*/ 188 h 225"/>
                <a:gd name="T62" fmla="*/ 1040 w 2127"/>
                <a:gd name="T63" fmla="*/ 138 h 225"/>
                <a:gd name="T64" fmla="*/ 988 w 2127"/>
                <a:gd name="T65" fmla="*/ 49 h 225"/>
                <a:gd name="T66" fmla="*/ 1013 w 2127"/>
                <a:gd name="T67" fmla="*/ 6 h 225"/>
                <a:gd name="T68" fmla="*/ 963 w 2127"/>
                <a:gd name="T69" fmla="*/ 190 h 225"/>
                <a:gd name="T70" fmla="*/ 727 w 2127"/>
                <a:gd name="T71" fmla="*/ 3 h 225"/>
                <a:gd name="T72" fmla="*/ 630 w 2127"/>
                <a:gd name="T73" fmla="*/ 184 h 225"/>
                <a:gd name="T74" fmla="*/ 661 w 2127"/>
                <a:gd name="T75" fmla="*/ 185 h 225"/>
                <a:gd name="T76" fmla="*/ 653 w 2127"/>
                <a:gd name="T77" fmla="*/ 33 h 225"/>
                <a:gd name="T78" fmla="*/ 628 w 2127"/>
                <a:gd name="T79" fmla="*/ 171 h 225"/>
                <a:gd name="T80" fmla="*/ 610 w 2127"/>
                <a:gd name="T81" fmla="*/ 12 h 225"/>
                <a:gd name="T82" fmla="*/ 668 w 2127"/>
                <a:gd name="T83" fmla="*/ 4 h 225"/>
                <a:gd name="T84" fmla="*/ 698 w 2127"/>
                <a:gd name="T85" fmla="*/ 49 h 225"/>
                <a:gd name="T86" fmla="*/ 684 w 2127"/>
                <a:gd name="T87" fmla="*/ 211 h 225"/>
                <a:gd name="T88" fmla="*/ 628 w 2127"/>
                <a:gd name="T89" fmla="*/ 222 h 225"/>
                <a:gd name="T90" fmla="*/ 594 w 2127"/>
                <a:gd name="T91" fmla="*/ 182 h 225"/>
                <a:gd name="T92" fmla="*/ 467 w 2127"/>
                <a:gd name="T93" fmla="*/ 34 h 225"/>
                <a:gd name="T94" fmla="*/ 259 w 2127"/>
                <a:gd name="T95" fmla="*/ 3 h 225"/>
                <a:gd name="T96" fmla="*/ 161 w 2127"/>
                <a:gd name="T97" fmla="*/ 185 h 225"/>
                <a:gd name="T98" fmla="*/ 193 w 2127"/>
                <a:gd name="T99" fmla="*/ 182 h 225"/>
                <a:gd name="T100" fmla="*/ 180 w 2127"/>
                <a:gd name="T101" fmla="*/ 32 h 225"/>
                <a:gd name="T102" fmla="*/ 124 w 2127"/>
                <a:gd name="T103" fmla="*/ 55 h 225"/>
                <a:gd name="T104" fmla="*/ 146 w 2127"/>
                <a:gd name="T105" fmla="*/ 9 h 225"/>
                <a:gd name="T106" fmla="*/ 204 w 2127"/>
                <a:gd name="T107" fmla="*/ 6 h 225"/>
                <a:gd name="T108" fmla="*/ 229 w 2127"/>
                <a:gd name="T109" fmla="*/ 55 h 225"/>
                <a:gd name="T110" fmla="*/ 212 w 2127"/>
                <a:gd name="T111" fmla="*/ 214 h 225"/>
                <a:gd name="T112" fmla="*/ 154 w 2127"/>
                <a:gd name="T113" fmla="*/ 221 h 225"/>
                <a:gd name="T114" fmla="*/ 124 w 2127"/>
                <a:gd name="T115" fmla="*/ 176 h 225"/>
                <a:gd name="T116" fmla="*/ 66 w 2127"/>
                <a:gd name="T117" fmla="*/ 97 h 225"/>
                <a:gd name="T118" fmla="*/ 50 w 2127"/>
                <a:gd name="T119" fmla="*/ 34 h 225"/>
                <a:gd name="T120" fmla="*/ 89 w 2127"/>
                <a:gd name="T121" fmla="*/ 126 h 225"/>
                <a:gd name="T122" fmla="*/ 0 w 2127"/>
                <a:gd name="T123" fmla="*/ 222 h 225"/>
                <a:gd name="T124" fmla="*/ 92 w 2127"/>
                <a:gd name="T125" fmla="*/ 2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7" h="225">
                  <a:moveTo>
                    <a:pt x="2049" y="152"/>
                  </a:moveTo>
                  <a:lnTo>
                    <a:pt x="2082" y="152"/>
                  </a:lnTo>
                  <a:lnTo>
                    <a:pt x="2066" y="41"/>
                  </a:lnTo>
                  <a:lnTo>
                    <a:pt x="2049" y="152"/>
                  </a:lnTo>
                  <a:close/>
                  <a:moveTo>
                    <a:pt x="2127" y="222"/>
                  </a:moveTo>
                  <a:lnTo>
                    <a:pt x="2092" y="222"/>
                  </a:lnTo>
                  <a:lnTo>
                    <a:pt x="2087" y="182"/>
                  </a:lnTo>
                  <a:lnTo>
                    <a:pt x="2045" y="182"/>
                  </a:lnTo>
                  <a:lnTo>
                    <a:pt x="2039" y="222"/>
                  </a:lnTo>
                  <a:lnTo>
                    <a:pt x="2007" y="222"/>
                  </a:lnTo>
                  <a:lnTo>
                    <a:pt x="2042" y="3"/>
                  </a:lnTo>
                  <a:lnTo>
                    <a:pt x="2092" y="3"/>
                  </a:lnTo>
                  <a:lnTo>
                    <a:pt x="2127" y="222"/>
                  </a:lnTo>
                  <a:close/>
                  <a:moveTo>
                    <a:pt x="1927" y="34"/>
                  </a:moveTo>
                  <a:lnTo>
                    <a:pt x="1927" y="108"/>
                  </a:lnTo>
                  <a:lnTo>
                    <a:pt x="1943" y="108"/>
                  </a:lnTo>
                  <a:lnTo>
                    <a:pt x="1948" y="108"/>
                  </a:lnTo>
                  <a:lnTo>
                    <a:pt x="1951" y="107"/>
                  </a:lnTo>
                  <a:lnTo>
                    <a:pt x="1954" y="106"/>
                  </a:lnTo>
                  <a:lnTo>
                    <a:pt x="1956" y="104"/>
                  </a:lnTo>
                  <a:lnTo>
                    <a:pt x="1958" y="102"/>
                  </a:lnTo>
                  <a:lnTo>
                    <a:pt x="1959" y="97"/>
                  </a:lnTo>
                  <a:lnTo>
                    <a:pt x="1960" y="93"/>
                  </a:lnTo>
                  <a:lnTo>
                    <a:pt x="1960" y="88"/>
                  </a:lnTo>
                  <a:lnTo>
                    <a:pt x="1960" y="55"/>
                  </a:lnTo>
                  <a:lnTo>
                    <a:pt x="1960" y="50"/>
                  </a:lnTo>
                  <a:lnTo>
                    <a:pt x="1959" y="44"/>
                  </a:lnTo>
                  <a:lnTo>
                    <a:pt x="1958" y="41"/>
                  </a:lnTo>
                  <a:lnTo>
                    <a:pt x="1956" y="38"/>
                  </a:lnTo>
                  <a:lnTo>
                    <a:pt x="1954" y="36"/>
                  </a:lnTo>
                  <a:lnTo>
                    <a:pt x="1951" y="35"/>
                  </a:lnTo>
                  <a:lnTo>
                    <a:pt x="1948" y="34"/>
                  </a:lnTo>
                  <a:lnTo>
                    <a:pt x="1943" y="34"/>
                  </a:lnTo>
                  <a:lnTo>
                    <a:pt x="1927" y="34"/>
                  </a:lnTo>
                  <a:close/>
                  <a:moveTo>
                    <a:pt x="1995" y="57"/>
                  </a:moveTo>
                  <a:lnTo>
                    <a:pt x="1995" y="86"/>
                  </a:lnTo>
                  <a:lnTo>
                    <a:pt x="1994" y="92"/>
                  </a:lnTo>
                  <a:lnTo>
                    <a:pt x="1994" y="97"/>
                  </a:lnTo>
                  <a:lnTo>
                    <a:pt x="1993" y="104"/>
                  </a:lnTo>
                  <a:lnTo>
                    <a:pt x="1992" y="109"/>
                  </a:lnTo>
                  <a:lnTo>
                    <a:pt x="1990" y="113"/>
                  </a:lnTo>
                  <a:lnTo>
                    <a:pt x="1988" y="118"/>
                  </a:lnTo>
                  <a:lnTo>
                    <a:pt x="1985" y="122"/>
                  </a:lnTo>
                  <a:lnTo>
                    <a:pt x="1982" y="126"/>
                  </a:lnTo>
                  <a:lnTo>
                    <a:pt x="1978" y="129"/>
                  </a:lnTo>
                  <a:lnTo>
                    <a:pt x="1975" y="132"/>
                  </a:lnTo>
                  <a:lnTo>
                    <a:pt x="1971" y="134"/>
                  </a:lnTo>
                  <a:lnTo>
                    <a:pt x="1966" y="136"/>
                  </a:lnTo>
                  <a:lnTo>
                    <a:pt x="1961" y="138"/>
                  </a:lnTo>
                  <a:lnTo>
                    <a:pt x="1955" y="139"/>
                  </a:lnTo>
                  <a:lnTo>
                    <a:pt x="1950" y="140"/>
                  </a:lnTo>
                  <a:lnTo>
                    <a:pt x="1943" y="140"/>
                  </a:lnTo>
                  <a:lnTo>
                    <a:pt x="1927" y="140"/>
                  </a:lnTo>
                  <a:lnTo>
                    <a:pt x="1927" y="222"/>
                  </a:lnTo>
                  <a:lnTo>
                    <a:pt x="1893" y="222"/>
                  </a:lnTo>
                  <a:lnTo>
                    <a:pt x="1893" y="3"/>
                  </a:lnTo>
                  <a:lnTo>
                    <a:pt x="1943" y="3"/>
                  </a:lnTo>
                  <a:lnTo>
                    <a:pt x="1950" y="3"/>
                  </a:lnTo>
                  <a:lnTo>
                    <a:pt x="1955" y="3"/>
                  </a:lnTo>
                  <a:lnTo>
                    <a:pt x="1961" y="4"/>
                  </a:lnTo>
                  <a:lnTo>
                    <a:pt x="1966" y="6"/>
                  </a:lnTo>
                  <a:lnTo>
                    <a:pt x="1971" y="9"/>
                  </a:lnTo>
                  <a:lnTo>
                    <a:pt x="1975" y="11"/>
                  </a:lnTo>
                  <a:lnTo>
                    <a:pt x="1978" y="14"/>
                  </a:lnTo>
                  <a:lnTo>
                    <a:pt x="1982" y="17"/>
                  </a:lnTo>
                  <a:lnTo>
                    <a:pt x="1985" y="20"/>
                  </a:lnTo>
                  <a:lnTo>
                    <a:pt x="1988" y="24"/>
                  </a:lnTo>
                  <a:lnTo>
                    <a:pt x="1990" y="29"/>
                  </a:lnTo>
                  <a:lnTo>
                    <a:pt x="1992" y="34"/>
                  </a:lnTo>
                  <a:lnTo>
                    <a:pt x="1993" y="39"/>
                  </a:lnTo>
                  <a:lnTo>
                    <a:pt x="1994" y="44"/>
                  </a:lnTo>
                  <a:lnTo>
                    <a:pt x="1994" y="51"/>
                  </a:lnTo>
                  <a:lnTo>
                    <a:pt x="1995" y="57"/>
                  </a:lnTo>
                  <a:close/>
                  <a:moveTo>
                    <a:pt x="1800" y="34"/>
                  </a:moveTo>
                  <a:lnTo>
                    <a:pt x="1800" y="108"/>
                  </a:lnTo>
                  <a:lnTo>
                    <a:pt x="1815" y="108"/>
                  </a:lnTo>
                  <a:lnTo>
                    <a:pt x="1820" y="108"/>
                  </a:lnTo>
                  <a:lnTo>
                    <a:pt x="1823" y="107"/>
                  </a:lnTo>
                  <a:lnTo>
                    <a:pt x="1826" y="106"/>
                  </a:lnTo>
                  <a:lnTo>
                    <a:pt x="1828" y="104"/>
                  </a:lnTo>
                  <a:lnTo>
                    <a:pt x="1830" y="102"/>
                  </a:lnTo>
                  <a:lnTo>
                    <a:pt x="1831" y="97"/>
                  </a:lnTo>
                  <a:lnTo>
                    <a:pt x="1832" y="93"/>
                  </a:lnTo>
                  <a:lnTo>
                    <a:pt x="1833" y="88"/>
                  </a:lnTo>
                  <a:lnTo>
                    <a:pt x="1833" y="55"/>
                  </a:lnTo>
                  <a:lnTo>
                    <a:pt x="1832" y="50"/>
                  </a:lnTo>
                  <a:lnTo>
                    <a:pt x="1831" y="44"/>
                  </a:lnTo>
                  <a:lnTo>
                    <a:pt x="1830" y="41"/>
                  </a:lnTo>
                  <a:lnTo>
                    <a:pt x="1828" y="38"/>
                  </a:lnTo>
                  <a:lnTo>
                    <a:pt x="1826" y="36"/>
                  </a:lnTo>
                  <a:lnTo>
                    <a:pt x="1823" y="35"/>
                  </a:lnTo>
                  <a:lnTo>
                    <a:pt x="1820" y="34"/>
                  </a:lnTo>
                  <a:lnTo>
                    <a:pt x="1815" y="34"/>
                  </a:lnTo>
                  <a:lnTo>
                    <a:pt x="1800" y="34"/>
                  </a:lnTo>
                  <a:close/>
                  <a:moveTo>
                    <a:pt x="1867" y="57"/>
                  </a:moveTo>
                  <a:lnTo>
                    <a:pt x="1867" y="86"/>
                  </a:lnTo>
                  <a:lnTo>
                    <a:pt x="1867" y="92"/>
                  </a:lnTo>
                  <a:lnTo>
                    <a:pt x="1866" y="97"/>
                  </a:lnTo>
                  <a:lnTo>
                    <a:pt x="1865" y="104"/>
                  </a:lnTo>
                  <a:lnTo>
                    <a:pt x="1864" y="109"/>
                  </a:lnTo>
                  <a:lnTo>
                    <a:pt x="1862" y="113"/>
                  </a:lnTo>
                  <a:lnTo>
                    <a:pt x="1860" y="118"/>
                  </a:lnTo>
                  <a:lnTo>
                    <a:pt x="1858" y="122"/>
                  </a:lnTo>
                  <a:lnTo>
                    <a:pt x="1855" y="126"/>
                  </a:lnTo>
                  <a:lnTo>
                    <a:pt x="1851" y="129"/>
                  </a:lnTo>
                  <a:lnTo>
                    <a:pt x="1847" y="132"/>
                  </a:lnTo>
                  <a:lnTo>
                    <a:pt x="1843" y="134"/>
                  </a:lnTo>
                  <a:lnTo>
                    <a:pt x="1839" y="136"/>
                  </a:lnTo>
                  <a:lnTo>
                    <a:pt x="1833" y="138"/>
                  </a:lnTo>
                  <a:lnTo>
                    <a:pt x="1828" y="139"/>
                  </a:lnTo>
                  <a:lnTo>
                    <a:pt x="1822" y="140"/>
                  </a:lnTo>
                  <a:lnTo>
                    <a:pt x="1815" y="140"/>
                  </a:lnTo>
                  <a:lnTo>
                    <a:pt x="1800" y="140"/>
                  </a:lnTo>
                  <a:lnTo>
                    <a:pt x="1800" y="222"/>
                  </a:lnTo>
                  <a:lnTo>
                    <a:pt x="1766" y="222"/>
                  </a:lnTo>
                  <a:lnTo>
                    <a:pt x="1766" y="3"/>
                  </a:lnTo>
                  <a:lnTo>
                    <a:pt x="1815" y="3"/>
                  </a:lnTo>
                  <a:lnTo>
                    <a:pt x="1822" y="3"/>
                  </a:lnTo>
                  <a:lnTo>
                    <a:pt x="1828" y="3"/>
                  </a:lnTo>
                  <a:lnTo>
                    <a:pt x="1833" y="4"/>
                  </a:lnTo>
                  <a:lnTo>
                    <a:pt x="1839" y="6"/>
                  </a:lnTo>
                  <a:lnTo>
                    <a:pt x="1843" y="9"/>
                  </a:lnTo>
                  <a:lnTo>
                    <a:pt x="1847" y="11"/>
                  </a:lnTo>
                  <a:lnTo>
                    <a:pt x="1851" y="14"/>
                  </a:lnTo>
                  <a:lnTo>
                    <a:pt x="1855" y="17"/>
                  </a:lnTo>
                  <a:lnTo>
                    <a:pt x="1858" y="20"/>
                  </a:lnTo>
                  <a:lnTo>
                    <a:pt x="1860" y="24"/>
                  </a:lnTo>
                  <a:lnTo>
                    <a:pt x="1862" y="29"/>
                  </a:lnTo>
                  <a:lnTo>
                    <a:pt x="1864" y="34"/>
                  </a:lnTo>
                  <a:lnTo>
                    <a:pt x="1865" y="39"/>
                  </a:lnTo>
                  <a:lnTo>
                    <a:pt x="1866" y="44"/>
                  </a:lnTo>
                  <a:lnTo>
                    <a:pt x="1867" y="51"/>
                  </a:lnTo>
                  <a:lnTo>
                    <a:pt x="1867" y="57"/>
                  </a:lnTo>
                  <a:close/>
                  <a:moveTo>
                    <a:pt x="1665" y="3"/>
                  </a:moveTo>
                  <a:lnTo>
                    <a:pt x="1665" y="172"/>
                  </a:lnTo>
                  <a:lnTo>
                    <a:pt x="1666" y="178"/>
                  </a:lnTo>
                  <a:lnTo>
                    <a:pt x="1667" y="182"/>
                  </a:lnTo>
                  <a:lnTo>
                    <a:pt x="1667" y="184"/>
                  </a:lnTo>
                  <a:lnTo>
                    <a:pt x="1668" y="185"/>
                  </a:lnTo>
                  <a:lnTo>
                    <a:pt x="1671" y="188"/>
                  </a:lnTo>
                  <a:lnTo>
                    <a:pt x="1673" y="190"/>
                  </a:lnTo>
                  <a:lnTo>
                    <a:pt x="1676" y="193"/>
                  </a:lnTo>
                  <a:lnTo>
                    <a:pt x="1680" y="193"/>
                  </a:lnTo>
                  <a:lnTo>
                    <a:pt x="1683" y="194"/>
                  </a:lnTo>
                  <a:lnTo>
                    <a:pt x="1687" y="193"/>
                  </a:lnTo>
                  <a:lnTo>
                    <a:pt x="1691" y="193"/>
                  </a:lnTo>
                  <a:lnTo>
                    <a:pt x="1694" y="190"/>
                  </a:lnTo>
                  <a:lnTo>
                    <a:pt x="1697" y="188"/>
                  </a:lnTo>
                  <a:lnTo>
                    <a:pt x="1698" y="185"/>
                  </a:lnTo>
                  <a:lnTo>
                    <a:pt x="1700" y="182"/>
                  </a:lnTo>
                  <a:lnTo>
                    <a:pt x="1701" y="178"/>
                  </a:lnTo>
                  <a:lnTo>
                    <a:pt x="1701" y="172"/>
                  </a:lnTo>
                  <a:lnTo>
                    <a:pt x="1701" y="3"/>
                  </a:lnTo>
                  <a:lnTo>
                    <a:pt x="1734" y="3"/>
                  </a:lnTo>
                  <a:lnTo>
                    <a:pt x="1734" y="169"/>
                  </a:lnTo>
                  <a:lnTo>
                    <a:pt x="1734" y="176"/>
                  </a:lnTo>
                  <a:lnTo>
                    <a:pt x="1733" y="182"/>
                  </a:lnTo>
                  <a:lnTo>
                    <a:pt x="1732" y="188"/>
                  </a:lnTo>
                  <a:lnTo>
                    <a:pt x="1731" y="194"/>
                  </a:lnTo>
                  <a:lnTo>
                    <a:pt x="1729" y="198"/>
                  </a:lnTo>
                  <a:lnTo>
                    <a:pt x="1727" y="203"/>
                  </a:lnTo>
                  <a:lnTo>
                    <a:pt x="1723" y="206"/>
                  </a:lnTo>
                  <a:lnTo>
                    <a:pt x="1721" y="211"/>
                  </a:lnTo>
                  <a:lnTo>
                    <a:pt x="1717" y="214"/>
                  </a:lnTo>
                  <a:lnTo>
                    <a:pt x="1714" y="217"/>
                  </a:lnTo>
                  <a:lnTo>
                    <a:pt x="1712" y="218"/>
                  </a:lnTo>
                  <a:lnTo>
                    <a:pt x="1710" y="219"/>
                  </a:lnTo>
                  <a:lnTo>
                    <a:pt x="1704" y="221"/>
                  </a:lnTo>
                  <a:lnTo>
                    <a:pt x="1700" y="223"/>
                  </a:lnTo>
                  <a:lnTo>
                    <a:pt x="1695" y="224"/>
                  </a:lnTo>
                  <a:lnTo>
                    <a:pt x="1688" y="224"/>
                  </a:lnTo>
                  <a:lnTo>
                    <a:pt x="1682" y="225"/>
                  </a:lnTo>
                  <a:lnTo>
                    <a:pt x="1677" y="224"/>
                  </a:lnTo>
                  <a:lnTo>
                    <a:pt x="1671" y="224"/>
                  </a:lnTo>
                  <a:lnTo>
                    <a:pt x="1665" y="223"/>
                  </a:lnTo>
                  <a:lnTo>
                    <a:pt x="1660" y="221"/>
                  </a:lnTo>
                  <a:lnTo>
                    <a:pt x="1656" y="219"/>
                  </a:lnTo>
                  <a:lnTo>
                    <a:pt x="1651" y="217"/>
                  </a:lnTo>
                  <a:lnTo>
                    <a:pt x="1647" y="214"/>
                  </a:lnTo>
                  <a:lnTo>
                    <a:pt x="1644" y="211"/>
                  </a:lnTo>
                  <a:lnTo>
                    <a:pt x="1641" y="206"/>
                  </a:lnTo>
                  <a:lnTo>
                    <a:pt x="1639" y="203"/>
                  </a:lnTo>
                  <a:lnTo>
                    <a:pt x="1637" y="198"/>
                  </a:lnTo>
                  <a:lnTo>
                    <a:pt x="1635" y="194"/>
                  </a:lnTo>
                  <a:lnTo>
                    <a:pt x="1632" y="188"/>
                  </a:lnTo>
                  <a:lnTo>
                    <a:pt x="1632" y="182"/>
                  </a:lnTo>
                  <a:lnTo>
                    <a:pt x="1631" y="176"/>
                  </a:lnTo>
                  <a:lnTo>
                    <a:pt x="1631" y="169"/>
                  </a:lnTo>
                  <a:lnTo>
                    <a:pt x="1631" y="3"/>
                  </a:lnTo>
                  <a:lnTo>
                    <a:pt x="1665" y="3"/>
                  </a:lnTo>
                  <a:close/>
                  <a:moveTo>
                    <a:pt x="1530" y="152"/>
                  </a:moveTo>
                  <a:lnTo>
                    <a:pt x="1564" y="152"/>
                  </a:lnTo>
                  <a:lnTo>
                    <a:pt x="1547" y="41"/>
                  </a:lnTo>
                  <a:lnTo>
                    <a:pt x="1530" y="152"/>
                  </a:lnTo>
                  <a:close/>
                  <a:moveTo>
                    <a:pt x="1609" y="222"/>
                  </a:moveTo>
                  <a:lnTo>
                    <a:pt x="1574" y="222"/>
                  </a:lnTo>
                  <a:lnTo>
                    <a:pt x="1568" y="182"/>
                  </a:lnTo>
                  <a:lnTo>
                    <a:pt x="1526" y="182"/>
                  </a:lnTo>
                  <a:lnTo>
                    <a:pt x="1520" y="222"/>
                  </a:lnTo>
                  <a:lnTo>
                    <a:pt x="1489" y="222"/>
                  </a:lnTo>
                  <a:lnTo>
                    <a:pt x="1524" y="3"/>
                  </a:lnTo>
                  <a:lnTo>
                    <a:pt x="1574" y="3"/>
                  </a:lnTo>
                  <a:lnTo>
                    <a:pt x="1609" y="222"/>
                  </a:lnTo>
                  <a:close/>
                  <a:moveTo>
                    <a:pt x="1405" y="134"/>
                  </a:moveTo>
                  <a:lnTo>
                    <a:pt x="1394" y="154"/>
                  </a:lnTo>
                  <a:lnTo>
                    <a:pt x="1394" y="222"/>
                  </a:lnTo>
                  <a:lnTo>
                    <a:pt x="1360" y="222"/>
                  </a:lnTo>
                  <a:lnTo>
                    <a:pt x="1360" y="3"/>
                  </a:lnTo>
                  <a:lnTo>
                    <a:pt x="1394" y="3"/>
                  </a:lnTo>
                  <a:lnTo>
                    <a:pt x="1394" y="98"/>
                  </a:lnTo>
                  <a:lnTo>
                    <a:pt x="1440" y="3"/>
                  </a:lnTo>
                  <a:lnTo>
                    <a:pt x="1474" y="3"/>
                  </a:lnTo>
                  <a:lnTo>
                    <a:pt x="1426" y="101"/>
                  </a:lnTo>
                  <a:lnTo>
                    <a:pt x="1474" y="222"/>
                  </a:lnTo>
                  <a:lnTo>
                    <a:pt x="1439" y="222"/>
                  </a:lnTo>
                  <a:lnTo>
                    <a:pt x="1405" y="134"/>
                  </a:lnTo>
                  <a:close/>
                  <a:moveTo>
                    <a:pt x="1271" y="95"/>
                  </a:moveTo>
                  <a:lnTo>
                    <a:pt x="1318" y="95"/>
                  </a:lnTo>
                  <a:lnTo>
                    <a:pt x="1318" y="127"/>
                  </a:lnTo>
                  <a:lnTo>
                    <a:pt x="1271" y="127"/>
                  </a:lnTo>
                  <a:lnTo>
                    <a:pt x="1271" y="190"/>
                  </a:lnTo>
                  <a:lnTo>
                    <a:pt x="1331" y="190"/>
                  </a:lnTo>
                  <a:lnTo>
                    <a:pt x="1331" y="222"/>
                  </a:lnTo>
                  <a:lnTo>
                    <a:pt x="1237" y="222"/>
                  </a:lnTo>
                  <a:lnTo>
                    <a:pt x="1237" y="3"/>
                  </a:lnTo>
                  <a:lnTo>
                    <a:pt x="1331" y="3"/>
                  </a:lnTo>
                  <a:lnTo>
                    <a:pt x="1331" y="34"/>
                  </a:lnTo>
                  <a:lnTo>
                    <a:pt x="1271" y="34"/>
                  </a:lnTo>
                  <a:lnTo>
                    <a:pt x="1271" y="95"/>
                  </a:lnTo>
                  <a:close/>
                  <a:moveTo>
                    <a:pt x="1108" y="3"/>
                  </a:moveTo>
                  <a:lnTo>
                    <a:pt x="1214" y="3"/>
                  </a:lnTo>
                  <a:lnTo>
                    <a:pt x="1214" y="34"/>
                  </a:lnTo>
                  <a:lnTo>
                    <a:pt x="1178" y="34"/>
                  </a:lnTo>
                  <a:lnTo>
                    <a:pt x="1178" y="222"/>
                  </a:lnTo>
                  <a:lnTo>
                    <a:pt x="1144" y="222"/>
                  </a:lnTo>
                  <a:lnTo>
                    <a:pt x="1144" y="34"/>
                  </a:lnTo>
                  <a:lnTo>
                    <a:pt x="1108" y="34"/>
                  </a:lnTo>
                  <a:lnTo>
                    <a:pt x="1108" y="3"/>
                  </a:lnTo>
                  <a:close/>
                  <a:moveTo>
                    <a:pt x="1039" y="0"/>
                  </a:moveTo>
                  <a:lnTo>
                    <a:pt x="1044" y="0"/>
                  </a:lnTo>
                  <a:lnTo>
                    <a:pt x="1051" y="1"/>
                  </a:lnTo>
                  <a:lnTo>
                    <a:pt x="1056" y="2"/>
                  </a:lnTo>
                  <a:lnTo>
                    <a:pt x="1061" y="4"/>
                  </a:lnTo>
                  <a:lnTo>
                    <a:pt x="1066" y="6"/>
                  </a:lnTo>
                  <a:lnTo>
                    <a:pt x="1070" y="9"/>
                  </a:lnTo>
                  <a:lnTo>
                    <a:pt x="1073" y="12"/>
                  </a:lnTo>
                  <a:lnTo>
                    <a:pt x="1077" y="15"/>
                  </a:lnTo>
                  <a:lnTo>
                    <a:pt x="1079" y="18"/>
                  </a:lnTo>
                  <a:lnTo>
                    <a:pt x="1083" y="22"/>
                  </a:lnTo>
                  <a:lnTo>
                    <a:pt x="1085" y="28"/>
                  </a:lnTo>
                  <a:lnTo>
                    <a:pt x="1087" y="32"/>
                  </a:lnTo>
                  <a:lnTo>
                    <a:pt x="1088" y="37"/>
                  </a:lnTo>
                  <a:lnTo>
                    <a:pt x="1089" y="43"/>
                  </a:lnTo>
                  <a:lnTo>
                    <a:pt x="1090" y="49"/>
                  </a:lnTo>
                  <a:lnTo>
                    <a:pt x="1090" y="55"/>
                  </a:lnTo>
                  <a:lnTo>
                    <a:pt x="1090" y="62"/>
                  </a:lnTo>
                  <a:lnTo>
                    <a:pt x="1057" y="62"/>
                  </a:lnTo>
                  <a:lnTo>
                    <a:pt x="1057" y="53"/>
                  </a:lnTo>
                  <a:lnTo>
                    <a:pt x="1057" y="48"/>
                  </a:lnTo>
                  <a:lnTo>
                    <a:pt x="1056" y="43"/>
                  </a:lnTo>
                  <a:lnTo>
                    <a:pt x="1054" y="39"/>
                  </a:lnTo>
                  <a:lnTo>
                    <a:pt x="1053" y="36"/>
                  </a:lnTo>
                  <a:lnTo>
                    <a:pt x="1050" y="34"/>
                  </a:lnTo>
                  <a:lnTo>
                    <a:pt x="1048" y="33"/>
                  </a:lnTo>
                  <a:lnTo>
                    <a:pt x="1043" y="32"/>
                  </a:lnTo>
                  <a:lnTo>
                    <a:pt x="1040" y="32"/>
                  </a:lnTo>
                  <a:lnTo>
                    <a:pt x="1036" y="32"/>
                  </a:lnTo>
                  <a:lnTo>
                    <a:pt x="1033" y="33"/>
                  </a:lnTo>
                  <a:lnTo>
                    <a:pt x="1031" y="34"/>
                  </a:lnTo>
                  <a:lnTo>
                    <a:pt x="1030" y="34"/>
                  </a:lnTo>
                  <a:lnTo>
                    <a:pt x="1028" y="36"/>
                  </a:lnTo>
                  <a:lnTo>
                    <a:pt x="1025" y="39"/>
                  </a:lnTo>
                  <a:lnTo>
                    <a:pt x="1023" y="43"/>
                  </a:lnTo>
                  <a:lnTo>
                    <a:pt x="1023" y="48"/>
                  </a:lnTo>
                  <a:lnTo>
                    <a:pt x="1022" y="53"/>
                  </a:lnTo>
                  <a:lnTo>
                    <a:pt x="1022" y="57"/>
                  </a:lnTo>
                  <a:lnTo>
                    <a:pt x="1023" y="61"/>
                  </a:lnTo>
                  <a:lnTo>
                    <a:pt x="1025" y="69"/>
                  </a:lnTo>
                  <a:lnTo>
                    <a:pt x="1026" y="72"/>
                  </a:lnTo>
                  <a:lnTo>
                    <a:pt x="1029" y="75"/>
                  </a:lnTo>
                  <a:lnTo>
                    <a:pt x="1033" y="81"/>
                  </a:lnTo>
                  <a:lnTo>
                    <a:pt x="1038" y="88"/>
                  </a:lnTo>
                  <a:lnTo>
                    <a:pt x="1043" y="93"/>
                  </a:lnTo>
                  <a:lnTo>
                    <a:pt x="1056" y="105"/>
                  </a:lnTo>
                  <a:lnTo>
                    <a:pt x="1069" y="117"/>
                  </a:lnTo>
                  <a:lnTo>
                    <a:pt x="1074" y="124"/>
                  </a:lnTo>
                  <a:lnTo>
                    <a:pt x="1079" y="131"/>
                  </a:lnTo>
                  <a:lnTo>
                    <a:pt x="1084" y="140"/>
                  </a:lnTo>
                  <a:lnTo>
                    <a:pt x="1087" y="148"/>
                  </a:lnTo>
                  <a:lnTo>
                    <a:pt x="1089" y="159"/>
                  </a:lnTo>
                  <a:lnTo>
                    <a:pt x="1090" y="164"/>
                  </a:lnTo>
                  <a:lnTo>
                    <a:pt x="1090" y="169"/>
                  </a:lnTo>
                  <a:lnTo>
                    <a:pt x="1090" y="176"/>
                  </a:lnTo>
                  <a:lnTo>
                    <a:pt x="1089" y="182"/>
                  </a:lnTo>
                  <a:lnTo>
                    <a:pt x="1088" y="187"/>
                  </a:lnTo>
                  <a:lnTo>
                    <a:pt x="1087" y="193"/>
                  </a:lnTo>
                  <a:lnTo>
                    <a:pt x="1085" y="198"/>
                  </a:lnTo>
                  <a:lnTo>
                    <a:pt x="1083" y="202"/>
                  </a:lnTo>
                  <a:lnTo>
                    <a:pt x="1080" y="206"/>
                  </a:lnTo>
                  <a:lnTo>
                    <a:pt x="1077" y="211"/>
                  </a:lnTo>
                  <a:lnTo>
                    <a:pt x="1073" y="214"/>
                  </a:lnTo>
                  <a:lnTo>
                    <a:pt x="1070" y="217"/>
                  </a:lnTo>
                  <a:lnTo>
                    <a:pt x="1068" y="218"/>
                  </a:lnTo>
                  <a:lnTo>
                    <a:pt x="1066" y="219"/>
                  </a:lnTo>
                  <a:lnTo>
                    <a:pt x="1061" y="221"/>
                  </a:lnTo>
                  <a:lnTo>
                    <a:pt x="1056" y="222"/>
                  </a:lnTo>
                  <a:lnTo>
                    <a:pt x="1051" y="223"/>
                  </a:lnTo>
                  <a:lnTo>
                    <a:pt x="1044" y="224"/>
                  </a:lnTo>
                  <a:lnTo>
                    <a:pt x="1038" y="224"/>
                  </a:lnTo>
                  <a:lnTo>
                    <a:pt x="1033" y="224"/>
                  </a:lnTo>
                  <a:lnTo>
                    <a:pt x="1026" y="223"/>
                  </a:lnTo>
                  <a:lnTo>
                    <a:pt x="1021" y="222"/>
                  </a:lnTo>
                  <a:lnTo>
                    <a:pt x="1016" y="221"/>
                  </a:lnTo>
                  <a:lnTo>
                    <a:pt x="1012" y="219"/>
                  </a:lnTo>
                  <a:lnTo>
                    <a:pt x="1007" y="217"/>
                  </a:lnTo>
                  <a:lnTo>
                    <a:pt x="1003" y="214"/>
                  </a:lnTo>
                  <a:lnTo>
                    <a:pt x="1000" y="211"/>
                  </a:lnTo>
                  <a:lnTo>
                    <a:pt x="997" y="206"/>
                  </a:lnTo>
                  <a:lnTo>
                    <a:pt x="995" y="202"/>
                  </a:lnTo>
                  <a:lnTo>
                    <a:pt x="993" y="198"/>
                  </a:lnTo>
                  <a:lnTo>
                    <a:pt x="991" y="193"/>
                  </a:lnTo>
                  <a:lnTo>
                    <a:pt x="989" y="187"/>
                  </a:lnTo>
                  <a:lnTo>
                    <a:pt x="988" y="182"/>
                  </a:lnTo>
                  <a:lnTo>
                    <a:pt x="987" y="176"/>
                  </a:lnTo>
                  <a:lnTo>
                    <a:pt x="987" y="169"/>
                  </a:lnTo>
                  <a:lnTo>
                    <a:pt x="987" y="156"/>
                  </a:lnTo>
                  <a:lnTo>
                    <a:pt x="1020" y="156"/>
                  </a:lnTo>
                  <a:lnTo>
                    <a:pt x="1020" y="171"/>
                  </a:lnTo>
                  <a:lnTo>
                    <a:pt x="1020" y="177"/>
                  </a:lnTo>
                  <a:lnTo>
                    <a:pt x="1021" y="182"/>
                  </a:lnTo>
                  <a:lnTo>
                    <a:pt x="1021" y="183"/>
                  </a:lnTo>
                  <a:lnTo>
                    <a:pt x="1022" y="185"/>
                  </a:lnTo>
                  <a:lnTo>
                    <a:pt x="1024" y="188"/>
                  </a:lnTo>
                  <a:lnTo>
                    <a:pt x="1028" y="190"/>
                  </a:lnTo>
                  <a:lnTo>
                    <a:pt x="1031" y="191"/>
                  </a:lnTo>
                  <a:lnTo>
                    <a:pt x="1034" y="193"/>
                  </a:lnTo>
                  <a:lnTo>
                    <a:pt x="1038" y="193"/>
                  </a:lnTo>
                  <a:lnTo>
                    <a:pt x="1041" y="193"/>
                  </a:lnTo>
                  <a:lnTo>
                    <a:pt x="1046" y="191"/>
                  </a:lnTo>
                  <a:lnTo>
                    <a:pt x="1048" y="190"/>
                  </a:lnTo>
                  <a:lnTo>
                    <a:pt x="1051" y="188"/>
                  </a:lnTo>
                  <a:lnTo>
                    <a:pt x="1053" y="185"/>
                  </a:lnTo>
                  <a:lnTo>
                    <a:pt x="1054" y="182"/>
                  </a:lnTo>
                  <a:lnTo>
                    <a:pt x="1055" y="177"/>
                  </a:lnTo>
                  <a:lnTo>
                    <a:pt x="1055" y="171"/>
                  </a:lnTo>
                  <a:lnTo>
                    <a:pt x="1055" y="167"/>
                  </a:lnTo>
                  <a:lnTo>
                    <a:pt x="1055" y="164"/>
                  </a:lnTo>
                  <a:lnTo>
                    <a:pt x="1053" y="157"/>
                  </a:lnTo>
                  <a:lnTo>
                    <a:pt x="1051" y="152"/>
                  </a:lnTo>
                  <a:lnTo>
                    <a:pt x="1050" y="149"/>
                  </a:lnTo>
                  <a:lnTo>
                    <a:pt x="1044" y="143"/>
                  </a:lnTo>
                  <a:lnTo>
                    <a:pt x="1040" y="138"/>
                  </a:lnTo>
                  <a:lnTo>
                    <a:pt x="1034" y="131"/>
                  </a:lnTo>
                  <a:lnTo>
                    <a:pt x="1022" y="120"/>
                  </a:lnTo>
                  <a:lnTo>
                    <a:pt x="1010" y="108"/>
                  </a:lnTo>
                  <a:lnTo>
                    <a:pt x="1003" y="101"/>
                  </a:lnTo>
                  <a:lnTo>
                    <a:pt x="999" y="93"/>
                  </a:lnTo>
                  <a:lnTo>
                    <a:pt x="995" y="86"/>
                  </a:lnTo>
                  <a:lnTo>
                    <a:pt x="991" y="76"/>
                  </a:lnTo>
                  <a:lnTo>
                    <a:pt x="988" y="67"/>
                  </a:lnTo>
                  <a:lnTo>
                    <a:pt x="988" y="61"/>
                  </a:lnTo>
                  <a:lnTo>
                    <a:pt x="988" y="55"/>
                  </a:lnTo>
                  <a:lnTo>
                    <a:pt x="988" y="49"/>
                  </a:lnTo>
                  <a:lnTo>
                    <a:pt x="988" y="43"/>
                  </a:lnTo>
                  <a:lnTo>
                    <a:pt x="989" y="37"/>
                  </a:lnTo>
                  <a:lnTo>
                    <a:pt x="992" y="32"/>
                  </a:lnTo>
                  <a:lnTo>
                    <a:pt x="993" y="28"/>
                  </a:lnTo>
                  <a:lnTo>
                    <a:pt x="996" y="22"/>
                  </a:lnTo>
                  <a:lnTo>
                    <a:pt x="998" y="18"/>
                  </a:lnTo>
                  <a:lnTo>
                    <a:pt x="1001" y="15"/>
                  </a:lnTo>
                  <a:lnTo>
                    <a:pt x="1004" y="12"/>
                  </a:lnTo>
                  <a:lnTo>
                    <a:pt x="1008" y="9"/>
                  </a:lnTo>
                  <a:lnTo>
                    <a:pt x="1011" y="7"/>
                  </a:lnTo>
                  <a:lnTo>
                    <a:pt x="1013" y="6"/>
                  </a:lnTo>
                  <a:lnTo>
                    <a:pt x="1017" y="4"/>
                  </a:lnTo>
                  <a:lnTo>
                    <a:pt x="1022" y="2"/>
                  </a:lnTo>
                  <a:lnTo>
                    <a:pt x="1028" y="1"/>
                  </a:lnTo>
                  <a:lnTo>
                    <a:pt x="1033" y="0"/>
                  </a:lnTo>
                  <a:lnTo>
                    <a:pt x="1039" y="0"/>
                  </a:lnTo>
                  <a:close/>
                  <a:moveTo>
                    <a:pt x="904" y="95"/>
                  </a:moveTo>
                  <a:lnTo>
                    <a:pt x="951" y="95"/>
                  </a:lnTo>
                  <a:lnTo>
                    <a:pt x="951" y="127"/>
                  </a:lnTo>
                  <a:lnTo>
                    <a:pt x="904" y="127"/>
                  </a:lnTo>
                  <a:lnTo>
                    <a:pt x="904" y="190"/>
                  </a:lnTo>
                  <a:lnTo>
                    <a:pt x="963" y="190"/>
                  </a:lnTo>
                  <a:lnTo>
                    <a:pt x="963" y="222"/>
                  </a:lnTo>
                  <a:lnTo>
                    <a:pt x="870" y="222"/>
                  </a:lnTo>
                  <a:lnTo>
                    <a:pt x="870" y="3"/>
                  </a:lnTo>
                  <a:lnTo>
                    <a:pt x="963" y="3"/>
                  </a:lnTo>
                  <a:lnTo>
                    <a:pt x="963" y="34"/>
                  </a:lnTo>
                  <a:lnTo>
                    <a:pt x="904" y="34"/>
                  </a:lnTo>
                  <a:lnTo>
                    <a:pt x="904" y="95"/>
                  </a:lnTo>
                  <a:close/>
                  <a:moveTo>
                    <a:pt x="759" y="64"/>
                  </a:moveTo>
                  <a:lnTo>
                    <a:pt x="759" y="222"/>
                  </a:lnTo>
                  <a:lnTo>
                    <a:pt x="727" y="222"/>
                  </a:lnTo>
                  <a:lnTo>
                    <a:pt x="727" y="3"/>
                  </a:lnTo>
                  <a:lnTo>
                    <a:pt x="771" y="3"/>
                  </a:lnTo>
                  <a:lnTo>
                    <a:pt x="807" y="134"/>
                  </a:lnTo>
                  <a:lnTo>
                    <a:pt x="807" y="3"/>
                  </a:lnTo>
                  <a:lnTo>
                    <a:pt x="837" y="3"/>
                  </a:lnTo>
                  <a:lnTo>
                    <a:pt x="837" y="222"/>
                  </a:lnTo>
                  <a:lnTo>
                    <a:pt x="801" y="222"/>
                  </a:lnTo>
                  <a:lnTo>
                    <a:pt x="759" y="64"/>
                  </a:lnTo>
                  <a:close/>
                  <a:moveTo>
                    <a:pt x="628" y="171"/>
                  </a:moveTo>
                  <a:lnTo>
                    <a:pt x="628" y="177"/>
                  </a:lnTo>
                  <a:lnTo>
                    <a:pt x="629" y="182"/>
                  </a:lnTo>
                  <a:lnTo>
                    <a:pt x="630" y="184"/>
                  </a:lnTo>
                  <a:lnTo>
                    <a:pt x="630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8" y="193"/>
                  </a:lnTo>
                  <a:lnTo>
                    <a:pt x="642" y="193"/>
                  </a:lnTo>
                  <a:lnTo>
                    <a:pt x="646" y="194"/>
                  </a:lnTo>
                  <a:lnTo>
                    <a:pt x="649" y="193"/>
                  </a:lnTo>
                  <a:lnTo>
                    <a:pt x="653" y="193"/>
                  </a:lnTo>
                  <a:lnTo>
                    <a:pt x="656" y="190"/>
                  </a:lnTo>
                  <a:lnTo>
                    <a:pt x="658" y="188"/>
                  </a:lnTo>
                  <a:lnTo>
                    <a:pt x="661" y="185"/>
                  </a:lnTo>
                  <a:lnTo>
                    <a:pt x="662" y="182"/>
                  </a:lnTo>
                  <a:lnTo>
                    <a:pt x="663" y="177"/>
                  </a:lnTo>
                  <a:lnTo>
                    <a:pt x="664" y="171"/>
                  </a:lnTo>
                  <a:lnTo>
                    <a:pt x="664" y="53"/>
                  </a:lnTo>
                  <a:lnTo>
                    <a:pt x="663" y="48"/>
                  </a:lnTo>
                  <a:lnTo>
                    <a:pt x="662" y="43"/>
                  </a:lnTo>
                  <a:lnTo>
                    <a:pt x="662" y="41"/>
                  </a:lnTo>
                  <a:lnTo>
                    <a:pt x="661" y="39"/>
                  </a:lnTo>
                  <a:lnTo>
                    <a:pt x="658" y="36"/>
                  </a:lnTo>
                  <a:lnTo>
                    <a:pt x="656" y="34"/>
                  </a:lnTo>
                  <a:lnTo>
                    <a:pt x="653" y="33"/>
                  </a:lnTo>
                  <a:lnTo>
                    <a:pt x="649" y="32"/>
                  </a:lnTo>
                  <a:lnTo>
                    <a:pt x="646" y="32"/>
                  </a:lnTo>
                  <a:lnTo>
                    <a:pt x="642" y="32"/>
                  </a:lnTo>
                  <a:lnTo>
                    <a:pt x="638" y="33"/>
                  </a:lnTo>
                  <a:lnTo>
                    <a:pt x="635" y="34"/>
                  </a:lnTo>
                  <a:lnTo>
                    <a:pt x="632" y="36"/>
                  </a:lnTo>
                  <a:lnTo>
                    <a:pt x="630" y="39"/>
                  </a:lnTo>
                  <a:lnTo>
                    <a:pt x="629" y="43"/>
                  </a:lnTo>
                  <a:lnTo>
                    <a:pt x="628" y="48"/>
                  </a:lnTo>
                  <a:lnTo>
                    <a:pt x="628" y="53"/>
                  </a:lnTo>
                  <a:lnTo>
                    <a:pt x="628" y="171"/>
                  </a:lnTo>
                  <a:close/>
                  <a:moveTo>
                    <a:pt x="593" y="55"/>
                  </a:moveTo>
                  <a:lnTo>
                    <a:pt x="593" y="49"/>
                  </a:lnTo>
                  <a:lnTo>
                    <a:pt x="594" y="43"/>
                  </a:lnTo>
                  <a:lnTo>
                    <a:pt x="595" y="37"/>
                  </a:lnTo>
                  <a:lnTo>
                    <a:pt x="596" y="35"/>
                  </a:lnTo>
                  <a:lnTo>
                    <a:pt x="597" y="32"/>
                  </a:lnTo>
                  <a:lnTo>
                    <a:pt x="598" y="28"/>
                  </a:lnTo>
                  <a:lnTo>
                    <a:pt x="601" y="22"/>
                  </a:lnTo>
                  <a:lnTo>
                    <a:pt x="603" y="18"/>
                  </a:lnTo>
                  <a:lnTo>
                    <a:pt x="607" y="15"/>
                  </a:lnTo>
                  <a:lnTo>
                    <a:pt x="610" y="12"/>
                  </a:lnTo>
                  <a:lnTo>
                    <a:pt x="614" y="9"/>
                  </a:lnTo>
                  <a:lnTo>
                    <a:pt x="618" y="6"/>
                  </a:lnTo>
                  <a:lnTo>
                    <a:pt x="624" y="4"/>
                  </a:lnTo>
                  <a:lnTo>
                    <a:pt x="628" y="2"/>
                  </a:lnTo>
                  <a:lnTo>
                    <a:pt x="633" y="1"/>
                  </a:lnTo>
                  <a:lnTo>
                    <a:pt x="639" y="0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7" y="1"/>
                  </a:lnTo>
                  <a:lnTo>
                    <a:pt x="663" y="2"/>
                  </a:lnTo>
                  <a:lnTo>
                    <a:pt x="668" y="4"/>
                  </a:lnTo>
                  <a:lnTo>
                    <a:pt x="672" y="6"/>
                  </a:lnTo>
                  <a:lnTo>
                    <a:pt x="676" y="9"/>
                  </a:lnTo>
                  <a:lnTo>
                    <a:pt x="681" y="12"/>
                  </a:lnTo>
                  <a:lnTo>
                    <a:pt x="684" y="15"/>
                  </a:lnTo>
                  <a:lnTo>
                    <a:pt x="687" y="18"/>
                  </a:lnTo>
                  <a:lnTo>
                    <a:pt x="690" y="22"/>
                  </a:lnTo>
                  <a:lnTo>
                    <a:pt x="692" y="28"/>
                  </a:lnTo>
                  <a:lnTo>
                    <a:pt x="694" y="32"/>
                  </a:lnTo>
                  <a:lnTo>
                    <a:pt x="695" y="37"/>
                  </a:lnTo>
                  <a:lnTo>
                    <a:pt x="697" y="43"/>
                  </a:lnTo>
                  <a:lnTo>
                    <a:pt x="698" y="49"/>
                  </a:lnTo>
                  <a:lnTo>
                    <a:pt x="698" y="55"/>
                  </a:lnTo>
                  <a:lnTo>
                    <a:pt x="698" y="169"/>
                  </a:lnTo>
                  <a:lnTo>
                    <a:pt x="698" y="176"/>
                  </a:lnTo>
                  <a:lnTo>
                    <a:pt x="697" y="182"/>
                  </a:lnTo>
                  <a:lnTo>
                    <a:pt x="695" y="187"/>
                  </a:lnTo>
                  <a:lnTo>
                    <a:pt x="695" y="190"/>
                  </a:lnTo>
                  <a:lnTo>
                    <a:pt x="694" y="193"/>
                  </a:lnTo>
                  <a:lnTo>
                    <a:pt x="692" y="198"/>
                  </a:lnTo>
                  <a:lnTo>
                    <a:pt x="690" y="202"/>
                  </a:lnTo>
                  <a:lnTo>
                    <a:pt x="687" y="206"/>
                  </a:lnTo>
                  <a:lnTo>
                    <a:pt x="684" y="211"/>
                  </a:lnTo>
                  <a:lnTo>
                    <a:pt x="681" y="214"/>
                  </a:lnTo>
                  <a:lnTo>
                    <a:pt x="676" y="217"/>
                  </a:lnTo>
                  <a:lnTo>
                    <a:pt x="672" y="219"/>
                  </a:lnTo>
                  <a:lnTo>
                    <a:pt x="668" y="221"/>
                  </a:lnTo>
                  <a:lnTo>
                    <a:pt x="663" y="222"/>
                  </a:lnTo>
                  <a:lnTo>
                    <a:pt x="657" y="223"/>
                  </a:lnTo>
                  <a:lnTo>
                    <a:pt x="652" y="224"/>
                  </a:lnTo>
                  <a:lnTo>
                    <a:pt x="646" y="224"/>
                  </a:lnTo>
                  <a:lnTo>
                    <a:pt x="639" y="224"/>
                  </a:lnTo>
                  <a:lnTo>
                    <a:pt x="633" y="223"/>
                  </a:lnTo>
                  <a:lnTo>
                    <a:pt x="628" y="222"/>
                  </a:lnTo>
                  <a:lnTo>
                    <a:pt x="624" y="221"/>
                  </a:lnTo>
                  <a:lnTo>
                    <a:pt x="618" y="219"/>
                  </a:lnTo>
                  <a:lnTo>
                    <a:pt x="614" y="217"/>
                  </a:lnTo>
                  <a:lnTo>
                    <a:pt x="610" y="214"/>
                  </a:lnTo>
                  <a:lnTo>
                    <a:pt x="607" y="211"/>
                  </a:lnTo>
                  <a:lnTo>
                    <a:pt x="603" y="206"/>
                  </a:lnTo>
                  <a:lnTo>
                    <a:pt x="601" y="202"/>
                  </a:lnTo>
                  <a:lnTo>
                    <a:pt x="598" y="198"/>
                  </a:lnTo>
                  <a:lnTo>
                    <a:pt x="597" y="193"/>
                  </a:lnTo>
                  <a:lnTo>
                    <a:pt x="595" y="187"/>
                  </a:lnTo>
                  <a:lnTo>
                    <a:pt x="594" y="182"/>
                  </a:lnTo>
                  <a:lnTo>
                    <a:pt x="593" y="176"/>
                  </a:lnTo>
                  <a:lnTo>
                    <a:pt x="593" y="169"/>
                  </a:lnTo>
                  <a:lnTo>
                    <a:pt x="593" y="55"/>
                  </a:lnTo>
                  <a:close/>
                  <a:moveTo>
                    <a:pt x="467" y="3"/>
                  </a:moveTo>
                  <a:lnTo>
                    <a:pt x="573" y="3"/>
                  </a:lnTo>
                  <a:lnTo>
                    <a:pt x="573" y="34"/>
                  </a:lnTo>
                  <a:lnTo>
                    <a:pt x="537" y="34"/>
                  </a:lnTo>
                  <a:lnTo>
                    <a:pt x="537" y="222"/>
                  </a:lnTo>
                  <a:lnTo>
                    <a:pt x="503" y="222"/>
                  </a:lnTo>
                  <a:lnTo>
                    <a:pt x="503" y="34"/>
                  </a:lnTo>
                  <a:lnTo>
                    <a:pt x="467" y="34"/>
                  </a:lnTo>
                  <a:lnTo>
                    <a:pt x="467" y="3"/>
                  </a:lnTo>
                  <a:close/>
                  <a:moveTo>
                    <a:pt x="348" y="3"/>
                  </a:moveTo>
                  <a:lnTo>
                    <a:pt x="454" y="3"/>
                  </a:lnTo>
                  <a:lnTo>
                    <a:pt x="454" y="34"/>
                  </a:lnTo>
                  <a:lnTo>
                    <a:pt x="417" y="34"/>
                  </a:lnTo>
                  <a:lnTo>
                    <a:pt x="417" y="222"/>
                  </a:lnTo>
                  <a:lnTo>
                    <a:pt x="383" y="222"/>
                  </a:lnTo>
                  <a:lnTo>
                    <a:pt x="383" y="34"/>
                  </a:lnTo>
                  <a:lnTo>
                    <a:pt x="348" y="34"/>
                  </a:lnTo>
                  <a:lnTo>
                    <a:pt x="348" y="3"/>
                  </a:lnTo>
                  <a:close/>
                  <a:moveTo>
                    <a:pt x="259" y="3"/>
                  </a:moveTo>
                  <a:lnTo>
                    <a:pt x="294" y="3"/>
                  </a:lnTo>
                  <a:lnTo>
                    <a:pt x="294" y="190"/>
                  </a:lnTo>
                  <a:lnTo>
                    <a:pt x="350" y="190"/>
                  </a:lnTo>
                  <a:lnTo>
                    <a:pt x="350" y="222"/>
                  </a:lnTo>
                  <a:lnTo>
                    <a:pt x="259" y="222"/>
                  </a:lnTo>
                  <a:lnTo>
                    <a:pt x="259" y="3"/>
                  </a:lnTo>
                  <a:close/>
                  <a:moveTo>
                    <a:pt x="159" y="171"/>
                  </a:moveTo>
                  <a:lnTo>
                    <a:pt x="159" y="177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1" y="185"/>
                  </a:lnTo>
                  <a:lnTo>
                    <a:pt x="164" y="188"/>
                  </a:lnTo>
                  <a:lnTo>
                    <a:pt x="167" y="190"/>
                  </a:lnTo>
                  <a:lnTo>
                    <a:pt x="169" y="193"/>
                  </a:lnTo>
                  <a:lnTo>
                    <a:pt x="173" y="193"/>
                  </a:lnTo>
                  <a:lnTo>
                    <a:pt x="176" y="194"/>
                  </a:lnTo>
                  <a:lnTo>
                    <a:pt x="180" y="193"/>
                  </a:lnTo>
                  <a:lnTo>
                    <a:pt x="184" y="193"/>
                  </a:lnTo>
                  <a:lnTo>
                    <a:pt x="187" y="190"/>
                  </a:lnTo>
                  <a:lnTo>
                    <a:pt x="190" y="188"/>
                  </a:lnTo>
                  <a:lnTo>
                    <a:pt x="192" y="185"/>
                  </a:lnTo>
                  <a:lnTo>
                    <a:pt x="193" y="182"/>
                  </a:lnTo>
                  <a:lnTo>
                    <a:pt x="194" y="177"/>
                  </a:lnTo>
                  <a:lnTo>
                    <a:pt x="194" y="171"/>
                  </a:lnTo>
                  <a:lnTo>
                    <a:pt x="194" y="53"/>
                  </a:lnTo>
                  <a:lnTo>
                    <a:pt x="194" y="48"/>
                  </a:lnTo>
                  <a:lnTo>
                    <a:pt x="193" y="43"/>
                  </a:lnTo>
                  <a:lnTo>
                    <a:pt x="192" y="41"/>
                  </a:lnTo>
                  <a:lnTo>
                    <a:pt x="192" y="39"/>
                  </a:lnTo>
                  <a:lnTo>
                    <a:pt x="190" y="36"/>
                  </a:lnTo>
                  <a:lnTo>
                    <a:pt x="187" y="34"/>
                  </a:lnTo>
                  <a:lnTo>
                    <a:pt x="184" y="33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3" y="32"/>
                  </a:lnTo>
                  <a:lnTo>
                    <a:pt x="169" y="33"/>
                  </a:lnTo>
                  <a:lnTo>
                    <a:pt x="167" y="34"/>
                  </a:lnTo>
                  <a:lnTo>
                    <a:pt x="164" y="36"/>
                  </a:lnTo>
                  <a:lnTo>
                    <a:pt x="161" y="39"/>
                  </a:lnTo>
                  <a:lnTo>
                    <a:pt x="160" y="43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9" y="171"/>
                  </a:lnTo>
                  <a:close/>
                  <a:moveTo>
                    <a:pt x="124" y="55"/>
                  </a:moveTo>
                  <a:lnTo>
                    <a:pt x="124" y="49"/>
                  </a:lnTo>
                  <a:lnTo>
                    <a:pt x="125" y="43"/>
                  </a:lnTo>
                  <a:lnTo>
                    <a:pt x="127" y="37"/>
                  </a:lnTo>
                  <a:lnTo>
                    <a:pt x="127" y="35"/>
                  </a:lnTo>
                  <a:lnTo>
                    <a:pt x="128" y="32"/>
                  </a:lnTo>
                  <a:lnTo>
                    <a:pt x="130" y="28"/>
                  </a:lnTo>
                  <a:lnTo>
                    <a:pt x="132" y="22"/>
                  </a:lnTo>
                  <a:lnTo>
                    <a:pt x="135" y="18"/>
                  </a:lnTo>
                  <a:lnTo>
                    <a:pt x="138" y="15"/>
                  </a:lnTo>
                  <a:lnTo>
                    <a:pt x="141" y="12"/>
                  </a:lnTo>
                  <a:lnTo>
                    <a:pt x="146" y="9"/>
                  </a:lnTo>
                  <a:lnTo>
                    <a:pt x="150" y="6"/>
                  </a:lnTo>
                  <a:lnTo>
                    <a:pt x="154" y="4"/>
                  </a:lnTo>
                  <a:lnTo>
                    <a:pt x="159" y="2"/>
                  </a:lnTo>
                  <a:lnTo>
                    <a:pt x="165" y="1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3" y="0"/>
                  </a:lnTo>
                  <a:lnTo>
                    <a:pt x="189" y="1"/>
                  </a:lnTo>
                  <a:lnTo>
                    <a:pt x="194" y="2"/>
                  </a:lnTo>
                  <a:lnTo>
                    <a:pt x="199" y="4"/>
                  </a:lnTo>
                  <a:lnTo>
                    <a:pt x="204" y="6"/>
                  </a:lnTo>
                  <a:lnTo>
                    <a:pt x="208" y="9"/>
                  </a:lnTo>
                  <a:lnTo>
                    <a:pt x="212" y="12"/>
                  </a:lnTo>
                  <a:lnTo>
                    <a:pt x="215" y="15"/>
                  </a:lnTo>
                  <a:lnTo>
                    <a:pt x="219" y="18"/>
                  </a:lnTo>
                  <a:lnTo>
                    <a:pt x="222" y="22"/>
                  </a:lnTo>
                  <a:lnTo>
                    <a:pt x="224" y="28"/>
                  </a:lnTo>
                  <a:lnTo>
                    <a:pt x="226" y="32"/>
                  </a:lnTo>
                  <a:lnTo>
                    <a:pt x="227" y="37"/>
                  </a:lnTo>
                  <a:lnTo>
                    <a:pt x="228" y="43"/>
                  </a:lnTo>
                  <a:lnTo>
                    <a:pt x="229" y="49"/>
                  </a:lnTo>
                  <a:lnTo>
                    <a:pt x="229" y="55"/>
                  </a:lnTo>
                  <a:lnTo>
                    <a:pt x="229" y="169"/>
                  </a:lnTo>
                  <a:lnTo>
                    <a:pt x="229" y="176"/>
                  </a:lnTo>
                  <a:lnTo>
                    <a:pt x="228" y="182"/>
                  </a:lnTo>
                  <a:lnTo>
                    <a:pt x="227" y="187"/>
                  </a:lnTo>
                  <a:lnTo>
                    <a:pt x="226" y="190"/>
                  </a:lnTo>
                  <a:lnTo>
                    <a:pt x="226" y="193"/>
                  </a:lnTo>
                  <a:lnTo>
                    <a:pt x="224" y="198"/>
                  </a:lnTo>
                  <a:lnTo>
                    <a:pt x="222" y="202"/>
                  </a:lnTo>
                  <a:lnTo>
                    <a:pt x="219" y="206"/>
                  </a:lnTo>
                  <a:lnTo>
                    <a:pt x="215" y="211"/>
                  </a:lnTo>
                  <a:lnTo>
                    <a:pt x="212" y="214"/>
                  </a:lnTo>
                  <a:lnTo>
                    <a:pt x="208" y="217"/>
                  </a:lnTo>
                  <a:lnTo>
                    <a:pt x="204" y="219"/>
                  </a:lnTo>
                  <a:lnTo>
                    <a:pt x="199" y="221"/>
                  </a:lnTo>
                  <a:lnTo>
                    <a:pt x="194" y="222"/>
                  </a:lnTo>
                  <a:lnTo>
                    <a:pt x="189" y="223"/>
                  </a:lnTo>
                  <a:lnTo>
                    <a:pt x="183" y="224"/>
                  </a:lnTo>
                  <a:lnTo>
                    <a:pt x="176" y="224"/>
                  </a:lnTo>
                  <a:lnTo>
                    <a:pt x="171" y="224"/>
                  </a:lnTo>
                  <a:lnTo>
                    <a:pt x="165" y="223"/>
                  </a:lnTo>
                  <a:lnTo>
                    <a:pt x="159" y="222"/>
                  </a:lnTo>
                  <a:lnTo>
                    <a:pt x="154" y="221"/>
                  </a:lnTo>
                  <a:lnTo>
                    <a:pt x="150" y="219"/>
                  </a:lnTo>
                  <a:lnTo>
                    <a:pt x="146" y="217"/>
                  </a:lnTo>
                  <a:lnTo>
                    <a:pt x="141" y="214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32" y="202"/>
                  </a:lnTo>
                  <a:lnTo>
                    <a:pt x="130" y="198"/>
                  </a:lnTo>
                  <a:lnTo>
                    <a:pt x="128" y="193"/>
                  </a:lnTo>
                  <a:lnTo>
                    <a:pt x="127" y="187"/>
                  </a:lnTo>
                  <a:lnTo>
                    <a:pt x="125" y="182"/>
                  </a:lnTo>
                  <a:lnTo>
                    <a:pt x="124" y="176"/>
                  </a:lnTo>
                  <a:lnTo>
                    <a:pt x="124" y="169"/>
                  </a:lnTo>
                  <a:lnTo>
                    <a:pt x="124" y="55"/>
                  </a:lnTo>
                  <a:close/>
                  <a:moveTo>
                    <a:pt x="35" y="34"/>
                  </a:moveTo>
                  <a:lnTo>
                    <a:pt x="35" y="108"/>
                  </a:lnTo>
                  <a:lnTo>
                    <a:pt x="50" y="108"/>
                  </a:lnTo>
                  <a:lnTo>
                    <a:pt x="55" y="108"/>
                  </a:lnTo>
                  <a:lnTo>
                    <a:pt x="58" y="107"/>
                  </a:lnTo>
                  <a:lnTo>
                    <a:pt x="61" y="106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66" y="97"/>
                  </a:lnTo>
                  <a:lnTo>
                    <a:pt x="67" y="93"/>
                  </a:lnTo>
                  <a:lnTo>
                    <a:pt x="67" y="88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6" y="44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1" y="36"/>
                  </a:lnTo>
                  <a:lnTo>
                    <a:pt x="58" y="35"/>
                  </a:lnTo>
                  <a:lnTo>
                    <a:pt x="55" y="34"/>
                  </a:lnTo>
                  <a:lnTo>
                    <a:pt x="50" y="34"/>
                  </a:lnTo>
                  <a:lnTo>
                    <a:pt x="35" y="34"/>
                  </a:lnTo>
                  <a:close/>
                  <a:moveTo>
                    <a:pt x="102" y="57"/>
                  </a:moveTo>
                  <a:lnTo>
                    <a:pt x="102" y="86"/>
                  </a:lnTo>
                  <a:lnTo>
                    <a:pt x="101" y="92"/>
                  </a:lnTo>
                  <a:lnTo>
                    <a:pt x="101" y="97"/>
                  </a:lnTo>
                  <a:lnTo>
                    <a:pt x="100" y="104"/>
                  </a:lnTo>
                  <a:lnTo>
                    <a:pt x="99" y="109"/>
                  </a:lnTo>
                  <a:lnTo>
                    <a:pt x="97" y="113"/>
                  </a:lnTo>
                  <a:lnTo>
                    <a:pt x="95" y="118"/>
                  </a:lnTo>
                  <a:lnTo>
                    <a:pt x="92" y="122"/>
                  </a:lnTo>
                  <a:lnTo>
                    <a:pt x="89" y="126"/>
                  </a:lnTo>
                  <a:lnTo>
                    <a:pt x="85" y="129"/>
                  </a:lnTo>
                  <a:lnTo>
                    <a:pt x="82" y="132"/>
                  </a:lnTo>
                  <a:lnTo>
                    <a:pt x="78" y="134"/>
                  </a:lnTo>
                  <a:lnTo>
                    <a:pt x="73" y="136"/>
                  </a:lnTo>
                  <a:lnTo>
                    <a:pt x="68" y="138"/>
                  </a:lnTo>
                  <a:lnTo>
                    <a:pt x="62" y="139"/>
                  </a:lnTo>
                  <a:lnTo>
                    <a:pt x="57" y="140"/>
                  </a:lnTo>
                  <a:lnTo>
                    <a:pt x="50" y="140"/>
                  </a:lnTo>
                  <a:lnTo>
                    <a:pt x="35" y="140"/>
                  </a:lnTo>
                  <a:lnTo>
                    <a:pt x="35" y="222"/>
                  </a:lnTo>
                  <a:lnTo>
                    <a:pt x="0" y="222"/>
                  </a:lnTo>
                  <a:lnTo>
                    <a:pt x="0" y="3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2" y="3"/>
                  </a:lnTo>
                  <a:lnTo>
                    <a:pt x="68" y="4"/>
                  </a:lnTo>
                  <a:lnTo>
                    <a:pt x="73" y="6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9" y="17"/>
                  </a:lnTo>
                  <a:lnTo>
                    <a:pt x="92" y="20"/>
                  </a:lnTo>
                  <a:lnTo>
                    <a:pt x="95" y="24"/>
                  </a:lnTo>
                  <a:lnTo>
                    <a:pt x="97" y="29"/>
                  </a:lnTo>
                  <a:lnTo>
                    <a:pt x="99" y="34"/>
                  </a:lnTo>
                  <a:lnTo>
                    <a:pt x="100" y="39"/>
                  </a:lnTo>
                  <a:lnTo>
                    <a:pt x="101" y="44"/>
                  </a:lnTo>
                  <a:lnTo>
                    <a:pt x="101" y="51"/>
                  </a:lnTo>
                  <a:lnTo>
                    <a:pt x="10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97742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957" r:id="rId20"/>
    <p:sldLayoutId id="2147483810" r:id="rId21"/>
    <p:sldLayoutId id="2147483811" r:id="rId22"/>
    <p:sldLayoutId id="2147483812" r:id="rId23"/>
    <p:sldLayoutId id="2147483813" r:id="rId24"/>
    <p:sldLayoutId id="2147483814" r:id="rId25"/>
    <p:sldLayoutId id="2147483815" r:id="rId26"/>
    <p:sldLayoutId id="2147483816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E00C332A-768C-4AC0-95FB-0A90C6BDF2A3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Freeform 7"/>
          <p:cNvSpPr>
            <a:spLocks noEditPoints="1"/>
          </p:cNvSpPr>
          <p:nvPr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9" name="Group 8"/>
          <p:cNvGrpSpPr/>
          <p:nvPr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1" name="Round Same Side Corner Rectangle 10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34" name="Freeform 30"/>
            <p:cNvSpPr>
              <a:spLocks noEditPoints="1"/>
            </p:cNvSpPr>
            <p:nvPr userDrawn="1"/>
          </p:nvSpPr>
          <p:spPr bwMode="auto">
            <a:xfrm>
              <a:off x="9094170" y="6475574"/>
              <a:ext cx="1502915" cy="209315"/>
            </a:xfrm>
            <a:custGeom>
              <a:avLst/>
              <a:gdLst>
                <a:gd name="T0" fmla="*/ 1559 w 1594"/>
                <a:gd name="T1" fmla="*/ 219 h 222"/>
                <a:gd name="T2" fmla="*/ 1559 w 1594"/>
                <a:gd name="T3" fmla="*/ 0 h 222"/>
                <a:gd name="T4" fmla="*/ 1418 w 1594"/>
                <a:gd name="T5" fmla="*/ 104 h 222"/>
                <a:gd name="T6" fmla="*/ 1427 w 1594"/>
                <a:gd name="T7" fmla="*/ 85 h 222"/>
                <a:gd name="T8" fmla="*/ 1421 w 1594"/>
                <a:gd name="T9" fmla="*/ 33 h 222"/>
                <a:gd name="T10" fmla="*/ 1462 w 1594"/>
                <a:gd name="T11" fmla="*/ 83 h 222"/>
                <a:gd name="T12" fmla="*/ 1455 w 1594"/>
                <a:gd name="T13" fmla="*/ 115 h 222"/>
                <a:gd name="T14" fmla="*/ 1432 w 1594"/>
                <a:gd name="T15" fmla="*/ 133 h 222"/>
                <a:gd name="T16" fmla="*/ 1394 w 1594"/>
                <a:gd name="T17" fmla="*/ 219 h 222"/>
                <a:gd name="T18" fmla="*/ 1428 w 1594"/>
                <a:gd name="T19" fmla="*/ 1 h 222"/>
                <a:gd name="T20" fmla="*/ 1451 w 1594"/>
                <a:gd name="T21" fmla="*/ 17 h 222"/>
                <a:gd name="T22" fmla="*/ 1461 w 1594"/>
                <a:gd name="T23" fmla="*/ 48 h 222"/>
                <a:gd name="T24" fmla="*/ 1290 w 1594"/>
                <a:gd name="T25" fmla="*/ 104 h 222"/>
                <a:gd name="T26" fmla="*/ 1300 w 1594"/>
                <a:gd name="T27" fmla="*/ 85 h 222"/>
                <a:gd name="T28" fmla="*/ 1293 w 1594"/>
                <a:gd name="T29" fmla="*/ 33 h 222"/>
                <a:gd name="T30" fmla="*/ 1334 w 1594"/>
                <a:gd name="T31" fmla="*/ 83 h 222"/>
                <a:gd name="T32" fmla="*/ 1327 w 1594"/>
                <a:gd name="T33" fmla="*/ 115 h 222"/>
                <a:gd name="T34" fmla="*/ 1305 w 1594"/>
                <a:gd name="T35" fmla="*/ 133 h 222"/>
                <a:gd name="T36" fmla="*/ 1266 w 1594"/>
                <a:gd name="T37" fmla="*/ 219 h 222"/>
                <a:gd name="T38" fmla="*/ 1300 w 1594"/>
                <a:gd name="T39" fmla="*/ 1 h 222"/>
                <a:gd name="T40" fmla="*/ 1324 w 1594"/>
                <a:gd name="T41" fmla="*/ 17 h 222"/>
                <a:gd name="T42" fmla="*/ 1334 w 1594"/>
                <a:gd name="T43" fmla="*/ 48 h 222"/>
                <a:gd name="T44" fmla="*/ 1134 w 1594"/>
                <a:gd name="T45" fmla="*/ 181 h 222"/>
                <a:gd name="T46" fmla="*/ 1150 w 1594"/>
                <a:gd name="T47" fmla="*/ 191 h 222"/>
                <a:gd name="T48" fmla="*/ 1167 w 1594"/>
                <a:gd name="T49" fmla="*/ 179 h 222"/>
                <a:gd name="T50" fmla="*/ 1201 w 1594"/>
                <a:gd name="T51" fmla="*/ 173 h 222"/>
                <a:gd name="T52" fmla="*/ 1191 w 1594"/>
                <a:gd name="T53" fmla="*/ 203 h 222"/>
                <a:gd name="T54" fmla="*/ 1171 w 1594"/>
                <a:gd name="T55" fmla="*/ 218 h 222"/>
                <a:gd name="T56" fmla="*/ 1137 w 1594"/>
                <a:gd name="T57" fmla="*/ 221 h 222"/>
                <a:gd name="T58" fmla="*/ 1111 w 1594"/>
                <a:gd name="T59" fmla="*/ 208 h 222"/>
                <a:gd name="T60" fmla="*/ 1099 w 1594"/>
                <a:gd name="T61" fmla="*/ 179 h 222"/>
                <a:gd name="T62" fmla="*/ 1030 w 1594"/>
                <a:gd name="T63" fmla="*/ 149 h 222"/>
                <a:gd name="T64" fmla="*/ 992 w 1594"/>
                <a:gd name="T65" fmla="*/ 179 h 222"/>
                <a:gd name="T66" fmla="*/ 872 w 1594"/>
                <a:gd name="T67" fmla="*/ 131 h 222"/>
                <a:gd name="T68" fmla="*/ 861 w 1594"/>
                <a:gd name="T69" fmla="*/ 95 h 222"/>
                <a:gd name="T70" fmla="*/ 872 w 1594"/>
                <a:gd name="T71" fmla="*/ 131 h 222"/>
                <a:gd name="T72" fmla="*/ 733 w 1594"/>
                <a:gd name="T73" fmla="*/ 219 h 222"/>
                <a:gd name="T74" fmla="*/ 666 w 1594"/>
                <a:gd name="T75" fmla="*/ 124 h 222"/>
                <a:gd name="T76" fmla="*/ 584 w 1594"/>
                <a:gd name="T77" fmla="*/ 0 h 222"/>
                <a:gd name="T78" fmla="*/ 482 w 1594"/>
                <a:gd name="T79" fmla="*/ 151 h 222"/>
                <a:gd name="T80" fmla="*/ 526 w 1594"/>
                <a:gd name="T81" fmla="*/ 0 h 222"/>
                <a:gd name="T82" fmla="*/ 347 w 1594"/>
                <a:gd name="T83" fmla="*/ 31 h 222"/>
                <a:gd name="T84" fmla="*/ 375 w 1594"/>
                <a:gd name="T85" fmla="*/ 94 h 222"/>
                <a:gd name="T86" fmla="*/ 381 w 1594"/>
                <a:gd name="T87" fmla="*/ 53 h 222"/>
                <a:gd name="T88" fmla="*/ 374 w 1594"/>
                <a:gd name="T89" fmla="*/ 33 h 222"/>
                <a:gd name="T90" fmla="*/ 384 w 1594"/>
                <a:gd name="T91" fmla="*/ 215 h 222"/>
                <a:gd name="T92" fmla="*/ 381 w 1594"/>
                <a:gd name="T93" fmla="*/ 145 h 222"/>
                <a:gd name="T94" fmla="*/ 365 w 1594"/>
                <a:gd name="T95" fmla="*/ 130 h 222"/>
                <a:gd name="T96" fmla="*/ 365 w 1594"/>
                <a:gd name="T97" fmla="*/ 0 h 222"/>
                <a:gd name="T98" fmla="*/ 397 w 1594"/>
                <a:gd name="T99" fmla="*/ 7 h 222"/>
                <a:gd name="T100" fmla="*/ 413 w 1594"/>
                <a:gd name="T101" fmla="*/ 28 h 222"/>
                <a:gd name="T102" fmla="*/ 416 w 1594"/>
                <a:gd name="T103" fmla="*/ 75 h 222"/>
                <a:gd name="T104" fmla="*/ 405 w 1594"/>
                <a:gd name="T105" fmla="*/ 103 h 222"/>
                <a:gd name="T106" fmla="*/ 402 w 1594"/>
                <a:gd name="T107" fmla="*/ 117 h 222"/>
                <a:gd name="T108" fmla="*/ 416 w 1594"/>
                <a:gd name="T109" fmla="*/ 146 h 222"/>
                <a:gd name="T110" fmla="*/ 418 w 1594"/>
                <a:gd name="T111" fmla="*/ 213 h 222"/>
                <a:gd name="T112" fmla="*/ 227 w 1594"/>
                <a:gd name="T113" fmla="*/ 38 h 222"/>
                <a:gd name="T114" fmla="*/ 200 w 1594"/>
                <a:gd name="T115" fmla="*/ 219 h 222"/>
                <a:gd name="T116" fmla="*/ 97 w 1594"/>
                <a:gd name="T117" fmla="*/ 0 h 222"/>
                <a:gd name="T118" fmla="*/ 55 w 1594"/>
                <a:gd name="T119" fmla="*/ 219 h 222"/>
                <a:gd name="T120" fmla="*/ 73 w 1594"/>
                <a:gd name="T121" fmla="*/ 15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94" h="222">
                  <a:moveTo>
                    <a:pt x="1516" y="149"/>
                  </a:moveTo>
                  <a:lnTo>
                    <a:pt x="1549" y="149"/>
                  </a:lnTo>
                  <a:lnTo>
                    <a:pt x="1533" y="38"/>
                  </a:lnTo>
                  <a:lnTo>
                    <a:pt x="1516" y="149"/>
                  </a:lnTo>
                  <a:close/>
                  <a:moveTo>
                    <a:pt x="1594" y="219"/>
                  </a:moveTo>
                  <a:lnTo>
                    <a:pt x="1559" y="219"/>
                  </a:lnTo>
                  <a:lnTo>
                    <a:pt x="1554" y="179"/>
                  </a:lnTo>
                  <a:lnTo>
                    <a:pt x="1512" y="179"/>
                  </a:lnTo>
                  <a:lnTo>
                    <a:pt x="1505" y="219"/>
                  </a:lnTo>
                  <a:lnTo>
                    <a:pt x="1474" y="219"/>
                  </a:lnTo>
                  <a:lnTo>
                    <a:pt x="1508" y="0"/>
                  </a:lnTo>
                  <a:lnTo>
                    <a:pt x="1559" y="0"/>
                  </a:lnTo>
                  <a:lnTo>
                    <a:pt x="1594" y="219"/>
                  </a:lnTo>
                  <a:close/>
                  <a:moveTo>
                    <a:pt x="1394" y="31"/>
                  </a:moveTo>
                  <a:lnTo>
                    <a:pt x="1394" y="105"/>
                  </a:lnTo>
                  <a:lnTo>
                    <a:pt x="1410" y="105"/>
                  </a:lnTo>
                  <a:lnTo>
                    <a:pt x="1414" y="105"/>
                  </a:lnTo>
                  <a:lnTo>
                    <a:pt x="1418" y="104"/>
                  </a:lnTo>
                  <a:lnTo>
                    <a:pt x="1421" y="103"/>
                  </a:lnTo>
                  <a:lnTo>
                    <a:pt x="1423" y="101"/>
                  </a:lnTo>
                  <a:lnTo>
                    <a:pt x="1425" y="99"/>
                  </a:lnTo>
                  <a:lnTo>
                    <a:pt x="1426" y="94"/>
                  </a:lnTo>
                  <a:lnTo>
                    <a:pt x="1427" y="90"/>
                  </a:lnTo>
                  <a:lnTo>
                    <a:pt x="1427" y="85"/>
                  </a:lnTo>
                  <a:lnTo>
                    <a:pt x="1427" y="52"/>
                  </a:lnTo>
                  <a:lnTo>
                    <a:pt x="1427" y="47"/>
                  </a:lnTo>
                  <a:lnTo>
                    <a:pt x="1426" y="41"/>
                  </a:lnTo>
                  <a:lnTo>
                    <a:pt x="1425" y="38"/>
                  </a:lnTo>
                  <a:lnTo>
                    <a:pt x="1423" y="35"/>
                  </a:lnTo>
                  <a:lnTo>
                    <a:pt x="1421" y="33"/>
                  </a:lnTo>
                  <a:lnTo>
                    <a:pt x="1418" y="32"/>
                  </a:lnTo>
                  <a:lnTo>
                    <a:pt x="1414" y="31"/>
                  </a:lnTo>
                  <a:lnTo>
                    <a:pt x="1410" y="31"/>
                  </a:lnTo>
                  <a:lnTo>
                    <a:pt x="1394" y="31"/>
                  </a:lnTo>
                  <a:close/>
                  <a:moveTo>
                    <a:pt x="1462" y="54"/>
                  </a:moveTo>
                  <a:lnTo>
                    <a:pt x="1462" y="83"/>
                  </a:lnTo>
                  <a:lnTo>
                    <a:pt x="1461" y="89"/>
                  </a:lnTo>
                  <a:lnTo>
                    <a:pt x="1461" y="94"/>
                  </a:lnTo>
                  <a:lnTo>
                    <a:pt x="1460" y="101"/>
                  </a:lnTo>
                  <a:lnTo>
                    <a:pt x="1459" y="106"/>
                  </a:lnTo>
                  <a:lnTo>
                    <a:pt x="1457" y="110"/>
                  </a:lnTo>
                  <a:lnTo>
                    <a:pt x="1455" y="115"/>
                  </a:lnTo>
                  <a:lnTo>
                    <a:pt x="1451" y="119"/>
                  </a:lnTo>
                  <a:lnTo>
                    <a:pt x="1449" y="123"/>
                  </a:lnTo>
                  <a:lnTo>
                    <a:pt x="1445" y="126"/>
                  </a:lnTo>
                  <a:lnTo>
                    <a:pt x="1442" y="129"/>
                  </a:lnTo>
                  <a:lnTo>
                    <a:pt x="1438" y="131"/>
                  </a:lnTo>
                  <a:lnTo>
                    <a:pt x="1432" y="133"/>
                  </a:lnTo>
                  <a:lnTo>
                    <a:pt x="1428" y="135"/>
                  </a:lnTo>
                  <a:lnTo>
                    <a:pt x="1423" y="136"/>
                  </a:lnTo>
                  <a:lnTo>
                    <a:pt x="1416" y="137"/>
                  </a:lnTo>
                  <a:lnTo>
                    <a:pt x="1410" y="137"/>
                  </a:lnTo>
                  <a:lnTo>
                    <a:pt x="1394" y="137"/>
                  </a:lnTo>
                  <a:lnTo>
                    <a:pt x="1394" y="219"/>
                  </a:lnTo>
                  <a:lnTo>
                    <a:pt x="1359" y="219"/>
                  </a:lnTo>
                  <a:lnTo>
                    <a:pt x="1359" y="0"/>
                  </a:lnTo>
                  <a:lnTo>
                    <a:pt x="1410" y="0"/>
                  </a:lnTo>
                  <a:lnTo>
                    <a:pt x="1416" y="0"/>
                  </a:lnTo>
                  <a:lnTo>
                    <a:pt x="1423" y="0"/>
                  </a:lnTo>
                  <a:lnTo>
                    <a:pt x="1428" y="1"/>
                  </a:lnTo>
                  <a:lnTo>
                    <a:pt x="1432" y="3"/>
                  </a:lnTo>
                  <a:lnTo>
                    <a:pt x="1438" y="6"/>
                  </a:lnTo>
                  <a:lnTo>
                    <a:pt x="1442" y="8"/>
                  </a:lnTo>
                  <a:lnTo>
                    <a:pt x="1445" y="11"/>
                  </a:lnTo>
                  <a:lnTo>
                    <a:pt x="1449" y="14"/>
                  </a:lnTo>
                  <a:lnTo>
                    <a:pt x="1451" y="17"/>
                  </a:lnTo>
                  <a:lnTo>
                    <a:pt x="1455" y="21"/>
                  </a:lnTo>
                  <a:lnTo>
                    <a:pt x="1457" y="26"/>
                  </a:lnTo>
                  <a:lnTo>
                    <a:pt x="1459" y="31"/>
                  </a:lnTo>
                  <a:lnTo>
                    <a:pt x="1460" y="36"/>
                  </a:lnTo>
                  <a:lnTo>
                    <a:pt x="1461" y="41"/>
                  </a:lnTo>
                  <a:lnTo>
                    <a:pt x="1461" y="48"/>
                  </a:lnTo>
                  <a:lnTo>
                    <a:pt x="1462" y="54"/>
                  </a:lnTo>
                  <a:close/>
                  <a:moveTo>
                    <a:pt x="1266" y="31"/>
                  </a:moveTo>
                  <a:lnTo>
                    <a:pt x="1266" y="105"/>
                  </a:lnTo>
                  <a:lnTo>
                    <a:pt x="1283" y="105"/>
                  </a:lnTo>
                  <a:lnTo>
                    <a:pt x="1286" y="105"/>
                  </a:lnTo>
                  <a:lnTo>
                    <a:pt x="1290" y="104"/>
                  </a:lnTo>
                  <a:lnTo>
                    <a:pt x="1293" y="103"/>
                  </a:lnTo>
                  <a:lnTo>
                    <a:pt x="1295" y="101"/>
                  </a:lnTo>
                  <a:lnTo>
                    <a:pt x="1297" y="99"/>
                  </a:lnTo>
                  <a:lnTo>
                    <a:pt x="1298" y="94"/>
                  </a:lnTo>
                  <a:lnTo>
                    <a:pt x="1299" y="90"/>
                  </a:lnTo>
                  <a:lnTo>
                    <a:pt x="1300" y="85"/>
                  </a:lnTo>
                  <a:lnTo>
                    <a:pt x="1300" y="52"/>
                  </a:lnTo>
                  <a:lnTo>
                    <a:pt x="1299" y="47"/>
                  </a:lnTo>
                  <a:lnTo>
                    <a:pt x="1298" y="41"/>
                  </a:lnTo>
                  <a:lnTo>
                    <a:pt x="1297" y="38"/>
                  </a:lnTo>
                  <a:lnTo>
                    <a:pt x="1295" y="35"/>
                  </a:lnTo>
                  <a:lnTo>
                    <a:pt x="1293" y="33"/>
                  </a:lnTo>
                  <a:lnTo>
                    <a:pt x="1290" y="32"/>
                  </a:lnTo>
                  <a:lnTo>
                    <a:pt x="1286" y="31"/>
                  </a:lnTo>
                  <a:lnTo>
                    <a:pt x="1283" y="31"/>
                  </a:lnTo>
                  <a:lnTo>
                    <a:pt x="1266" y="31"/>
                  </a:lnTo>
                  <a:close/>
                  <a:moveTo>
                    <a:pt x="1334" y="54"/>
                  </a:moveTo>
                  <a:lnTo>
                    <a:pt x="1334" y="83"/>
                  </a:lnTo>
                  <a:lnTo>
                    <a:pt x="1334" y="89"/>
                  </a:lnTo>
                  <a:lnTo>
                    <a:pt x="1333" y="94"/>
                  </a:lnTo>
                  <a:lnTo>
                    <a:pt x="1332" y="101"/>
                  </a:lnTo>
                  <a:lnTo>
                    <a:pt x="1331" y="106"/>
                  </a:lnTo>
                  <a:lnTo>
                    <a:pt x="1329" y="110"/>
                  </a:lnTo>
                  <a:lnTo>
                    <a:pt x="1327" y="115"/>
                  </a:lnTo>
                  <a:lnTo>
                    <a:pt x="1324" y="119"/>
                  </a:lnTo>
                  <a:lnTo>
                    <a:pt x="1321" y="123"/>
                  </a:lnTo>
                  <a:lnTo>
                    <a:pt x="1318" y="126"/>
                  </a:lnTo>
                  <a:lnTo>
                    <a:pt x="1314" y="129"/>
                  </a:lnTo>
                  <a:lnTo>
                    <a:pt x="1310" y="131"/>
                  </a:lnTo>
                  <a:lnTo>
                    <a:pt x="1305" y="133"/>
                  </a:lnTo>
                  <a:lnTo>
                    <a:pt x="1300" y="135"/>
                  </a:lnTo>
                  <a:lnTo>
                    <a:pt x="1295" y="136"/>
                  </a:lnTo>
                  <a:lnTo>
                    <a:pt x="1289" y="137"/>
                  </a:lnTo>
                  <a:lnTo>
                    <a:pt x="1283" y="137"/>
                  </a:lnTo>
                  <a:lnTo>
                    <a:pt x="1266" y="137"/>
                  </a:lnTo>
                  <a:lnTo>
                    <a:pt x="1266" y="219"/>
                  </a:lnTo>
                  <a:lnTo>
                    <a:pt x="1232" y="219"/>
                  </a:lnTo>
                  <a:lnTo>
                    <a:pt x="1232" y="0"/>
                  </a:lnTo>
                  <a:lnTo>
                    <a:pt x="1283" y="0"/>
                  </a:lnTo>
                  <a:lnTo>
                    <a:pt x="1289" y="0"/>
                  </a:lnTo>
                  <a:lnTo>
                    <a:pt x="1295" y="0"/>
                  </a:lnTo>
                  <a:lnTo>
                    <a:pt x="1300" y="1"/>
                  </a:lnTo>
                  <a:lnTo>
                    <a:pt x="1305" y="3"/>
                  </a:lnTo>
                  <a:lnTo>
                    <a:pt x="1310" y="6"/>
                  </a:lnTo>
                  <a:lnTo>
                    <a:pt x="1314" y="8"/>
                  </a:lnTo>
                  <a:lnTo>
                    <a:pt x="1318" y="11"/>
                  </a:lnTo>
                  <a:lnTo>
                    <a:pt x="1321" y="14"/>
                  </a:lnTo>
                  <a:lnTo>
                    <a:pt x="1324" y="17"/>
                  </a:lnTo>
                  <a:lnTo>
                    <a:pt x="1327" y="21"/>
                  </a:lnTo>
                  <a:lnTo>
                    <a:pt x="1329" y="26"/>
                  </a:lnTo>
                  <a:lnTo>
                    <a:pt x="1331" y="31"/>
                  </a:lnTo>
                  <a:lnTo>
                    <a:pt x="1332" y="36"/>
                  </a:lnTo>
                  <a:lnTo>
                    <a:pt x="1333" y="41"/>
                  </a:lnTo>
                  <a:lnTo>
                    <a:pt x="1334" y="48"/>
                  </a:lnTo>
                  <a:lnTo>
                    <a:pt x="1334" y="54"/>
                  </a:lnTo>
                  <a:close/>
                  <a:moveTo>
                    <a:pt x="1132" y="0"/>
                  </a:moveTo>
                  <a:lnTo>
                    <a:pt x="1132" y="169"/>
                  </a:lnTo>
                  <a:lnTo>
                    <a:pt x="1133" y="175"/>
                  </a:lnTo>
                  <a:lnTo>
                    <a:pt x="1134" y="179"/>
                  </a:lnTo>
                  <a:lnTo>
                    <a:pt x="1134" y="181"/>
                  </a:lnTo>
                  <a:lnTo>
                    <a:pt x="1135" y="182"/>
                  </a:lnTo>
                  <a:lnTo>
                    <a:pt x="1137" y="185"/>
                  </a:lnTo>
                  <a:lnTo>
                    <a:pt x="1139" y="187"/>
                  </a:lnTo>
                  <a:lnTo>
                    <a:pt x="1143" y="190"/>
                  </a:lnTo>
                  <a:lnTo>
                    <a:pt x="1147" y="190"/>
                  </a:lnTo>
                  <a:lnTo>
                    <a:pt x="1150" y="191"/>
                  </a:lnTo>
                  <a:lnTo>
                    <a:pt x="1154" y="190"/>
                  </a:lnTo>
                  <a:lnTo>
                    <a:pt x="1157" y="190"/>
                  </a:lnTo>
                  <a:lnTo>
                    <a:pt x="1161" y="187"/>
                  </a:lnTo>
                  <a:lnTo>
                    <a:pt x="1164" y="185"/>
                  </a:lnTo>
                  <a:lnTo>
                    <a:pt x="1166" y="182"/>
                  </a:lnTo>
                  <a:lnTo>
                    <a:pt x="1167" y="179"/>
                  </a:lnTo>
                  <a:lnTo>
                    <a:pt x="1168" y="175"/>
                  </a:lnTo>
                  <a:lnTo>
                    <a:pt x="1168" y="169"/>
                  </a:lnTo>
                  <a:lnTo>
                    <a:pt x="1168" y="0"/>
                  </a:lnTo>
                  <a:lnTo>
                    <a:pt x="1201" y="0"/>
                  </a:lnTo>
                  <a:lnTo>
                    <a:pt x="1201" y="166"/>
                  </a:lnTo>
                  <a:lnTo>
                    <a:pt x="1201" y="173"/>
                  </a:lnTo>
                  <a:lnTo>
                    <a:pt x="1200" y="179"/>
                  </a:lnTo>
                  <a:lnTo>
                    <a:pt x="1199" y="185"/>
                  </a:lnTo>
                  <a:lnTo>
                    <a:pt x="1198" y="191"/>
                  </a:lnTo>
                  <a:lnTo>
                    <a:pt x="1195" y="195"/>
                  </a:lnTo>
                  <a:lnTo>
                    <a:pt x="1193" y="200"/>
                  </a:lnTo>
                  <a:lnTo>
                    <a:pt x="1191" y="203"/>
                  </a:lnTo>
                  <a:lnTo>
                    <a:pt x="1188" y="208"/>
                  </a:lnTo>
                  <a:lnTo>
                    <a:pt x="1184" y="211"/>
                  </a:lnTo>
                  <a:lnTo>
                    <a:pt x="1181" y="214"/>
                  </a:lnTo>
                  <a:lnTo>
                    <a:pt x="1179" y="215"/>
                  </a:lnTo>
                  <a:lnTo>
                    <a:pt x="1176" y="216"/>
                  </a:lnTo>
                  <a:lnTo>
                    <a:pt x="1171" y="218"/>
                  </a:lnTo>
                  <a:lnTo>
                    <a:pt x="1167" y="220"/>
                  </a:lnTo>
                  <a:lnTo>
                    <a:pt x="1162" y="221"/>
                  </a:lnTo>
                  <a:lnTo>
                    <a:pt x="1155" y="221"/>
                  </a:lnTo>
                  <a:lnTo>
                    <a:pt x="1149" y="222"/>
                  </a:lnTo>
                  <a:lnTo>
                    <a:pt x="1144" y="221"/>
                  </a:lnTo>
                  <a:lnTo>
                    <a:pt x="1137" y="221"/>
                  </a:lnTo>
                  <a:lnTo>
                    <a:pt x="1132" y="220"/>
                  </a:lnTo>
                  <a:lnTo>
                    <a:pt x="1127" y="218"/>
                  </a:lnTo>
                  <a:lnTo>
                    <a:pt x="1122" y="216"/>
                  </a:lnTo>
                  <a:lnTo>
                    <a:pt x="1118" y="214"/>
                  </a:lnTo>
                  <a:lnTo>
                    <a:pt x="1114" y="211"/>
                  </a:lnTo>
                  <a:lnTo>
                    <a:pt x="1111" y="208"/>
                  </a:lnTo>
                  <a:lnTo>
                    <a:pt x="1108" y="203"/>
                  </a:lnTo>
                  <a:lnTo>
                    <a:pt x="1106" y="200"/>
                  </a:lnTo>
                  <a:lnTo>
                    <a:pt x="1103" y="195"/>
                  </a:lnTo>
                  <a:lnTo>
                    <a:pt x="1101" y="191"/>
                  </a:lnTo>
                  <a:lnTo>
                    <a:pt x="1100" y="185"/>
                  </a:lnTo>
                  <a:lnTo>
                    <a:pt x="1099" y="179"/>
                  </a:lnTo>
                  <a:lnTo>
                    <a:pt x="1098" y="173"/>
                  </a:lnTo>
                  <a:lnTo>
                    <a:pt x="1098" y="166"/>
                  </a:lnTo>
                  <a:lnTo>
                    <a:pt x="1098" y="0"/>
                  </a:lnTo>
                  <a:lnTo>
                    <a:pt x="1132" y="0"/>
                  </a:lnTo>
                  <a:close/>
                  <a:moveTo>
                    <a:pt x="997" y="149"/>
                  </a:moveTo>
                  <a:lnTo>
                    <a:pt x="1030" y="149"/>
                  </a:lnTo>
                  <a:lnTo>
                    <a:pt x="1014" y="38"/>
                  </a:lnTo>
                  <a:lnTo>
                    <a:pt x="997" y="149"/>
                  </a:lnTo>
                  <a:close/>
                  <a:moveTo>
                    <a:pt x="1076" y="219"/>
                  </a:moveTo>
                  <a:lnTo>
                    <a:pt x="1041" y="219"/>
                  </a:lnTo>
                  <a:lnTo>
                    <a:pt x="1035" y="179"/>
                  </a:lnTo>
                  <a:lnTo>
                    <a:pt x="992" y="179"/>
                  </a:lnTo>
                  <a:lnTo>
                    <a:pt x="987" y="219"/>
                  </a:lnTo>
                  <a:lnTo>
                    <a:pt x="955" y="219"/>
                  </a:lnTo>
                  <a:lnTo>
                    <a:pt x="990" y="0"/>
                  </a:lnTo>
                  <a:lnTo>
                    <a:pt x="1041" y="0"/>
                  </a:lnTo>
                  <a:lnTo>
                    <a:pt x="1076" y="219"/>
                  </a:lnTo>
                  <a:close/>
                  <a:moveTo>
                    <a:pt x="872" y="131"/>
                  </a:moveTo>
                  <a:lnTo>
                    <a:pt x="861" y="151"/>
                  </a:lnTo>
                  <a:lnTo>
                    <a:pt x="861" y="219"/>
                  </a:lnTo>
                  <a:lnTo>
                    <a:pt x="826" y="219"/>
                  </a:lnTo>
                  <a:lnTo>
                    <a:pt x="826" y="0"/>
                  </a:lnTo>
                  <a:lnTo>
                    <a:pt x="861" y="0"/>
                  </a:lnTo>
                  <a:lnTo>
                    <a:pt x="861" y="95"/>
                  </a:lnTo>
                  <a:lnTo>
                    <a:pt x="907" y="0"/>
                  </a:lnTo>
                  <a:lnTo>
                    <a:pt x="941" y="0"/>
                  </a:lnTo>
                  <a:lnTo>
                    <a:pt x="893" y="98"/>
                  </a:lnTo>
                  <a:lnTo>
                    <a:pt x="941" y="219"/>
                  </a:lnTo>
                  <a:lnTo>
                    <a:pt x="906" y="219"/>
                  </a:lnTo>
                  <a:lnTo>
                    <a:pt x="872" y="131"/>
                  </a:lnTo>
                  <a:close/>
                  <a:moveTo>
                    <a:pt x="697" y="0"/>
                  </a:moveTo>
                  <a:lnTo>
                    <a:pt x="804" y="0"/>
                  </a:lnTo>
                  <a:lnTo>
                    <a:pt x="804" y="31"/>
                  </a:lnTo>
                  <a:lnTo>
                    <a:pt x="768" y="31"/>
                  </a:lnTo>
                  <a:lnTo>
                    <a:pt x="768" y="219"/>
                  </a:lnTo>
                  <a:lnTo>
                    <a:pt x="733" y="219"/>
                  </a:lnTo>
                  <a:lnTo>
                    <a:pt x="733" y="31"/>
                  </a:lnTo>
                  <a:lnTo>
                    <a:pt x="697" y="31"/>
                  </a:lnTo>
                  <a:lnTo>
                    <a:pt x="697" y="0"/>
                  </a:lnTo>
                  <a:close/>
                  <a:moveTo>
                    <a:pt x="619" y="92"/>
                  </a:moveTo>
                  <a:lnTo>
                    <a:pt x="666" y="92"/>
                  </a:lnTo>
                  <a:lnTo>
                    <a:pt x="666" y="124"/>
                  </a:lnTo>
                  <a:lnTo>
                    <a:pt x="619" y="124"/>
                  </a:lnTo>
                  <a:lnTo>
                    <a:pt x="619" y="187"/>
                  </a:lnTo>
                  <a:lnTo>
                    <a:pt x="678" y="187"/>
                  </a:lnTo>
                  <a:lnTo>
                    <a:pt x="678" y="219"/>
                  </a:lnTo>
                  <a:lnTo>
                    <a:pt x="584" y="219"/>
                  </a:lnTo>
                  <a:lnTo>
                    <a:pt x="584" y="0"/>
                  </a:lnTo>
                  <a:lnTo>
                    <a:pt x="678" y="0"/>
                  </a:lnTo>
                  <a:lnTo>
                    <a:pt x="678" y="31"/>
                  </a:lnTo>
                  <a:lnTo>
                    <a:pt x="619" y="31"/>
                  </a:lnTo>
                  <a:lnTo>
                    <a:pt x="619" y="92"/>
                  </a:lnTo>
                  <a:close/>
                  <a:moveTo>
                    <a:pt x="492" y="131"/>
                  </a:moveTo>
                  <a:lnTo>
                    <a:pt x="482" y="151"/>
                  </a:lnTo>
                  <a:lnTo>
                    <a:pt x="482" y="219"/>
                  </a:lnTo>
                  <a:lnTo>
                    <a:pt x="447" y="219"/>
                  </a:lnTo>
                  <a:lnTo>
                    <a:pt x="447" y="0"/>
                  </a:lnTo>
                  <a:lnTo>
                    <a:pt x="482" y="0"/>
                  </a:lnTo>
                  <a:lnTo>
                    <a:pt x="482" y="95"/>
                  </a:lnTo>
                  <a:lnTo>
                    <a:pt x="526" y="0"/>
                  </a:lnTo>
                  <a:lnTo>
                    <a:pt x="561" y="0"/>
                  </a:lnTo>
                  <a:lnTo>
                    <a:pt x="513" y="98"/>
                  </a:lnTo>
                  <a:lnTo>
                    <a:pt x="561" y="219"/>
                  </a:lnTo>
                  <a:lnTo>
                    <a:pt x="525" y="219"/>
                  </a:lnTo>
                  <a:lnTo>
                    <a:pt x="492" y="131"/>
                  </a:lnTo>
                  <a:close/>
                  <a:moveTo>
                    <a:pt x="347" y="31"/>
                  </a:moveTo>
                  <a:lnTo>
                    <a:pt x="347" y="99"/>
                  </a:lnTo>
                  <a:lnTo>
                    <a:pt x="361" y="99"/>
                  </a:lnTo>
                  <a:lnTo>
                    <a:pt x="365" y="99"/>
                  </a:lnTo>
                  <a:lnTo>
                    <a:pt x="370" y="98"/>
                  </a:lnTo>
                  <a:lnTo>
                    <a:pt x="373" y="95"/>
                  </a:lnTo>
                  <a:lnTo>
                    <a:pt x="375" y="94"/>
                  </a:lnTo>
                  <a:lnTo>
                    <a:pt x="376" y="93"/>
                  </a:lnTo>
                  <a:lnTo>
                    <a:pt x="378" y="90"/>
                  </a:lnTo>
                  <a:lnTo>
                    <a:pt x="380" y="86"/>
                  </a:lnTo>
                  <a:lnTo>
                    <a:pt x="381" y="82"/>
                  </a:lnTo>
                  <a:lnTo>
                    <a:pt x="381" y="75"/>
                  </a:lnTo>
                  <a:lnTo>
                    <a:pt x="381" y="53"/>
                  </a:lnTo>
                  <a:lnTo>
                    <a:pt x="381" y="48"/>
                  </a:lnTo>
                  <a:lnTo>
                    <a:pt x="381" y="44"/>
                  </a:lnTo>
                  <a:lnTo>
                    <a:pt x="379" y="39"/>
                  </a:lnTo>
                  <a:lnTo>
                    <a:pt x="378" y="36"/>
                  </a:lnTo>
                  <a:lnTo>
                    <a:pt x="375" y="34"/>
                  </a:lnTo>
                  <a:lnTo>
                    <a:pt x="374" y="33"/>
                  </a:lnTo>
                  <a:lnTo>
                    <a:pt x="372" y="32"/>
                  </a:lnTo>
                  <a:lnTo>
                    <a:pt x="368" y="31"/>
                  </a:lnTo>
                  <a:lnTo>
                    <a:pt x="364" y="31"/>
                  </a:lnTo>
                  <a:lnTo>
                    <a:pt x="347" y="31"/>
                  </a:lnTo>
                  <a:close/>
                  <a:moveTo>
                    <a:pt x="385" y="219"/>
                  </a:moveTo>
                  <a:lnTo>
                    <a:pt x="384" y="215"/>
                  </a:lnTo>
                  <a:lnTo>
                    <a:pt x="383" y="211"/>
                  </a:lnTo>
                  <a:lnTo>
                    <a:pt x="382" y="203"/>
                  </a:lnTo>
                  <a:lnTo>
                    <a:pt x="382" y="192"/>
                  </a:lnTo>
                  <a:lnTo>
                    <a:pt x="382" y="158"/>
                  </a:lnTo>
                  <a:lnTo>
                    <a:pt x="381" y="150"/>
                  </a:lnTo>
                  <a:lnTo>
                    <a:pt x="381" y="145"/>
                  </a:lnTo>
                  <a:lnTo>
                    <a:pt x="379" y="140"/>
                  </a:lnTo>
                  <a:lnTo>
                    <a:pt x="377" y="136"/>
                  </a:lnTo>
                  <a:lnTo>
                    <a:pt x="375" y="135"/>
                  </a:lnTo>
                  <a:lnTo>
                    <a:pt x="374" y="133"/>
                  </a:lnTo>
                  <a:lnTo>
                    <a:pt x="370" y="131"/>
                  </a:lnTo>
                  <a:lnTo>
                    <a:pt x="365" y="130"/>
                  </a:lnTo>
                  <a:lnTo>
                    <a:pt x="359" y="129"/>
                  </a:lnTo>
                  <a:lnTo>
                    <a:pt x="347" y="129"/>
                  </a:lnTo>
                  <a:lnTo>
                    <a:pt x="347" y="219"/>
                  </a:lnTo>
                  <a:lnTo>
                    <a:pt x="313" y="219"/>
                  </a:lnTo>
                  <a:lnTo>
                    <a:pt x="313" y="0"/>
                  </a:lnTo>
                  <a:lnTo>
                    <a:pt x="365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83" y="1"/>
                  </a:lnTo>
                  <a:lnTo>
                    <a:pt x="389" y="2"/>
                  </a:lnTo>
                  <a:lnTo>
                    <a:pt x="393" y="4"/>
                  </a:lnTo>
                  <a:lnTo>
                    <a:pt x="397" y="7"/>
                  </a:lnTo>
                  <a:lnTo>
                    <a:pt x="400" y="10"/>
                  </a:lnTo>
                  <a:lnTo>
                    <a:pt x="404" y="12"/>
                  </a:lnTo>
                  <a:lnTo>
                    <a:pt x="407" y="16"/>
                  </a:lnTo>
                  <a:lnTo>
                    <a:pt x="410" y="19"/>
                  </a:lnTo>
                  <a:lnTo>
                    <a:pt x="412" y="23"/>
                  </a:lnTo>
                  <a:lnTo>
                    <a:pt x="413" y="28"/>
                  </a:lnTo>
                  <a:lnTo>
                    <a:pt x="414" y="33"/>
                  </a:lnTo>
                  <a:lnTo>
                    <a:pt x="415" y="38"/>
                  </a:lnTo>
                  <a:lnTo>
                    <a:pt x="416" y="44"/>
                  </a:lnTo>
                  <a:lnTo>
                    <a:pt x="416" y="50"/>
                  </a:lnTo>
                  <a:lnTo>
                    <a:pt x="416" y="68"/>
                  </a:lnTo>
                  <a:lnTo>
                    <a:pt x="416" y="75"/>
                  </a:lnTo>
                  <a:lnTo>
                    <a:pt x="415" y="83"/>
                  </a:lnTo>
                  <a:lnTo>
                    <a:pt x="413" y="89"/>
                  </a:lnTo>
                  <a:lnTo>
                    <a:pt x="411" y="95"/>
                  </a:lnTo>
                  <a:lnTo>
                    <a:pt x="409" y="99"/>
                  </a:lnTo>
                  <a:lnTo>
                    <a:pt x="408" y="101"/>
                  </a:lnTo>
                  <a:lnTo>
                    <a:pt x="405" y="103"/>
                  </a:lnTo>
                  <a:lnTo>
                    <a:pt x="403" y="105"/>
                  </a:lnTo>
                  <a:lnTo>
                    <a:pt x="399" y="109"/>
                  </a:lnTo>
                  <a:lnTo>
                    <a:pt x="394" y="112"/>
                  </a:lnTo>
                  <a:lnTo>
                    <a:pt x="397" y="113"/>
                  </a:lnTo>
                  <a:lnTo>
                    <a:pt x="399" y="115"/>
                  </a:lnTo>
                  <a:lnTo>
                    <a:pt x="402" y="117"/>
                  </a:lnTo>
                  <a:lnTo>
                    <a:pt x="404" y="119"/>
                  </a:lnTo>
                  <a:lnTo>
                    <a:pt x="409" y="124"/>
                  </a:lnTo>
                  <a:lnTo>
                    <a:pt x="412" y="129"/>
                  </a:lnTo>
                  <a:lnTo>
                    <a:pt x="414" y="136"/>
                  </a:lnTo>
                  <a:lnTo>
                    <a:pt x="415" y="143"/>
                  </a:lnTo>
                  <a:lnTo>
                    <a:pt x="416" y="146"/>
                  </a:lnTo>
                  <a:lnTo>
                    <a:pt x="416" y="150"/>
                  </a:lnTo>
                  <a:lnTo>
                    <a:pt x="416" y="159"/>
                  </a:lnTo>
                  <a:lnTo>
                    <a:pt x="416" y="193"/>
                  </a:lnTo>
                  <a:lnTo>
                    <a:pt x="416" y="200"/>
                  </a:lnTo>
                  <a:lnTo>
                    <a:pt x="417" y="206"/>
                  </a:lnTo>
                  <a:lnTo>
                    <a:pt x="418" y="213"/>
                  </a:lnTo>
                  <a:lnTo>
                    <a:pt x="419" y="216"/>
                  </a:lnTo>
                  <a:lnTo>
                    <a:pt x="420" y="219"/>
                  </a:lnTo>
                  <a:lnTo>
                    <a:pt x="385" y="219"/>
                  </a:lnTo>
                  <a:close/>
                  <a:moveTo>
                    <a:pt x="211" y="149"/>
                  </a:moveTo>
                  <a:lnTo>
                    <a:pt x="244" y="149"/>
                  </a:lnTo>
                  <a:lnTo>
                    <a:pt x="227" y="38"/>
                  </a:lnTo>
                  <a:lnTo>
                    <a:pt x="211" y="149"/>
                  </a:lnTo>
                  <a:close/>
                  <a:moveTo>
                    <a:pt x="289" y="219"/>
                  </a:moveTo>
                  <a:lnTo>
                    <a:pt x="254" y="219"/>
                  </a:lnTo>
                  <a:lnTo>
                    <a:pt x="249" y="179"/>
                  </a:lnTo>
                  <a:lnTo>
                    <a:pt x="207" y="179"/>
                  </a:lnTo>
                  <a:lnTo>
                    <a:pt x="200" y="219"/>
                  </a:lnTo>
                  <a:lnTo>
                    <a:pt x="169" y="219"/>
                  </a:lnTo>
                  <a:lnTo>
                    <a:pt x="203" y="0"/>
                  </a:lnTo>
                  <a:lnTo>
                    <a:pt x="254" y="0"/>
                  </a:lnTo>
                  <a:lnTo>
                    <a:pt x="289" y="219"/>
                  </a:lnTo>
                  <a:close/>
                  <a:moveTo>
                    <a:pt x="73" y="156"/>
                  </a:moveTo>
                  <a:lnTo>
                    <a:pt x="97" y="0"/>
                  </a:lnTo>
                  <a:lnTo>
                    <a:pt x="145" y="0"/>
                  </a:lnTo>
                  <a:lnTo>
                    <a:pt x="145" y="219"/>
                  </a:lnTo>
                  <a:lnTo>
                    <a:pt x="113" y="219"/>
                  </a:lnTo>
                  <a:lnTo>
                    <a:pt x="113" y="62"/>
                  </a:lnTo>
                  <a:lnTo>
                    <a:pt x="88" y="219"/>
                  </a:lnTo>
                  <a:lnTo>
                    <a:pt x="55" y="219"/>
                  </a:lnTo>
                  <a:lnTo>
                    <a:pt x="30" y="64"/>
                  </a:lnTo>
                  <a:lnTo>
                    <a:pt x="30" y="219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48" y="0"/>
                  </a:lnTo>
                  <a:lnTo>
                    <a:pt x="73" y="1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823931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3" r:id="rId16"/>
    <p:sldLayoutId id="2147483834" r:id="rId17"/>
    <p:sldLayoutId id="2147483835" r:id="rId18"/>
    <p:sldLayoutId id="2147483836" r:id="rId19"/>
    <p:sldLayoutId id="2147483958" r:id="rId20"/>
    <p:sldLayoutId id="2147483837" r:id="rId21"/>
    <p:sldLayoutId id="2147483838" r:id="rId22"/>
    <p:sldLayoutId id="2147483839" r:id="rId23"/>
    <p:sldLayoutId id="2147483840" r:id="rId24"/>
    <p:sldLayoutId id="2147483841" r:id="rId25"/>
    <p:sldLayoutId id="2147483842" r:id="rId26"/>
    <p:sldLayoutId id="2147483843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406F61D9-98D2-4B98-A291-0A8208676D9E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Freeform 7"/>
          <p:cNvSpPr>
            <a:spLocks noEditPoints="1"/>
          </p:cNvSpPr>
          <p:nvPr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9" name="Group 8"/>
          <p:cNvGrpSpPr/>
          <p:nvPr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1" name="Round Same Side Corner Rectangle 10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9180914" y="6472295"/>
              <a:ext cx="1318115" cy="247029"/>
            </a:xfrm>
            <a:custGeom>
              <a:avLst/>
              <a:gdLst>
                <a:gd name="T0" fmla="*/ 1324 w 1397"/>
                <a:gd name="T1" fmla="*/ 49 h 263"/>
                <a:gd name="T2" fmla="*/ 1356 w 1397"/>
                <a:gd name="T3" fmla="*/ 260 h 263"/>
                <a:gd name="T4" fmla="*/ 1293 w 1397"/>
                <a:gd name="T5" fmla="*/ 260 h 263"/>
                <a:gd name="T6" fmla="*/ 1355 w 1397"/>
                <a:gd name="T7" fmla="*/ 4 h 263"/>
                <a:gd name="T8" fmla="*/ 1172 w 1397"/>
                <a:gd name="T9" fmla="*/ 4 h 263"/>
                <a:gd name="T10" fmla="*/ 1190 w 1397"/>
                <a:gd name="T11" fmla="*/ 260 h 263"/>
                <a:gd name="T12" fmla="*/ 1124 w 1397"/>
                <a:gd name="T13" fmla="*/ 260 h 263"/>
                <a:gd name="T14" fmla="*/ 1059 w 1397"/>
                <a:gd name="T15" fmla="*/ 260 h 263"/>
                <a:gd name="T16" fmla="*/ 1145 w 1397"/>
                <a:gd name="T17" fmla="*/ 186 h 263"/>
                <a:gd name="T18" fmla="*/ 1021 w 1397"/>
                <a:gd name="T19" fmla="*/ 260 h 263"/>
                <a:gd name="T20" fmla="*/ 865 w 1397"/>
                <a:gd name="T21" fmla="*/ 200 h 263"/>
                <a:gd name="T22" fmla="*/ 876 w 1397"/>
                <a:gd name="T23" fmla="*/ 225 h 263"/>
                <a:gd name="T24" fmla="*/ 901 w 1397"/>
                <a:gd name="T25" fmla="*/ 219 h 263"/>
                <a:gd name="T26" fmla="*/ 906 w 1397"/>
                <a:gd name="T27" fmla="*/ 62 h 263"/>
                <a:gd name="T28" fmla="*/ 893 w 1397"/>
                <a:gd name="T29" fmla="*/ 39 h 263"/>
                <a:gd name="T30" fmla="*/ 870 w 1397"/>
                <a:gd name="T31" fmla="*/ 43 h 263"/>
                <a:gd name="T32" fmla="*/ 865 w 1397"/>
                <a:gd name="T33" fmla="*/ 200 h 263"/>
                <a:gd name="T34" fmla="*/ 828 w 1397"/>
                <a:gd name="T35" fmla="*/ 37 h 263"/>
                <a:gd name="T36" fmla="*/ 849 w 1397"/>
                <a:gd name="T37" fmla="*/ 10 h 263"/>
                <a:gd name="T38" fmla="*/ 885 w 1397"/>
                <a:gd name="T39" fmla="*/ 0 h 263"/>
                <a:gd name="T40" fmla="*/ 922 w 1397"/>
                <a:gd name="T41" fmla="*/ 10 h 263"/>
                <a:gd name="T42" fmla="*/ 936 w 1397"/>
                <a:gd name="T43" fmla="*/ 27 h 263"/>
                <a:gd name="T44" fmla="*/ 946 w 1397"/>
                <a:gd name="T45" fmla="*/ 65 h 263"/>
                <a:gd name="T46" fmla="*/ 942 w 1397"/>
                <a:gd name="T47" fmla="*/ 225 h 263"/>
                <a:gd name="T48" fmla="*/ 922 w 1397"/>
                <a:gd name="T49" fmla="*/ 252 h 263"/>
                <a:gd name="T50" fmla="*/ 885 w 1397"/>
                <a:gd name="T51" fmla="*/ 262 h 263"/>
                <a:gd name="T52" fmla="*/ 849 w 1397"/>
                <a:gd name="T53" fmla="*/ 252 h 263"/>
                <a:gd name="T54" fmla="*/ 833 w 1397"/>
                <a:gd name="T55" fmla="*/ 236 h 263"/>
                <a:gd name="T56" fmla="*/ 824 w 1397"/>
                <a:gd name="T57" fmla="*/ 198 h 263"/>
                <a:gd name="T58" fmla="*/ 763 w 1397"/>
                <a:gd name="T59" fmla="*/ 4 h 263"/>
                <a:gd name="T60" fmla="*/ 701 w 1397"/>
                <a:gd name="T61" fmla="*/ 260 h 263"/>
                <a:gd name="T62" fmla="*/ 732 w 1397"/>
                <a:gd name="T63" fmla="*/ 212 h 263"/>
                <a:gd name="T64" fmla="*/ 633 w 1397"/>
                <a:gd name="T65" fmla="*/ 260 h 263"/>
                <a:gd name="T66" fmla="*/ 460 w 1397"/>
                <a:gd name="T67" fmla="*/ 4 h 263"/>
                <a:gd name="T68" fmla="*/ 566 w 1397"/>
                <a:gd name="T69" fmla="*/ 223 h 263"/>
                <a:gd name="T70" fmla="*/ 460 w 1397"/>
                <a:gd name="T71" fmla="*/ 4 h 263"/>
                <a:gd name="T72" fmla="*/ 345 w 1397"/>
                <a:gd name="T73" fmla="*/ 212 h 263"/>
                <a:gd name="T74" fmla="*/ 364 w 1397"/>
                <a:gd name="T75" fmla="*/ 226 h 263"/>
                <a:gd name="T76" fmla="*/ 384 w 1397"/>
                <a:gd name="T77" fmla="*/ 212 h 263"/>
                <a:gd name="T78" fmla="*/ 424 w 1397"/>
                <a:gd name="T79" fmla="*/ 4 h 263"/>
                <a:gd name="T80" fmla="*/ 419 w 1397"/>
                <a:gd name="T81" fmla="*/ 226 h 263"/>
                <a:gd name="T82" fmla="*/ 399 w 1397"/>
                <a:gd name="T83" fmla="*/ 253 h 263"/>
                <a:gd name="T84" fmla="*/ 363 w 1397"/>
                <a:gd name="T85" fmla="*/ 263 h 263"/>
                <a:gd name="T86" fmla="*/ 327 w 1397"/>
                <a:gd name="T87" fmla="*/ 253 h 263"/>
                <a:gd name="T88" fmla="*/ 307 w 1397"/>
                <a:gd name="T89" fmla="*/ 226 h 263"/>
                <a:gd name="T90" fmla="*/ 304 w 1397"/>
                <a:gd name="T91" fmla="*/ 4 h 263"/>
                <a:gd name="T92" fmla="*/ 189 w 1397"/>
                <a:gd name="T93" fmla="*/ 200 h 263"/>
                <a:gd name="T94" fmla="*/ 201 w 1397"/>
                <a:gd name="T95" fmla="*/ 225 h 263"/>
                <a:gd name="T96" fmla="*/ 225 w 1397"/>
                <a:gd name="T97" fmla="*/ 220 h 263"/>
                <a:gd name="T98" fmla="*/ 231 w 1397"/>
                <a:gd name="T99" fmla="*/ 4 h 263"/>
                <a:gd name="T100" fmla="*/ 268 w 1397"/>
                <a:gd name="T101" fmla="*/ 213 h 263"/>
                <a:gd name="T102" fmla="*/ 253 w 1397"/>
                <a:gd name="T103" fmla="*/ 246 h 263"/>
                <a:gd name="T104" fmla="*/ 223 w 1397"/>
                <a:gd name="T105" fmla="*/ 262 h 263"/>
                <a:gd name="T106" fmla="*/ 182 w 1397"/>
                <a:gd name="T107" fmla="*/ 259 h 263"/>
                <a:gd name="T108" fmla="*/ 157 w 1397"/>
                <a:gd name="T109" fmla="*/ 236 h 263"/>
                <a:gd name="T110" fmla="*/ 149 w 1397"/>
                <a:gd name="T111" fmla="*/ 198 h 263"/>
                <a:gd name="T112" fmla="*/ 0 w 1397"/>
                <a:gd name="T113" fmla="*/ 4 h 263"/>
                <a:gd name="T114" fmla="*/ 82 w 1397"/>
                <a:gd name="T115" fmla="*/ 40 h 263"/>
                <a:gd name="T116" fmla="*/ 42 w 1397"/>
                <a:gd name="T117" fmla="*/ 4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7" h="263">
                  <a:moveTo>
                    <a:pt x="1305" y="178"/>
                  </a:moveTo>
                  <a:lnTo>
                    <a:pt x="1344" y="178"/>
                  </a:lnTo>
                  <a:lnTo>
                    <a:pt x="1324" y="49"/>
                  </a:lnTo>
                  <a:lnTo>
                    <a:pt x="1305" y="178"/>
                  </a:lnTo>
                  <a:close/>
                  <a:moveTo>
                    <a:pt x="1397" y="260"/>
                  </a:moveTo>
                  <a:lnTo>
                    <a:pt x="1356" y="260"/>
                  </a:lnTo>
                  <a:lnTo>
                    <a:pt x="1349" y="213"/>
                  </a:lnTo>
                  <a:lnTo>
                    <a:pt x="1299" y="213"/>
                  </a:lnTo>
                  <a:lnTo>
                    <a:pt x="1293" y="260"/>
                  </a:lnTo>
                  <a:lnTo>
                    <a:pt x="1256" y="260"/>
                  </a:lnTo>
                  <a:lnTo>
                    <a:pt x="1297" y="4"/>
                  </a:lnTo>
                  <a:lnTo>
                    <a:pt x="1355" y="4"/>
                  </a:lnTo>
                  <a:lnTo>
                    <a:pt x="1397" y="260"/>
                  </a:lnTo>
                  <a:close/>
                  <a:moveTo>
                    <a:pt x="1145" y="186"/>
                  </a:moveTo>
                  <a:lnTo>
                    <a:pt x="1172" y="4"/>
                  </a:lnTo>
                  <a:lnTo>
                    <a:pt x="1228" y="4"/>
                  </a:lnTo>
                  <a:lnTo>
                    <a:pt x="1228" y="260"/>
                  </a:lnTo>
                  <a:lnTo>
                    <a:pt x="1190" y="260"/>
                  </a:lnTo>
                  <a:lnTo>
                    <a:pt x="1190" y="76"/>
                  </a:lnTo>
                  <a:lnTo>
                    <a:pt x="1162" y="260"/>
                  </a:lnTo>
                  <a:lnTo>
                    <a:pt x="1124" y="260"/>
                  </a:lnTo>
                  <a:lnTo>
                    <a:pt x="1094" y="79"/>
                  </a:lnTo>
                  <a:lnTo>
                    <a:pt x="1094" y="260"/>
                  </a:lnTo>
                  <a:lnTo>
                    <a:pt x="1059" y="260"/>
                  </a:lnTo>
                  <a:lnTo>
                    <a:pt x="1059" y="4"/>
                  </a:lnTo>
                  <a:lnTo>
                    <a:pt x="1115" y="4"/>
                  </a:lnTo>
                  <a:lnTo>
                    <a:pt x="1145" y="186"/>
                  </a:lnTo>
                  <a:close/>
                  <a:moveTo>
                    <a:pt x="981" y="4"/>
                  </a:moveTo>
                  <a:lnTo>
                    <a:pt x="1021" y="4"/>
                  </a:lnTo>
                  <a:lnTo>
                    <a:pt x="1021" y="260"/>
                  </a:lnTo>
                  <a:lnTo>
                    <a:pt x="981" y="260"/>
                  </a:lnTo>
                  <a:lnTo>
                    <a:pt x="981" y="4"/>
                  </a:lnTo>
                  <a:close/>
                  <a:moveTo>
                    <a:pt x="865" y="200"/>
                  </a:moveTo>
                  <a:lnTo>
                    <a:pt x="866" y="212"/>
                  </a:lnTo>
                  <a:lnTo>
                    <a:pt x="870" y="219"/>
                  </a:lnTo>
                  <a:lnTo>
                    <a:pt x="876" y="225"/>
                  </a:lnTo>
                  <a:lnTo>
                    <a:pt x="885" y="226"/>
                  </a:lnTo>
                  <a:lnTo>
                    <a:pt x="893" y="225"/>
                  </a:lnTo>
                  <a:lnTo>
                    <a:pt x="901" y="219"/>
                  </a:lnTo>
                  <a:lnTo>
                    <a:pt x="905" y="212"/>
                  </a:lnTo>
                  <a:lnTo>
                    <a:pt x="906" y="200"/>
                  </a:lnTo>
                  <a:lnTo>
                    <a:pt x="906" y="62"/>
                  </a:lnTo>
                  <a:lnTo>
                    <a:pt x="905" y="50"/>
                  </a:lnTo>
                  <a:lnTo>
                    <a:pt x="901" y="43"/>
                  </a:lnTo>
                  <a:lnTo>
                    <a:pt x="893" y="39"/>
                  </a:lnTo>
                  <a:lnTo>
                    <a:pt x="885" y="37"/>
                  </a:lnTo>
                  <a:lnTo>
                    <a:pt x="876" y="39"/>
                  </a:lnTo>
                  <a:lnTo>
                    <a:pt x="870" y="43"/>
                  </a:lnTo>
                  <a:lnTo>
                    <a:pt x="866" y="50"/>
                  </a:lnTo>
                  <a:lnTo>
                    <a:pt x="865" y="62"/>
                  </a:lnTo>
                  <a:lnTo>
                    <a:pt x="865" y="200"/>
                  </a:lnTo>
                  <a:close/>
                  <a:moveTo>
                    <a:pt x="824" y="65"/>
                  </a:moveTo>
                  <a:lnTo>
                    <a:pt x="824" y="50"/>
                  </a:lnTo>
                  <a:lnTo>
                    <a:pt x="828" y="37"/>
                  </a:lnTo>
                  <a:lnTo>
                    <a:pt x="833" y="27"/>
                  </a:lnTo>
                  <a:lnTo>
                    <a:pt x="839" y="17"/>
                  </a:lnTo>
                  <a:lnTo>
                    <a:pt x="849" y="10"/>
                  </a:lnTo>
                  <a:lnTo>
                    <a:pt x="858" y="5"/>
                  </a:lnTo>
                  <a:lnTo>
                    <a:pt x="871" y="2"/>
                  </a:lnTo>
                  <a:lnTo>
                    <a:pt x="885" y="0"/>
                  </a:lnTo>
                  <a:lnTo>
                    <a:pt x="898" y="2"/>
                  </a:lnTo>
                  <a:lnTo>
                    <a:pt x="911" y="5"/>
                  </a:lnTo>
                  <a:lnTo>
                    <a:pt x="922" y="10"/>
                  </a:lnTo>
                  <a:lnTo>
                    <a:pt x="930" y="17"/>
                  </a:lnTo>
                  <a:lnTo>
                    <a:pt x="933" y="22"/>
                  </a:lnTo>
                  <a:lnTo>
                    <a:pt x="936" y="27"/>
                  </a:lnTo>
                  <a:lnTo>
                    <a:pt x="942" y="37"/>
                  </a:lnTo>
                  <a:lnTo>
                    <a:pt x="945" y="50"/>
                  </a:lnTo>
                  <a:lnTo>
                    <a:pt x="946" y="65"/>
                  </a:lnTo>
                  <a:lnTo>
                    <a:pt x="946" y="198"/>
                  </a:lnTo>
                  <a:lnTo>
                    <a:pt x="945" y="212"/>
                  </a:lnTo>
                  <a:lnTo>
                    <a:pt x="942" y="225"/>
                  </a:lnTo>
                  <a:lnTo>
                    <a:pt x="936" y="236"/>
                  </a:lnTo>
                  <a:lnTo>
                    <a:pt x="930" y="246"/>
                  </a:lnTo>
                  <a:lnTo>
                    <a:pt x="922" y="252"/>
                  </a:lnTo>
                  <a:lnTo>
                    <a:pt x="911" y="257"/>
                  </a:lnTo>
                  <a:lnTo>
                    <a:pt x="898" y="261"/>
                  </a:lnTo>
                  <a:lnTo>
                    <a:pt x="885" y="262"/>
                  </a:lnTo>
                  <a:lnTo>
                    <a:pt x="871" y="261"/>
                  </a:lnTo>
                  <a:lnTo>
                    <a:pt x="858" y="257"/>
                  </a:lnTo>
                  <a:lnTo>
                    <a:pt x="849" y="252"/>
                  </a:lnTo>
                  <a:lnTo>
                    <a:pt x="839" y="246"/>
                  </a:lnTo>
                  <a:lnTo>
                    <a:pt x="836" y="241"/>
                  </a:lnTo>
                  <a:lnTo>
                    <a:pt x="833" y="236"/>
                  </a:lnTo>
                  <a:lnTo>
                    <a:pt x="828" y="225"/>
                  </a:lnTo>
                  <a:lnTo>
                    <a:pt x="824" y="212"/>
                  </a:lnTo>
                  <a:lnTo>
                    <a:pt x="824" y="198"/>
                  </a:lnTo>
                  <a:lnTo>
                    <a:pt x="824" y="65"/>
                  </a:lnTo>
                  <a:close/>
                  <a:moveTo>
                    <a:pt x="732" y="212"/>
                  </a:moveTo>
                  <a:lnTo>
                    <a:pt x="763" y="4"/>
                  </a:lnTo>
                  <a:lnTo>
                    <a:pt x="800" y="4"/>
                  </a:lnTo>
                  <a:lnTo>
                    <a:pt x="760" y="260"/>
                  </a:lnTo>
                  <a:lnTo>
                    <a:pt x="701" y="260"/>
                  </a:lnTo>
                  <a:lnTo>
                    <a:pt x="660" y="4"/>
                  </a:lnTo>
                  <a:lnTo>
                    <a:pt x="702" y="4"/>
                  </a:lnTo>
                  <a:lnTo>
                    <a:pt x="732" y="212"/>
                  </a:lnTo>
                  <a:close/>
                  <a:moveTo>
                    <a:pt x="593" y="4"/>
                  </a:moveTo>
                  <a:lnTo>
                    <a:pt x="633" y="4"/>
                  </a:lnTo>
                  <a:lnTo>
                    <a:pt x="633" y="260"/>
                  </a:lnTo>
                  <a:lnTo>
                    <a:pt x="593" y="260"/>
                  </a:lnTo>
                  <a:lnTo>
                    <a:pt x="593" y="4"/>
                  </a:lnTo>
                  <a:close/>
                  <a:moveTo>
                    <a:pt x="460" y="4"/>
                  </a:moveTo>
                  <a:lnTo>
                    <a:pt x="500" y="4"/>
                  </a:lnTo>
                  <a:lnTo>
                    <a:pt x="500" y="223"/>
                  </a:lnTo>
                  <a:lnTo>
                    <a:pt x="566" y="223"/>
                  </a:lnTo>
                  <a:lnTo>
                    <a:pt x="566" y="260"/>
                  </a:lnTo>
                  <a:lnTo>
                    <a:pt x="460" y="260"/>
                  </a:lnTo>
                  <a:lnTo>
                    <a:pt x="460" y="4"/>
                  </a:lnTo>
                  <a:close/>
                  <a:moveTo>
                    <a:pt x="343" y="4"/>
                  </a:moveTo>
                  <a:lnTo>
                    <a:pt x="343" y="200"/>
                  </a:lnTo>
                  <a:lnTo>
                    <a:pt x="345" y="212"/>
                  </a:lnTo>
                  <a:lnTo>
                    <a:pt x="350" y="220"/>
                  </a:lnTo>
                  <a:lnTo>
                    <a:pt x="356" y="225"/>
                  </a:lnTo>
                  <a:lnTo>
                    <a:pt x="364" y="226"/>
                  </a:lnTo>
                  <a:lnTo>
                    <a:pt x="373" y="225"/>
                  </a:lnTo>
                  <a:lnTo>
                    <a:pt x="380" y="220"/>
                  </a:lnTo>
                  <a:lnTo>
                    <a:pt x="384" y="212"/>
                  </a:lnTo>
                  <a:lnTo>
                    <a:pt x="386" y="200"/>
                  </a:lnTo>
                  <a:lnTo>
                    <a:pt x="386" y="4"/>
                  </a:lnTo>
                  <a:lnTo>
                    <a:pt x="424" y="4"/>
                  </a:lnTo>
                  <a:lnTo>
                    <a:pt x="424" y="198"/>
                  </a:lnTo>
                  <a:lnTo>
                    <a:pt x="423" y="213"/>
                  </a:lnTo>
                  <a:lnTo>
                    <a:pt x="419" y="226"/>
                  </a:lnTo>
                  <a:lnTo>
                    <a:pt x="415" y="236"/>
                  </a:lnTo>
                  <a:lnTo>
                    <a:pt x="408" y="246"/>
                  </a:lnTo>
                  <a:lnTo>
                    <a:pt x="399" y="253"/>
                  </a:lnTo>
                  <a:lnTo>
                    <a:pt x="390" y="259"/>
                  </a:lnTo>
                  <a:lnTo>
                    <a:pt x="377" y="262"/>
                  </a:lnTo>
                  <a:lnTo>
                    <a:pt x="363" y="263"/>
                  </a:lnTo>
                  <a:lnTo>
                    <a:pt x="350" y="262"/>
                  </a:lnTo>
                  <a:lnTo>
                    <a:pt x="338" y="259"/>
                  </a:lnTo>
                  <a:lnTo>
                    <a:pt x="327" y="253"/>
                  </a:lnTo>
                  <a:lnTo>
                    <a:pt x="319" y="246"/>
                  </a:lnTo>
                  <a:lnTo>
                    <a:pt x="313" y="236"/>
                  </a:lnTo>
                  <a:lnTo>
                    <a:pt x="307" y="226"/>
                  </a:lnTo>
                  <a:lnTo>
                    <a:pt x="304" y="213"/>
                  </a:lnTo>
                  <a:lnTo>
                    <a:pt x="304" y="198"/>
                  </a:lnTo>
                  <a:lnTo>
                    <a:pt x="304" y="4"/>
                  </a:lnTo>
                  <a:lnTo>
                    <a:pt x="343" y="4"/>
                  </a:lnTo>
                  <a:close/>
                  <a:moveTo>
                    <a:pt x="189" y="4"/>
                  </a:moveTo>
                  <a:lnTo>
                    <a:pt x="189" y="200"/>
                  </a:lnTo>
                  <a:lnTo>
                    <a:pt x="191" y="212"/>
                  </a:lnTo>
                  <a:lnTo>
                    <a:pt x="195" y="220"/>
                  </a:lnTo>
                  <a:lnTo>
                    <a:pt x="201" y="225"/>
                  </a:lnTo>
                  <a:lnTo>
                    <a:pt x="210" y="226"/>
                  </a:lnTo>
                  <a:lnTo>
                    <a:pt x="218" y="225"/>
                  </a:lnTo>
                  <a:lnTo>
                    <a:pt x="225" y="220"/>
                  </a:lnTo>
                  <a:lnTo>
                    <a:pt x="229" y="212"/>
                  </a:lnTo>
                  <a:lnTo>
                    <a:pt x="231" y="200"/>
                  </a:lnTo>
                  <a:lnTo>
                    <a:pt x="231" y="4"/>
                  </a:lnTo>
                  <a:lnTo>
                    <a:pt x="269" y="4"/>
                  </a:lnTo>
                  <a:lnTo>
                    <a:pt x="269" y="198"/>
                  </a:lnTo>
                  <a:lnTo>
                    <a:pt x="268" y="213"/>
                  </a:lnTo>
                  <a:lnTo>
                    <a:pt x="265" y="226"/>
                  </a:lnTo>
                  <a:lnTo>
                    <a:pt x="261" y="236"/>
                  </a:lnTo>
                  <a:lnTo>
                    <a:pt x="253" y="246"/>
                  </a:lnTo>
                  <a:lnTo>
                    <a:pt x="245" y="253"/>
                  </a:lnTo>
                  <a:lnTo>
                    <a:pt x="235" y="259"/>
                  </a:lnTo>
                  <a:lnTo>
                    <a:pt x="223" y="262"/>
                  </a:lnTo>
                  <a:lnTo>
                    <a:pt x="209" y="263"/>
                  </a:lnTo>
                  <a:lnTo>
                    <a:pt x="195" y="262"/>
                  </a:lnTo>
                  <a:lnTo>
                    <a:pt x="182" y="259"/>
                  </a:lnTo>
                  <a:lnTo>
                    <a:pt x="173" y="253"/>
                  </a:lnTo>
                  <a:lnTo>
                    <a:pt x="164" y="246"/>
                  </a:lnTo>
                  <a:lnTo>
                    <a:pt x="157" y="236"/>
                  </a:lnTo>
                  <a:lnTo>
                    <a:pt x="153" y="226"/>
                  </a:lnTo>
                  <a:lnTo>
                    <a:pt x="150" y="213"/>
                  </a:lnTo>
                  <a:lnTo>
                    <a:pt x="149" y="198"/>
                  </a:lnTo>
                  <a:lnTo>
                    <a:pt x="149" y="4"/>
                  </a:lnTo>
                  <a:lnTo>
                    <a:pt x="189" y="4"/>
                  </a:lnTo>
                  <a:close/>
                  <a:moveTo>
                    <a:pt x="0" y="4"/>
                  </a:moveTo>
                  <a:lnTo>
                    <a:pt x="124" y="4"/>
                  </a:lnTo>
                  <a:lnTo>
                    <a:pt x="124" y="40"/>
                  </a:lnTo>
                  <a:lnTo>
                    <a:pt x="82" y="40"/>
                  </a:lnTo>
                  <a:lnTo>
                    <a:pt x="82" y="260"/>
                  </a:lnTo>
                  <a:lnTo>
                    <a:pt x="42" y="260"/>
                  </a:lnTo>
                  <a:lnTo>
                    <a:pt x="42" y="40"/>
                  </a:lnTo>
                  <a:lnTo>
                    <a:pt x="0" y="4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830620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959" r:id="rId20"/>
    <p:sldLayoutId id="2147483864" r:id="rId21"/>
    <p:sldLayoutId id="2147483865" r:id="rId22"/>
    <p:sldLayoutId id="2147483866" r:id="rId23"/>
    <p:sldLayoutId id="2147483867" r:id="rId24"/>
    <p:sldLayoutId id="2147483868" r:id="rId25"/>
    <p:sldLayoutId id="2147483869" r:id="rId26"/>
    <p:sldLayoutId id="2147483870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7DA8840B-0AA1-403C-B1EA-D6EBEA0F1A56}" type="datetime1">
              <a:rPr lang="fi-FI" smtClean="0"/>
              <a:t>28.2.2018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Sanna-Mari Myllynen / Nuori Mieli Työssä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Freeform 7"/>
          <p:cNvSpPr>
            <a:spLocks noEditPoints="1"/>
          </p:cNvSpPr>
          <p:nvPr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9" name="Group 8"/>
          <p:cNvGrpSpPr/>
          <p:nvPr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1" name="Round Same Side Corner Rectangle 10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30" name="Freeform 26"/>
            <p:cNvSpPr>
              <a:spLocks noEditPoints="1"/>
            </p:cNvSpPr>
            <p:nvPr userDrawn="1"/>
          </p:nvSpPr>
          <p:spPr bwMode="auto">
            <a:xfrm>
              <a:off x="9315323" y="6471960"/>
              <a:ext cx="1045515" cy="247226"/>
            </a:xfrm>
            <a:custGeom>
              <a:avLst/>
              <a:gdLst>
                <a:gd name="T0" fmla="*/ 975 w 1109"/>
                <a:gd name="T1" fmla="*/ 4 h 263"/>
                <a:gd name="T2" fmla="*/ 897 w 1109"/>
                <a:gd name="T3" fmla="*/ 4 h 263"/>
                <a:gd name="T4" fmla="*/ 779 w 1109"/>
                <a:gd name="T5" fmla="*/ 260 h 263"/>
                <a:gd name="T6" fmla="*/ 696 w 1109"/>
                <a:gd name="T7" fmla="*/ 219 h 263"/>
                <a:gd name="T8" fmla="*/ 705 w 1109"/>
                <a:gd name="T9" fmla="*/ 175 h 263"/>
                <a:gd name="T10" fmla="*/ 691 w 1109"/>
                <a:gd name="T11" fmla="*/ 145 h 263"/>
                <a:gd name="T12" fmla="*/ 683 w 1109"/>
                <a:gd name="T13" fmla="*/ 107 h 263"/>
                <a:gd name="T14" fmla="*/ 700 w 1109"/>
                <a:gd name="T15" fmla="*/ 81 h 263"/>
                <a:gd name="T16" fmla="*/ 693 w 1109"/>
                <a:gd name="T17" fmla="*/ 44 h 263"/>
                <a:gd name="T18" fmla="*/ 741 w 1109"/>
                <a:gd name="T19" fmla="*/ 81 h 263"/>
                <a:gd name="T20" fmla="*/ 715 w 1109"/>
                <a:gd name="T21" fmla="*/ 123 h 263"/>
                <a:gd name="T22" fmla="*/ 744 w 1109"/>
                <a:gd name="T23" fmla="*/ 159 h 263"/>
                <a:gd name="T24" fmla="*/ 742 w 1109"/>
                <a:gd name="T25" fmla="*/ 225 h 263"/>
                <a:gd name="T26" fmla="*/ 716 w 1109"/>
                <a:gd name="T27" fmla="*/ 253 h 263"/>
                <a:gd name="T28" fmla="*/ 621 w 1109"/>
                <a:gd name="T29" fmla="*/ 4 h 263"/>
                <a:gd name="T30" fmla="*/ 718 w 1109"/>
                <a:gd name="T31" fmla="*/ 12 h 263"/>
                <a:gd name="T32" fmla="*/ 740 w 1109"/>
                <a:gd name="T33" fmla="*/ 43 h 263"/>
                <a:gd name="T34" fmla="*/ 506 w 1109"/>
                <a:gd name="T35" fmla="*/ 214 h 263"/>
                <a:gd name="T36" fmla="*/ 529 w 1109"/>
                <a:gd name="T37" fmla="*/ 226 h 263"/>
                <a:gd name="T38" fmla="*/ 546 w 1109"/>
                <a:gd name="T39" fmla="*/ 200 h 263"/>
                <a:gd name="T40" fmla="*/ 537 w 1109"/>
                <a:gd name="T41" fmla="*/ 41 h 263"/>
                <a:gd name="T42" fmla="*/ 510 w 1109"/>
                <a:gd name="T43" fmla="*/ 43 h 263"/>
                <a:gd name="T44" fmla="*/ 464 w 1109"/>
                <a:gd name="T45" fmla="*/ 58 h 263"/>
                <a:gd name="T46" fmla="*/ 479 w 1109"/>
                <a:gd name="T47" fmla="*/ 17 h 263"/>
                <a:gd name="T48" fmla="*/ 518 w 1109"/>
                <a:gd name="T49" fmla="*/ 0 h 263"/>
                <a:gd name="T50" fmla="*/ 562 w 1109"/>
                <a:gd name="T51" fmla="*/ 10 h 263"/>
                <a:gd name="T52" fmla="*/ 583 w 1109"/>
                <a:gd name="T53" fmla="*/ 44 h 263"/>
                <a:gd name="T54" fmla="*/ 583 w 1109"/>
                <a:gd name="T55" fmla="*/ 219 h 263"/>
                <a:gd name="T56" fmla="*/ 562 w 1109"/>
                <a:gd name="T57" fmla="*/ 253 h 263"/>
                <a:gd name="T58" fmla="*/ 518 w 1109"/>
                <a:gd name="T59" fmla="*/ 262 h 263"/>
                <a:gd name="T60" fmla="*/ 479 w 1109"/>
                <a:gd name="T61" fmla="*/ 246 h 263"/>
                <a:gd name="T62" fmla="*/ 464 w 1109"/>
                <a:gd name="T63" fmla="*/ 206 h 263"/>
                <a:gd name="T64" fmla="*/ 391 w 1109"/>
                <a:gd name="T65" fmla="*/ 260 h 263"/>
                <a:gd name="T66" fmla="*/ 259 w 1109"/>
                <a:gd name="T67" fmla="*/ 4 h 263"/>
                <a:gd name="T68" fmla="*/ 151 w 1109"/>
                <a:gd name="T69" fmla="*/ 114 h 263"/>
                <a:gd name="T70" fmla="*/ 97 w 1109"/>
                <a:gd name="T71" fmla="*/ 10 h 263"/>
                <a:gd name="T72" fmla="*/ 118 w 1109"/>
                <a:gd name="T73" fmla="*/ 44 h 263"/>
                <a:gd name="T74" fmla="*/ 82 w 1109"/>
                <a:gd name="T75" fmla="*/ 57 h 263"/>
                <a:gd name="T76" fmla="*/ 66 w 1109"/>
                <a:gd name="T77" fmla="*/ 37 h 263"/>
                <a:gd name="T78" fmla="*/ 44 w 1109"/>
                <a:gd name="T79" fmla="*/ 48 h 263"/>
                <a:gd name="T80" fmla="*/ 49 w 1109"/>
                <a:gd name="T81" fmla="*/ 88 h 263"/>
                <a:gd name="T82" fmla="*/ 102 w 1109"/>
                <a:gd name="T83" fmla="*/ 144 h 263"/>
                <a:gd name="T84" fmla="*/ 120 w 1109"/>
                <a:gd name="T85" fmla="*/ 184 h 263"/>
                <a:gd name="T86" fmla="*/ 115 w 1109"/>
                <a:gd name="T87" fmla="*/ 231 h 263"/>
                <a:gd name="T88" fmla="*/ 86 w 1109"/>
                <a:gd name="T89" fmla="*/ 257 h 263"/>
                <a:gd name="T90" fmla="*/ 41 w 1109"/>
                <a:gd name="T91" fmla="*/ 260 h 263"/>
                <a:gd name="T92" fmla="*/ 9 w 1109"/>
                <a:gd name="T93" fmla="*/ 236 h 263"/>
                <a:gd name="T94" fmla="*/ 0 w 1109"/>
                <a:gd name="T95" fmla="*/ 182 h 263"/>
                <a:gd name="T96" fmla="*/ 47 w 1109"/>
                <a:gd name="T97" fmla="*/ 223 h 263"/>
                <a:gd name="T98" fmla="*/ 74 w 1109"/>
                <a:gd name="T99" fmla="*/ 219 h 263"/>
                <a:gd name="T100" fmla="*/ 77 w 1109"/>
                <a:gd name="T101" fmla="*/ 182 h 263"/>
                <a:gd name="T102" fmla="*/ 27 w 1109"/>
                <a:gd name="T103" fmla="*/ 126 h 263"/>
                <a:gd name="T104" fmla="*/ 4 w 1109"/>
                <a:gd name="T105" fmla="*/ 84 h 263"/>
                <a:gd name="T106" fmla="*/ 6 w 1109"/>
                <a:gd name="T107" fmla="*/ 37 h 263"/>
                <a:gd name="T108" fmla="*/ 30 w 1109"/>
                <a:gd name="T109" fmla="*/ 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9" h="263">
                  <a:moveTo>
                    <a:pt x="1069" y="4"/>
                  </a:moveTo>
                  <a:lnTo>
                    <a:pt x="1109" y="4"/>
                  </a:lnTo>
                  <a:lnTo>
                    <a:pt x="1109" y="260"/>
                  </a:lnTo>
                  <a:lnTo>
                    <a:pt x="1069" y="260"/>
                  </a:lnTo>
                  <a:lnTo>
                    <a:pt x="1069" y="4"/>
                  </a:lnTo>
                  <a:close/>
                  <a:moveTo>
                    <a:pt x="935" y="4"/>
                  </a:moveTo>
                  <a:lnTo>
                    <a:pt x="975" y="4"/>
                  </a:lnTo>
                  <a:lnTo>
                    <a:pt x="975" y="223"/>
                  </a:lnTo>
                  <a:lnTo>
                    <a:pt x="1042" y="223"/>
                  </a:lnTo>
                  <a:lnTo>
                    <a:pt x="1042" y="260"/>
                  </a:lnTo>
                  <a:lnTo>
                    <a:pt x="935" y="260"/>
                  </a:lnTo>
                  <a:lnTo>
                    <a:pt x="935" y="4"/>
                  </a:lnTo>
                  <a:close/>
                  <a:moveTo>
                    <a:pt x="857" y="4"/>
                  </a:moveTo>
                  <a:lnTo>
                    <a:pt x="897" y="4"/>
                  </a:lnTo>
                  <a:lnTo>
                    <a:pt x="897" y="260"/>
                  </a:lnTo>
                  <a:lnTo>
                    <a:pt x="857" y="260"/>
                  </a:lnTo>
                  <a:lnTo>
                    <a:pt x="857" y="4"/>
                  </a:lnTo>
                  <a:close/>
                  <a:moveTo>
                    <a:pt x="779" y="4"/>
                  </a:moveTo>
                  <a:lnTo>
                    <a:pt x="819" y="4"/>
                  </a:lnTo>
                  <a:lnTo>
                    <a:pt x="819" y="260"/>
                  </a:lnTo>
                  <a:lnTo>
                    <a:pt x="779" y="260"/>
                  </a:lnTo>
                  <a:lnTo>
                    <a:pt x="779" y="4"/>
                  </a:lnTo>
                  <a:close/>
                  <a:moveTo>
                    <a:pt x="661" y="144"/>
                  </a:moveTo>
                  <a:lnTo>
                    <a:pt x="661" y="223"/>
                  </a:lnTo>
                  <a:lnTo>
                    <a:pt x="685" y="223"/>
                  </a:lnTo>
                  <a:lnTo>
                    <a:pt x="689" y="223"/>
                  </a:lnTo>
                  <a:lnTo>
                    <a:pt x="693" y="221"/>
                  </a:lnTo>
                  <a:lnTo>
                    <a:pt x="696" y="219"/>
                  </a:lnTo>
                  <a:lnTo>
                    <a:pt x="699" y="217"/>
                  </a:lnTo>
                  <a:lnTo>
                    <a:pt x="702" y="214"/>
                  </a:lnTo>
                  <a:lnTo>
                    <a:pt x="703" y="212"/>
                  </a:lnTo>
                  <a:lnTo>
                    <a:pt x="704" y="210"/>
                  </a:lnTo>
                  <a:lnTo>
                    <a:pt x="705" y="205"/>
                  </a:lnTo>
                  <a:lnTo>
                    <a:pt x="705" y="197"/>
                  </a:lnTo>
                  <a:lnTo>
                    <a:pt x="705" y="175"/>
                  </a:lnTo>
                  <a:lnTo>
                    <a:pt x="705" y="168"/>
                  </a:lnTo>
                  <a:lnTo>
                    <a:pt x="704" y="160"/>
                  </a:lnTo>
                  <a:lnTo>
                    <a:pt x="702" y="155"/>
                  </a:lnTo>
                  <a:lnTo>
                    <a:pt x="698" y="151"/>
                  </a:lnTo>
                  <a:lnTo>
                    <a:pt x="697" y="150"/>
                  </a:lnTo>
                  <a:lnTo>
                    <a:pt x="695" y="147"/>
                  </a:lnTo>
                  <a:lnTo>
                    <a:pt x="691" y="145"/>
                  </a:lnTo>
                  <a:lnTo>
                    <a:pt x="686" y="144"/>
                  </a:lnTo>
                  <a:lnTo>
                    <a:pt x="679" y="144"/>
                  </a:lnTo>
                  <a:lnTo>
                    <a:pt x="661" y="144"/>
                  </a:lnTo>
                  <a:close/>
                  <a:moveTo>
                    <a:pt x="661" y="41"/>
                  </a:moveTo>
                  <a:lnTo>
                    <a:pt x="661" y="107"/>
                  </a:lnTo>
                  <a:lnTo>
                    <a:pt x="677" y="107"/>
                  </a:lnTo>
                  <a:lnTo>
                    <a:pt x="683" y="107"/>
                  </a:lnTo>
                  <a:lnTo>
                    <a:pt x="687" y="106"/>
                  </a:lnTo>
                  <a:lnTo>
                    <a:pt x="691" y="104"/>
                  </a:lnTo>
                  <a:lnTo>
                    <a:pt x="694" y="102"/>
                  </a:lnTo>
                  <a:lnTo>
                    <a:pt x="697" y="98"/>
                  </a:lnTo>
                  <a:lnTo>
                    <a:pt x="699" y="94"/>
                  </a:lnTo>
                  <a:lnTo>
                    <a:pt x="700" y="88"/>
                  </a:lnTo>
                  <a:lnTo>
                    <a:pt x="700" y="81"/>
                  </a:lnTo>
                  <a:lnTo>
                    <a:pt x="700" y="66"/>
                  </a:lnTo>
                  <a:lnTo>
                    <a:pt x="700" y="60"/>
                  </a:lnTo>
                  <a:lnTo>
                    <a:pt x="699" y="54"/>
                  </a:lnTo>
                  <a:lnTo>
                    <a:pt x="699" y="52"/>
                  </a:lnTo>
                  <a:lnTo>
                    <a:pt x="698" y="50"/>
                  </a:lnTo>
                  <a:lnTo>
                    <a:pt x="696" y="46"/>
                  </a:lnTo>
                  <a:lnTo>
                    <a:pt x="693" y="44"/>
                  </a:lnTo>
                  <a:lnTo>
                    <a:pt x="690" y="42"/>
                  </a:lnTo>
                  <a:lnTo>
                    <a:pt x="686" y="41"/>
                  </a:lnTo>
                  <a:lnTo>
                    <a:pt x="680" y="41"/>
                  </a:lnTo>
                  <a:lnTo>
                    <a:pt x="661" y="41"/>
                  </a:lnTo>
                  <a:close/>
                  <a:moveTo>
                    <a:pt x="741" y="63"/>
                  </a:moveTo>
                  <a:lnTo>
                    <a:pt x="741" y="71"/>
                  </a:lnTo>
                  <a:lnTo>
                    <a:pt x="741" y="81"/>
                  </a:lnTo>
                  <a:lnTo>
                    <a:pt x="740" y="89"/>
                  </a:lnTo>
                  <a:lnTo>
                    <a:pt x="738" y="97"/>
                  </a:lnTo>
                  <a:lnTo>
                    <a:pt x="735" y="104"/>
                  </a:lnTo>
                  <a:lnTo>
                    <a:pt x="731" y="110"/>
                  </a:lnTo>
                  <a:lnTo>
                    <a:pt x="727" y="115"/>
                  </a:lnTo>
                  <a:lnTo>
                    <a:pt x="722" y="120"/>
                  </a:lnTo>
                  <a:lnTo>
                    <a:pt x="715" y="123"/>
                  </a:lnTo>
                  <a:lnTo>
                    <a:pt x="723" y="126"/>
                  </a:lnTo>
                  <a:lnTo>
                    <a:pt x="726" y="128"/>
                  </a:lnTo>
                  <a:lnTo>
                    <a:pt x="729" y="132"/>
                  </a:lnTo>
                  <a:lnTo>
                    <a:pt x="734" y="137"/>
                  </a:lnTo>
                  <a:lnTo>
                    <a:pt x="739" y="143"/>
                  </a:lnTo>
                  <a:lnTo>
                    <a:pt x="742" y="151"/>
                  </a:lnTo>
                  <a:lnTo>
                    <a:pt x="744" y="159"/>
                  </a:lnTo>
                  <a:lnTo>
                    <a:pt x="745" y="169"/>
                  </a:lnTo>
                  <a:lnTo>
                    <a:pt x="745" y="178"/>
                  </a:lnTo>
                  <a:lnTo>
                    <a:pt x="745" y="198"/>
                  </a:lnTo>
                  <a:lnTo>
                    <a:pt x="745" y="206"/>
                  </a:lnTo>
                  <a:lnTo>
                    <a:pt x="744" y="213"/>
                  </a:lnTo>
                  <a:lnTo>
                    <a:pt x="743" y="219"/>
                  </a:lnTo>
                  <a:lnTo>
                    <a:pt x="742" y="225"/>
                  </a:lnTo>
                  <a:lnTo>
                    <a:pt x="740" y="230"/>
                  </a:lnTo>
                  <a:lnTo>
                    <a:pt x="736" y="235"/>
                  </a:lnTo>
                  <a:lnTo>
                    <a:pt x="733" y="239"/>
                  </a:lnTo>
                  <a:lnTo>
                    <a:pt x="730" y="244"/>
                  </a:lnTo>
                  <a:lnTo>
                    <a:pt x="726" y="248"/>
                  </a:lnTo>
                  <a:lnTo>
                    <a:pt x="721" y="250"/>
                  </a:lnTo>
                  <a:lnTo>
                    <a:pt x="716" y="253"/>
                  </a:lnTo>
                  <a:lnTo>
                    <a:pt x="711" y="255"/>
                  </a:lnTo>
                  <a:lnTo>
                    <a:pt x="705" y="257"/>
                  </a:lnTo>
                  <a:lnTo>
                    <a:pt x="698" y="259"/>
                  </a:lnTo>
                  <a:lnTo>
                    <a:pt x="691" y="260"/>
                  </a:lnTo>
                  <a:lnTo>
                    <a:pt x="685" y="260"/>
                  </a:lnTo>
                  <a:lnTo>
                    <a:pt x="621" y="260"/>
                  </a:lnTo>
                  <a:lnTo>
                    <a:pt x="621" y="4"/>
                  </a:lnTo>
                  <a:lnTo>
                    <a:pt x="681" y="4"/>
                  </a:lnTo>
                  <a:lnTo>
                    <a:pt x="689" y="4"/>
                  </a:lnTo>
                  <a:lnTo>
                    <a:pt x="696" y="5"/>
                  </a:lnTo>
                  <a:lnTo>
                    <a:pt x="703" y="6"/>
                  </a:lnTo>
                  <a:lnTo>
                    <a:pt x="709" y="7"/>
                  </a:lnTo>
                  <a:lnTo>
                    <a:pt x="714" y="9"/>
                  </a:lnTo>
                  <a:lnTo>
                    <a:pt x="718" y="12"/>
                  </a:lnTo>
                  <a:lnTo>
                    <a:pt x="723" y="15"/>
                  </a:lnTo>
                  <a:lnTo>
                    <a:pt x="727" y="18"/>
                  </a:lnTo>
                  <a:lnTo>
                    <a:pt x="730" y="22"/>
                  </a:lnTo>
                  <a:lnTo>
                    <a:pt x="733" y="27"/>
                  </a:lnTo>
                  <a:lnTo>
                    <a:pt x="735" y="31"/>
                  </a:lnTo>
                  <a:lnTo>
                    <a:pt x="738" y="36"/>
                  </a:lnTo>
                  <a:lnTo>
                    <a:pt x="740" y="43"/>
                  </a:lnTo>
                  <a:lnTo>
                    <a:pt x="741" y="48"/>
                  </a:lnTo>
                  <a:lnTo>
                    <a:pt x="741" y="55"/>
                  </a:lnTo>
                  <a:lnTo>
                    <a:pt x="741" y="63"/>
                  </a:lnTo>
                  <a:close/>
                  <a:moveTo>
                    <a:pt x="504" y="200"/>
                  </a:moveTo>
                  <a:lnTo>
                    <a:pt x="505" y="207"/>
                  </a:lnTo>
                  <a:lnTo>
                    <a:pt x="506" y="212"/>
                  </a:lnTo>
                  <a:lnTo>
                    <a:pt x="506" y="214"/>
                  </a:lnTo>
                  <a:lnTo>
                    <a:pt x="507" y="216"/>
                  </a:lnTo>
                  <a:lnTo>
                    <a:pt x="510" y="220"/>
                  </a:lnTo>
                  <a:lnTo>
                    <a:pt x="512" y="223"/>
                  </a:lnTo>
                  <a:lnTo>
                    <a:pt x="516" y="225"/>
                  </a:lnTo>
                  <a:lnTo>
                    <a:pt x="521" y="226"/>
                  </a:lnTo>
                  <a:lnTo>
                    <a:pt x="525" y="226"/>
                  </a:lnTo>
                  <a:lnTo>
                    <a:pt x="529" y="226"/>
                  </a:lnTo>
                  <a:lnTo>
                    <a:pt x="533" y="225"/>
                  </a:lnTo>
                  <a:lnTo>
                    <a:pt x="537" y="223"/>
                  </a:lnTo>
                  <a:lnTo>
                    <a:pt x="540" y="220"/>
                  </a:lnTo>
                  <a:lnTo>
                    <a:pt x="543" y="216"/>
                  </a:lnTo>
                  <a:lnTo>
                    <a:pt x="544" y="212"/>
                  </a:lnTo>
                  <a:lnTo>
                    <a:pt x="545" y="207"/>
                  </a:lnTo>
                  <a:lnTo>
                    <a:pt x="546" y="200"/>
                  </a:lnTo>
                  <a:lnTo>
                    <a:pt x="546" y="63"/>
                  </a:lnTo>
                  <a:lnTo>
                    <a:pt x="545" y="57"/>
                  </a:lnTo>
                  <a:lnTo>
                    <a:pt x="544" y="51"/>
                  </a:lnTo>
                  <a:lnTo>
                    <a:pt x="543" y="48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37" y="41"/>
                  </a:lnTo>
                  <a:lnTo>
                    <a:pt x="533" y="39"/>
                  </a:lnTo>
                  <a:lnTo>
                    <a:pt x="529" y="37"/>
                  </a:lnTo>
                  <a:lnTo>
                    <a:pt x="525" y="37"/>
                  </a:lnTo>
                  <a:lnTo>
                    <a:pt x="521" y="37"/>
                  </a:lnTo>
                  <a:lnTo>
                    <a:pt x="516" y="39"/>
                  </a:lnTo>
                  <a:lnTo>
                    <a:pt x="512" y="41"/>
                  </a:lnTo>
                  <a:lnTo>
                    <a:pt x="510" y="43"/>
                  </a:lnTo>
                  <a:lnTo>
                    <a:pt x="507" y="46"/>
                  </a:lnTo>
                  <a:lnTo>
                    <a:pt x="506" y="51"/>
                  </a:lnTo>
                  <a:lnTo>
                    <a:pt x="505" y="57"/>
                  </a:lnTo>
                  <a:lnTo>
                    <a:pt x="504" y="63"/>
                  </a:lnTo>
                  <a:lnTo>
                    <a:pt x="504" y="200"/>
                  </a:lnTo>
                  <a:close/>
                  <a:moveTo>
                    <a:pt x="464" y="65"/>
                  </a:moveTo>
                  <a:lnTo>
                    <a:pt x="464" y="58"/>
                  </a:lnTo>
                  <a:lnTo>
                    <a:pt x="465" y="50"/>
                  </a:lnTo>
                  <a:lnTo>
                    <a:pt x="466" y="44"/>
                  </a:lnTo>
                  <a:lnTo>
                    <a:pt x="468" y="37"/>
                  </a:lnTo>
                  <a:lnTo>
                    <a:pt x="470" y="32"/>
                  </a:lnTo>
                  <a:lnTo>
                    <a:pt x="473" y="27"/>
                  </a:lnTo>
                  <a:lnTo>
                    <a:pt x="476" y="22"/>
                  </a:lnTo>
                  <a:lnTo>
                    <a:pt x="479" y="17"/>
                  </a:lnTo>
                  <a:lnTo>
                    <a:pt x="484" y="13"/>
                  </a:lnTo>
                  <a:lnTo>
                    <a:pt x="488" y="10"/>
                  </a:lnTo>
                  <a:lnTo>
                    <a:pt x="493" y="8"/>
                  </a:lnTo>
                  <a:lnTo>
                    <a:pt x="499" y="5"/>
                  </a:lnTo>
                  <a:lnTo>
                    <a:pt x="505" y="3"/>
                  </a:lnTo>
                  <a:lnTo>
                    <a:pt x="511" y="2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9" y="2"/>
                  </a:lnTo>
                  <a:lnTo>
                    <a:pt x="545" y="3"/>
                  </a:lnTo>
                  <a:lnTo>
                    <a:pt x="551" y="5"/>
                  </a:lnTo>
                  <a:lnTo>
                    <a:pt x="557" y="8"/>
                  </a:lnTo>
                  <a:lnTo>
                    <a:pt x="562" y="10"/>
                  </a:lnTo>
                  <a:lnTo>
                    <a:pt x="566" y="13"/>
                  </a:lnTo>
                  <a:lnTo>
                    <a:pt x="570" y="17"/>
                  </a:lnTo>
                  <a:lnTo>
                    <a:pt x="574" y="22"/>
                  </a:lnTo>
                  <a:lnTo>
                    <a:pt x="577" y="27"/>
                  </a:lnTo>
                  <a:lnTo>
                    <a:pt x="580" y="32"/>
                  </a:lnTo>
                  <a:lnTo>
                    <a:pt x="582" y="37"/>
                  </a:lnTo>
                  <a:lnTo>
                    <a:pt x="583" y="44"/>
                  </a:lnTo>
                  <a:lnTo>
                    <a:pt x="585" y="50"/>
                  </a:lnTo>
                  <a:lnTo>
                    <a:pt x="585" y="58"/>
                  </a:lnTo>
                  <a:lnTo>
                    <a:pt x="586" y="65"/>
                  </a:lnTo>
                  <a:lnTo>
                    <a:pt x="586" y="198"/>
                  </a:lnTo>
                  <a:lnTo>
                    <a:pt x="585" y="206"/>
                  </a:lnTo>
                  <a:lnTo>
                    <a:pt x="585" y="212"/>
                  </a:lnTo>
                  <a:lnTo>
                    <a:pt x="583" y="219"/>
                  </a:lnTo>
                  <a:lnTo>
                    <a:pt x="582" y="226"/>
                  </a:lnTo>
                  <a:lnTo>
                    <a:pt x="580" y="231"/>
                  </a:lnTo>
                  <a:lnTo>
                    <a:pt x="577" y="236"/>
                  </a:lnTo>
                  <a:lnTo>
                    <a:pt x="574" y="242"/>
                  </a:lnTo>
                  <a:lnTo>
                    <a:pt x="570" y="246"/>
                  </a:lnTo>
                  <a:lnTo>
                    <a:pt x="566" y="249"/>
                  </a:lnTo>
                  <a:lnTo>
                    <a:pt x="562" y="253"/>
                  </a:lnTo>
                  <a:lnTo>
                    <a:pt x="557" y="255"/>
                  </a:lnTo>
                  <a:lnTo>
                    <a:pt x="551" y="257"/>
                  </a:lnTo>
                  <a:lnTo>
                    <a:pt x="545" y="260"/>
                  </a:lnTo>
                  <a:lnTo>
                    <a:pt x="539" y="262"/>
                  </a:lnTo>
                  <a:lnTo>
                    <a:pt x="532" y="262"/>
                  </a:lnTo>
                  <a:lnTo>
                    <a:pt x="525" y="263"/>
                  </a:lnTo>
                  <a:lnTo>
                    <a:pt x="518" y="262"/>
                  </a:lnTo>
                  <a:lnTo>
                    <a:pt x="511" y="262"/>
                  </a:lnTo>
                  <a:lnTo>
                    <a:pt x="505" y="260"/>
                  </a:lnTo>
                  <a:lnTo>
                    <a:pt x="499" y="257"/>
                  </a:lnTo>
                  <a:lnTo>
                    <a:pt x="493" y="255"/>
                  </a:lnTo>
                  <a:lnTo>
                    <a:pt x="488" y="253"/>
                  </a:lnTo>
                  <a:lnTo>
                    <a:pt x="484" y="249"/>
                  </a:lnTo>
                  <a:lnTo>
                    <a:pt x="479" y="246"/>
                  </a:lnTo>
                  <a:lnTo>
                    <a:pt x="476" y="242"/>
                  </a:lnTo>
                  <a:lnTo>
                    <a:pt x="473" y="236"/>
                  </a:lnTo>
                  <a:lnTo>
                    <a:pt x="470" y="231"/>
                  </a:lnTo>
                  <a:lnTo>
                    <a:pt x="468" y="226"/>
                  </a:lnTo>
                  <a:lnTo>
                    <a:pt x="466" y="219"/>
                  </a:lnTo>
                  <a:lnTo>
                    <a:pt x="465" y="212"/>
                  </a:lnTo>
                  <a:lnTo>
                    <a:pt x="464" y="206"/>
                  </a:lnTo>
                  <a:lnTo>
                    <a:pt x="464" y="198"/>
                  </a:lnTo>
                  <a:lnTo>
                    <a:pt x="464" y="65"/>
                  </a:lnTo>
                  <a:close/>
                  <a:moveTo>
                    <a:pt x="345" y="186"/>
                  </a:moveTo>
                  <a:lnTo>
                    <a:pt x="373" y="4"/>
                  </a:lnTo>
                  <a:lnTo>
                    <a:pt x="429" y="4"/>
                  </a:lnTo>
                  <a:lnTo>
                    <a:pt x="429" y="260"/>
                  </a:lnTo>
                  <a:lnTo>
                    <a:pt x="391" y="260"/>
                  </a:lnTo>
                  <a:lnTo>
                    <a:pt x="391" y="76"/>
                  </a:lnTo>
                  <a:lnTo>
                    <a:pt x="363" y="260"/>
                  </a:lnTo>
                  <a:lnTo>
                    <a:pt x="325" y="260"/>
                  </a:lnTo>
                  <a:lnTo>
                    <a:pt x="295" y="79"/>
                  </a:lnTo>
                  <a:lnTo>
                    <a:pt x="295" y="260"/>
                  </a:lnTo>
                  <a:lnTo>
                    <a:pt x="259" y="260"/>
                  </a:lnTo>
                  <a:lnTo>
                    <a:pt x="259" y="4"/>
                  </a:lnTo>
                  <a:lnTo>
                    <a:pt x="316" y="4"/>
                  </a:lnTo>
                  <a:lnTo>
                    <a:pt x="345" y="186"/>
                  </a:lnTo>
                  <a:close/>
                  <a:moveTo>
                    <a:pt x="151" y="114"/>
                  </a:moveTo>
                  <a:lnTo>
                    <a:pt x="224" y="114"/>
                  </a:lnTo>
                  <a:lnTo>
                    <a:pt x="224" y="150"/>
                  </a:lnTo>
                  <a:lnTo>
                    <a:pt x="151" y="150"/>
                  </a:lnTo>
                  <a:lnTo>
                    <a:pt x="151" y="114"/>
                  </a:lnTo>
                  <a:close/>
                  <a:moveTo>
                    <a:pt x="61" y="0"/>
                  </a:moveTo>
                  <a:lnTo>
                    <a:pt x="68" y="0"/>
                  </a:lnTo>
                  <a:lnTo>
                    <a:pt x="74" y="2"/>
                  </a:lnTo>
                  <a:lnTo>
                    <a:pt x="81" y="3"/>
                  </a:lnTo>
                  <a:lnTo>
                    <a:pt x="86" y="5"/>
                  </a:lnTo>
                  <a:lnTo>
                    <a:pt x="91" y="8"/>
                  </a:lnTo>
                  <a:lnTo>
                    <a:pt x="97" y="10"/>
                  </a:lnTo>
                  <a:lnTo>
                    <a:pt x="101" y="13"/>
                  </a:lnTo>
                  <a:lnTo>
                    <a:pt x="105" y="17"/>
                  </a:lnTo>
                  <a:lnTo>
                    <a:pt x="108" y="22"/>
                  </a:lnTo>
                  <a:lnTo>
                    <a:pt x="111" y="27"/>
                  </a:lnTo>
                  <a:lnTo>
                    <a:pt x="115" y="32"/>
                  </a:lnTo>
                  <a:lnTo>
                    <a:pt x="117" y="37"/>
                  </a:lnTo>
                  <a:lnTo>
                    <a:pt x="118" y="44"/>
                  </a:lnTo>
                  <a:lnTo>
                    <a:pt x="119" y="50"/>
                  </a:lnTo>
                  <a:lnTo>
                    <a:pt x="120" y="58"/>
                  </a:lnTo>
                  <a:lnTo>
                    <a:pt x="120" y="65"/>
                  </a:lnTo>
                  <a:lnTo>
                    <a:pt x="120" y="73"/>
                  </a:lnTo>
                  <a:lnTo>
                    <a:pt x="82" y="73"/>
                  </a:lnTo>
                  <a:lnTo>
                    <a:pt x="82" y="63"/>
                  </a:lnTo>
                  <a:lnTo>
                    <a:pt x="82" y="57"/>
                  </a:lnTo>
                  <a:lnTo>
                    <a:pt x="81" y="51"/>
                  </a:lnTo>
                  <a:lnTo>
                    <a:pt x="79" y="46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70" y="39"/>
                  </a:lnTo>
                  <a:lnTo>
                    <a:pt x="66" y="37"/>
                  </a:lnTo>
                  <a:lnTo>
                    <a:pt x="62" y="37"/>
                  </a:lnTo>
                  <a:lnTo>
                    <a:pt x="58" y="37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5" y="46"/>
                  </a:lnTo>
                  <a:lnTo>
                    <a:pt x="44" y="48"/>
                  </a:lnTo>
                  <a:lnTo>
                    <a:pt x="43" y="51"/>
                  </a:lnTo>
                  <a:lnTo>
                    <a:pt x="42" y="57"/>
                  </a:lnTo>
                  <a:lnTo>
                    <a:pt x="42" y="63"/>
                  </a:lnTo>
                  <a:lnTo>
                    <a:pt x="43" y="71"/>
                  </a:lnTo>
                  <a:lnTo>
                    <a:pt x="44" y="77"/>
                  </a:lnTo>
                  <a:lnTo>
                    <a:pt x="45" y="81"/>
                  </a:lnTo>
                  <a:lnTo>
                    <a:pt x="49" y="88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67" y="109"/>
                  </a:lnTo>
                  <a:lnTo>
                    <a:pt x="81" y="122"/>
                  </a:lnTo>
                  <a:lnTo>
                    <a:pt x="88" y="129"/>
                  </a:lnTo>
                  <a:lnTo>
                    <a:pt x="96" y="137"/>
                  </a:lnTo>
                  <a:lnTo>
                    <a:pt x="102" y="144"/>
                  </a:lnTo>
                  <a:lnTo>
                    <a:pt x="105" y="149"/>
                  </a:lnTo>
                  <a:lnTo>
                    <a:pt x="108" y="154"/>
                  </a:lnTo>
                  <a:lnTo>
                    <a:pt x="114" y="163"/>
                  </a:lnTo>
                  <a:lnTo>
                    <a:pt x="116" y="168"/>
                  </a:lnTo>
                  <a:lnTo>
                    <a:pt x="117" y="173"/>
                  </a:lnTo>
                  <a:lnTo>
                    <a:pt x="119" y="179"/>
                  </a:lnTo>
                  <a:lnTo>
                    <a:pt x="120" y="184"/>
                  </a:lnTo>
                  <a:lnTo>
                    <a:pt x="120" y="191"/>
                  </a:lnTo>
                  <a:lnTo>
                    <a:pt x="120" y="198"/>
                  </a:lnTo>
                  <a:lnTo>
                    <a:pt x="120" y="206"/>
                  </a:lnTo>
                  <a:lnTo>
                    <a:pt x="120" y="212"/>
                  </a:lnTo>
                  <a:lnTo>
                    <a:pt x="118" y="219"/>
                  </a:lnTo>
                  <a:lnTo>
                    <a:pt x="117" y="226"/>
                  </a:lnTo>
                  <a:lnTo>
                    <a:pt x="115" y="231"/>
                  </a:lnTo>
                  <a:lnTo>
                    <a:pt x="111" y="236"/>
                  </a:lnTo>
                  <a:lnTo>
                    <a:pt x="108" y="242"/>
                  </a:lnTo>
                  <a:lnTo>
                    <a:pt x="105" y="246"/>
                  </a:lnTo>
                  <a:lnTo>
                    <a:pt x="101" y="249"/>
                  </a:lnTo>
                  <a:lnTo>
                    <a:pt x="97" y="253"/>
                  </a:lnTo>
                  <a:lnTo>
                    <a:pt x="91" y="255"/>
                  </a:lnTo>
                  <a:lnTo>
                    <a:pt x="86" y="257"/>
                  </a:lnTo>
                  <a:lnTo>
                    <a:pt x="81" y="260"/>
                  </a:lnTo>
                  <a:lnTo>
                    <a:pt x="74" y="262"/>
                  </a:lnTo>
                  <a:lnTo>
                    <a:pt x="68" y="262"/>
                  </a:lnTo>
                  <a:lnTo>
                    <a:pt x="61" y="263"/>
                  </a:lnTo>
                  <a:lnTo>
                    <a:pt x="53" y="262"/>
                  </a:lnTo>
                  <a:lnTo>
                    <a:pt x="47" y="262"/>
                  </a:lnTo>
                  <a:lnTo>
                    <a:pt x="41" y="260"/>
                  </a:lnTo>
                  <a:lnTo>
                    <a:pt x="34" y="257"/>
                  </a:lnTo>
                  <a:lnTo>
                    <a:pt x="29" y="255"/>
                  </a:lnTo>
                  <a:lnTo>
                    <a:pt x="24" y="253"/>
                  </a:lnTo>
                  <a:lnTo>
                    <a:pt x="19" y="249"/>
                  </a:lnTo>
                  <a:lnTo>
                    <a:pt x="15" y="246"/>
                  </a:lnTo>
                  <a:lnTo>
                    <a:pt x="12" y="242"/>
                  </a:lnTo>
                  <a:lnTo>
                    <a:pt x="9" y="236"/>
                  </a:lnTo>
                  <a:lnTo>
                    <a:pt x="7" y="231"/>
                  </a:lnTo>
                  <a:lnTo>
                    <a:pt x="5" y="226"/>
                  </a:lnTo>
                  <a:lnTo>
                    <a:pt x="3" y="219"/>
                  </a:lnTo>
                  <a:lnTo>
                    <a:pt x="1" y="212"/>
                  </a:lnTo>
                  <a:lnTo>
                    <a:pt x="0" y="206"/>
                  </a:lnTo>
                  <a:lnTo>
                    <a:pt x="0" y="198"/>
                  </a:lnTo>
                  <a:lnTo>
                    <a:pt x="0" y="182"/>
                  </a:lnTo>
                  <a:lnTo>
                    <a:pt x="38" y="182"/>
                  </a:lnTo>
                  <a:lnTo>
                    <a:pt x="38" y="200"/>
                  </a:lnTo>
                  <a:lnTo>
                    <a:pt x="38" y="207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9"/>
                  </a:lnTo>
                  <a:lnTo>
                    <a:pt x="47" y="223"/>
                  </a:lnTo>
                  <a:lnTo>
                    <a:pt x="51" y="224"/>
                  </a:lnTo>
                  <a:lnTo>
                    <a:pt x="54" y="225"/>
                  </a:lnTo>
                  <a:lnTo>
                    <a:pt x="60" y="226"/>
                  </a:lnTo>
                  <a:lnTo>
                    <a:pt x="64" y="225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74" y="219"/>
                  </a:lnTo>
                  <a:lnTo>
                    <a:pt x="77" y="216"/>
                  </a:lnTo>
                  <a:lnTo>
                    <a:pt x="79" y="212"/>
                  </a:lnTo>
                  <a:lnTo>
                    <a:pt x="80" y="207"/>
                  </a:lnTo>
                  <a:lnTo>
                    <a:pt x="80" y="200"/>
                  </a:lnTo>
                  <a:lnTo>
                    <a:pt x="80" y="191"/>
                  </a:lnTo>
                  <a:lnTo>
                    <a:pt x="79" y="187"/>
                  </a:lnTo>
                  <a:lnTo>
                    <a:pt x="77" y="182"/>
                  </a:lnTo>
                  <a:lnTo>
                    <a:pt x="73" y="175"/>
                  </a:lnTo>
                  <a:lnTo>
                    <a:pt x="68" y="168"/>
                  </a:lnTo>
                  <a:lnTo>
                    <a:pt x="62" y="160"/>
                  </a:lnTo>
                  <a:lnTo>
                    <a:pt x="55" y="154"/>
                  </a:lnTo>
                  <a:lnTo>
                    <a:pt x="41" y="140"/>
                  </a:lnTo>
                  <a:lnTo>
                    <a:pt x="33" y="134"/>
                  </a:lnTo>
                  <a:lnTo>
                    <a:pt x="27" y="126"/>
                  </a:lnTo>
                  <a:lnTo>
                    <a:pt x="19" y="118"/>
                  </a:lnTo>
                  <a:lnTo>
                    <a:pt x="16" y="114"/>
                  </a:lnTo>
                  <a:lnTo>
                    <a:pt x="14" y="109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5" y="89"/>
                  </a:lnTo>
                  <a:lnTo>
                    <a:pt x="4" y="84"/>
                  </a:lnTo>
                  <a:lnTo>
                    <a:pt x="3" y="78"/>
                  </a:lnTo>
                  <a:lnTo>
                    <a:pt x="1" y="71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4" y="44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0" y="27"/>
                  </a:lnTo>
                  <a:lnTo>
                    <a:pt x="13" y="22"/>
                  </a:lnTo>
                  <a:lnTo>
                    <a:pt x="16" y="17"/>
                  </a:lnTo>
                  <a:lnTo>
                    <a:pt x="20" y="13"/>
                  </a:lnTo>
                  <a:lnTo>
                    <a:pt x="25" y="10"/>
                  </a:lnTo>
                  <a:lnTo>
                    <a:pt x="30" y="8"/>
                  </a:lnTo>
                  <a:lnTo>
                    <a:pt x="35" y="5"/>
                  </a:lnTo>
                  <a:lnTo>
                    <a:pt x="41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009795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  <p:sldLayoutId id="2147483884" r:id="rId13"/>
    <p:sldLayoutId id="2147483885" r:id="rId14"/>
    <p:sldLayoutId id="2147483886" r:id="rId15"/>
    <p:sldLayoutId id="2147483887" r:id="rId16"/>
    <p:sldLayoutId id="2147483888" r:id="rId17"/>
    <p:sldLayoutId id="2147483889" r:id="rId18"/>
    <p:sldLayoutId id="2147483890" r:id="rId19"/>
    <p:sldLayoutId id="2147483960" r:id="rId20"/>
    <p:sldLayoutId id="2147483891" r:id="rId21"/>
    <p:sldLayoutId id="2147483892" r:id="rId22"/>
    <p:sldLayoutId id="2147483893" r:id="rId23"/>
    <p:sldLayoutId id="2147483894" r:id="rId24"/>
    <p:sldLayoutId id="2147483895" r:id="rId25"/>
    <p:sldLayoutId id="2147483896" r:id="rId26"/>
    <p:sldLayoutId id="2147483897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40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0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5.xml"/><Relationship Id="rId7" Type="http://schemas.openxmlformats.org/officeDocument/2006/relationships/image" Target="../media/image2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7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13" Type="http://schemas.openxmlformats.org/officeDocument/2006/relationships/image" Target="../media/image34.png"/><Relationship Id="rId3" Type="http://schemas.openxmlformats.org/officeDocument/2006/relationships/slideLayout" Target="../slideLayouts/slideLayout509.xml"/><Relationship Id="rId7" Type="http://schemas.openxmlformats.org/officeDocument/2006/relationships/image" Target="../media/image28.jpeg"/><Relationship Id="rId12" Type="http://schemas.openxmlformats.org/officeDocument/2006/relationships/image" Target="../media/image3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7.jpeg"/><Relationship Id="rId11" Type="http://schemas.openxmlformats.org/officeDocument/2006/relationships/image" Target="../media/image32.png"/><Relationship Id="rId5" Type="http://schemas.openxmlformats.org/officeDocument/2006/relationships/image" Target="../media/image12.emf"/><Relationship Id="rId10" Type="http://schemas.openxmlformats.org/officeDocument/2006/relationships/image" Target="../media/image31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30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88.xml"/><Relationship Id="rId4" Type="http://schemas.openxmlformats.org/officeDocument/2006/relationships/image" Target="../media/image36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44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0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0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402.xml"/><Relationship Id="rId5" Type="http://schemas.openxmlformats.org/officeDocument/2006/relationships/image" Target="../media/image19.emf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-1536848" y="732632"/>
            <a:ext cx="9144000" cy="2387600"/>
          </a:xfrm>
        </p:spPr>
        <p:txBody>
          <a:bodyPr/>
          <a:lstStyle/>
          <a:p>
            <a:r>
              <a:rPr lang="fi-FI" dirty="0" smtClean="0"/>
              <a:t>Nuori Mieli Työssä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-1392832" y="3212976"/>
            <a:ext cx="9144000" cy="2786062"/>
          </a:xfrm>
        </p:spPr>
        <p:txBody>
          <a:bodyPr/>
          <a:lstStyle/>
          <a:p>
            <a:r>
              <a:rPr lang="en-US" i="1" dirty="0"/>
              <a:t>S-</a:t>
            </a:r>
            <a:r>
              <a:rPr lang="en-US" i="1" dirty="0" err="1"/>
              <a:t>ryhmätasoinen</a:t>
            </a:r>
            <a:r>
              <a:rPr lang="en-US" i="1" dirty="0"/>
              <a:t> </a:t>
            </a:r>
            <a:endParaRPr lang="en-US" i="1" dirty="0" smtClean="0"/>
          </a:p>
          <a:p>
            <a:r>
              <a:rPr lang="en-US" i="1" dirty="0" err="1" smtClean="0"/>
              <a:t>nuorten</a:t>
            </a:r>
            <a:r>
              <a:rPr lang="en-US" i="1" dirty="0" smtClean="0"/>
              <a:t> </a:t>
            </a:r>
            <a:r>
              <a:rPr lang="en-US" i="1" dirty="0" err="1"/>
              <a:t>työntekijöiden</a:t>
            </a:r>
            <a:r>
              <a:rPr lang="en-US" i="1" dirty="0"/>
              <a:t> </a:t>
            </a:r>
            <a:r>
              <a:rPr lang="en-US" i="1" dirty="0" err="1"/>
              <a:t>hyvän</a:t>
            </a:r>
            <a:r>
              <a:rPr lang="en-US" i="1" dirty="0"/>
              <a:t> </a:t>
            </a:r>
            <a:endParaRPr lang="en-US" i="1" dirty="0" smtClean="0"/>
          </a:p>
          <a:p>
            <a:r>
              <a:rPr lang="en-US" i="1" dirty="0" err="1" smtClean="0"/>
              <a:t>työelämän</a:t>
            </a:r>
            <a:r>
              <a:rPr lang="en-US" i="1" dirty="0" smtClean="0"/>
              <a:t> </a:t>
            </a:r>
            <a:r>
              <a:rPr lang="en-US" i="1" dirty="0" err="1"/>
              <a:t>kehittämisohjelma</a:t>
            </a:r>
            <a:endParaRPr lang="en-US" sz="3200" dirty="0"/>
          </a:p>
          <a:p>
            <a:endParaRPr lang="fi-FI" dirty="0"/>
          </a:p>
        </p:txBody>
      </p:sp>
      <p:sp>
        <p:nvSpPr>
          <p:cNvPr id="4" name="Text Placeholder 12"/>
          <p:cNvSpPr txBox="1">
            <a:spLocks/>
          </p:cNvSpPr>
          <p:nvPr/>
        </p:nvSpPr>
        <p:spPr>
          <a:xfrm>
            <a:off x="911225" y="6209828"/>
            <a:ext cx="10369550" cy="64817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b="0" i="0" kern="1200">
                <a:solidFill>
                  <a:schemeClr val="tx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200" b="0" i="0" kern="1200">
                <a:solidFill>
                  <a:schemeClr val="tx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i-FI" sz="1600" dirty="0" smtClean="0"/>
              <a:t>Sanna-Mari Myllynen, </a:t>
            </a:r>
            <a:r>
              <a:rPr lang="fi-FI" sz="1600" dirty="0" err="1" smtClean="0"/>
              <a:t>työhyvinvointipalvelut</a:t>
            </a:r>
            <a:r>
              <a:rPr lang="fi-FI" sz="1600" dirty="0" smtClean="0"/>
              <a:t>, </a:t>
            </a:r>
            <a:r>
              <a:rPr lang="fi-FI" sz="1600" dirty="0" err="1" smtClean="0"/>
              <a:t>HR-ketjuohjaus</a:t>
            </a:r>
            <a:endParaRPr lang="fi-FI" sz="1600" dirty="0"/>
          </a:p>
        </p:txBody>
      </p:sp>
      <p:pic>
        <p:nvPicPr>
          <p:cNvPr id="5" name="Kuva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968" y="1916832"/>
            <a:ext cx="6054565" cy="395911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604558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A1972FE-AC51-4DA9-82C0-8EF0F5650D67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t>10</a:t>
            </a:fld>
            <a:endParaRPr lang="fi-FI">
              <a:solidFill>
                <a:srgbClr val="0B4499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1464" y="908720"/>
            <a:ext cx="9144893" cy="49793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37823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416" y="1124744"/>
            <a:ext cx="10441359" cy="4968552"/>
          </a:xfrm>
        </p:spPr>
        <p:txBody>
          <a:bodyPr/>
          <a:lstStyle/>
          <a:p>
            <a:r>
              <a:rPr lang="fi-FI" sz="5400" dirty="0" smtClean="0"/>
              <a:t>Nuori Mieli Työssä –ohjelma kuuluu S-ryhmän strategian painopistealueisiin </a:t>
            </a:r>
            <a:br>
              <a:rPr lang="fi-FI" sz="5400" dirty="0" smtClean="0"/>
            </a:br>
            <a:r>
              <a:rPr lang="fi-FI" sz="5400" i="1" dirty="0" smtClean="0"/>
              <a:t>Onnistunut asiakaskohtaaminen</a:t>
            </a:r>
            <a:r>
              <a:rPr lang="fi-FI" sz="4400" i="1" dirty="0" smtClean="0"/>
              <a:t/>
            </a:r>
            <a:br>
              <a:rPr lang="fi-FI" sz="4400" i="1" dirty="0" smtClean="0"/>
            </a:br>
            <a:r>
              <a:rPr lang="fi-FI" sz="5400" i="1" dirty="0" smtClean="0"/>
              <a:t>sekä </a:t>
            </a:r>
            <a:br>
              <a:rPr lang="fi-FI" sz="5400" i="1" dirty="0" smtClean="0"/>
            </a:br>
            <a:r>
              <a:rPr lang="fi-FI" sz="5400" i="1" dirty="0" smtClean="0"/>
              <a:t>Osuustoiminta ja vastuullisuus</a:t>
            </a:r>
            <a:endParaRPr lang="fi-FI" sz="4000" i="1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11</a:t>
            </a:fld>
            <a:endParaRPr lang="fi-FI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41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orakulmio 7"/>
          <p:cNvSpPr/>
          <p:nvPr/>
        </p:nvSpPr>
        <p:spPr>
          <a:xfrm>
            <a:off x="1703512" y="983455"/>
            <a:ext cx="89922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i-FI" sz="1600" b="1" dirty="0" smtClean="0">
                <a:solidFill>
                  <a:srgbClr val="0B4499"/>
                </a:solidFill>
              </a:rPr>
              <a:t/>
            </a:r>
            <a:br>
              <a:rPr lang="fi-FI" sz="1600" b="1" dirty="0" smtClean="0">
                <a:solidFill>
                  <a:srgbClr val="0B4499"/>
                </a:solidFill>
              </a:rPr>
            </a:br>
            <a:r>
              <a:rPr lang="fi-FI" sz="1600" b="1" dirty="0" smtClean="0">
                <a:solidFill>
                  <a:srgbClr val="0B4499"/>
                </a:solidFill>
              </a:rPr>
              <a:t>YLIVOIMAISTA HYÖTYÄ JA HELPPOUTTA OMASTA KAUPASTA</a:t>
            </a:r>
            <a:endParaRPr lang="fi-FI" sz="1600" b="1" dirty="0">
              <a:solidFill>
                <a:srgbClr val="0B4499"/>
              </a:solidFill>
            </a:endParaRPr>
          </a:p>
        </p:txBody>
      </p:sp>
      <p:sp>
        <p:nvSpPr>
          <p:cNvPr id="9" name="Suorakulmio 8"/>
          <p:cNvSpPr/>
          <p:nvPr/>
        </p:nvSpPr>
        <p:spPr>
          <a:xfrm>
            <a:off x="911225" y="5601882"/>
            <a:ext cx="1065738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i-FI" sz="1600" b="1" dirty="0" smtClean="0">
                <a:solidFill>
                  <a:srgbClr val="6BBD46"/>
                </a:solidFill>
              </a:rPr>
              <a:t/>
            </a:r>
            <a:br>
              <a:rPr lang="fi-FI" sz="1600" b="1" dirty="0" smtClean="0">
                <a:solidFill>
                  <a:srgbClr val="6BBD46"/>
                </a:solidFill>
              </a:rPr>
            </a:br>
            <a:r>
              <a:rPr lang="fi-FI" sz="1600" b="1" dirty="0" smtClean="0">
                <a:solidFill>
                  <a:srgbClr val="6BBD46"/>
                </a:solidFill>
              </a:rPr>
              <a:t>TUOTAMME KILPAILUKYKYISIÄ PALVELUJA JA ETUJA ASIAKASOMISTAJILLE KANNATTAVASTI</a:t>
            </a:r>
            <a:endParaRPr lang="fi-FI" sz="1600" b="1" dirty="0">
              <a:solidFill>
                <a:srgbClr val="6BBD46"/>
              </a:solidFill>
            </a:endParaRPr>
          </a:p>
        </p:txBody>
      </p:sp>
      <p:sp>
        <p:nvSpPr>
          <p:cNvPr id="10" name="Suorakulmio 9"/>
          <p:cNvSpPr/>
          <p:nvPr/>
        </p:nvSpPr>
        <p:spPr>
          <a:xfrm>
            <a:off x="308141" y="1909054"/>
            <a:ext cx="23043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1200" b="1" dirty="0" smtClean="0">
                <a:solidFill>
                  <a:prstClr val="white">
                    <a:lumMod val="50000"/>
                  </a:prstClr>
                </a:solidFill>
              </a:rPr>
              <a:t>Muutos-</a:t>
            </a:r>
          </a:p>
          <a:p>
            <a:r>
              <a:rPr lang="fi-FI" sz="1200" b="1" dirty="0" smtClean="0">
                <a:solidFill>
                  <a:prstClr val="white">
                    <a:lumMod val="50000"/>
                  </a:prstClr>
                </a:solidFill>
              </a:rPr>
              <a:t>ohjelmat</a:t>
            </a:r>
            <a:endParaRPr lang="fi-FI" b="1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Suorakulmio 11"/>
          <p:cNvSpPr/>
          <p:nvPr/>
        </p:nvSpPr>
        <p:spPr>
          <a:xfrm>
            <a:off x="288518" y="4839770"/>
            <a:ext cx="11521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1200" b="1" dirty="0" smtClean="0">
                <a:solidFill>
                  <a:prstClr val="white">
                    <a:lumMod val="50000"/>
                  </a:prstClr>
                </a:solidFill>
              </a:rPr>
              <a:t>Pysyvät paino-</a:t>
            </a:r>
          </a:p>
          <a:p>
            <a:r>
              <a:rPr lang="fi-FI" sz="1200" b="1" dirty="0" smtClean="0">
                <a:solidFill>
                  <a:prstClr val="white">
                    <a:lumMod val="50000"/>
                  </a:prstClr>
                </a:solidFill>
              </a:rPr>
              <a:t>pisteet</a:t>
            </a:r>
            <a:endParaRPr lang="fi-FI" b="1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Suorakulmio 17"/>
          <p:cNvSpPr/>
          <p:nvPr/>
        </p:nvSpPr>
        <p:spPr>
          <a:xfrm>
            <a:off x="8267241" y="4806805"/>
            <a:ext cx="3086867" cy="7545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2000" b="1" dirty="0" smtClean="0">
                <a:solidFill>
                  <a:prstClr val="white"/>
                </a:solidFill>
              </a:rPr>
              <a:t>Osuustoiminnallisuus ja vastuullisuus</a:t>
            </a:r>
            <a:endParaRPr lang="fi-FI" sz="2000" b="1" dirty="0">
              <a:solidFill>
                <a:prstClr val="white"/>
              </a:solidFill>
            </a:endParaRPr>
          </a:p>
        </p:txBody>
      </p:sp>
      <p:sp>
        <p:nvSpPr>
          <p:cNvPr id="19" name="Suorakulmio 18"/>
          <p:cNvSpPr/>
          <p:nvPr/>
        </p:nvSpPr>
        <p:spPr>
          <a:xfrm>
            <a:off x="4792826" y="4806805"/>
            <a:ext cx="3086867" cy="7545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2000" b="1" dirty="0" smtClean="0">
                <a:solidFill>
                  <a:prstClr val="white"/>
                </a:solidFill>
              </a:rPr>
              <a:t>Onnistunut asiakaskohtaaminen</a:t>
            </a:r>
            <a:endParaRPr lang="fi-FI" sz="2000" b="1" dirty="0">
              <a:solidFill>
                <a:prstClr val="white"/>
              </a:solidFill>
            </a:endParaRPr>
          </a:p>
        </p:txBody>
      </p:sp>
      <p:sp>
        <p:nvSpPr>
          <p:cNvPr id="20" name="Suorakulmio 19"/>
          <p:cNvSpPr/>
          <p:nvPr/>
        </p:nvSpPr>
        <p:spPr>
          <a:xfrm>
            <a:off x="1271464" y="4807870"/>
            <a:ext cx="3086867" cy="7545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2000" b="1" dirty="0" smtClean="0">
                <a:solidFill>
                  <a:prstClr val="white"/>
                </a:solidFill>
              </a:rPr>
              <a:t>Kustannustehokkuus ja kannattavuus</a:t>
            </a:r>
            <a:endParaRPr lang="fi-FI" sz="2000" b="1" dirty="0">
              <a:solidFill>
                <a:prstClr val="white"/>
              </a:solidFill>
            </a:endParaRPr>
          </a:p>
        </p:txBody>
      </p:sp>
      <p:grpSp>
        <p:nvGrpSpPr>
          <p:cNvPr id="29" name="Ryhmä 28"/>
          <p:cNvGrpSpPr/>
          <p:nvPr/>
        </p:nvGrpSpPr>
        <p:grpSpPr>
          <a:xfrm>
            <a:off x="1474398" y="1718743"/>
            <a:ext cx="9879710" cy="727380"/>
            <a:chOff x="1321623" y="4414068"/>
            <a:chExt cx="9879710" cy="727380"/>
          </a:xfrm>
        </p:grpSpPr>
        <p:sp>
          <p:nvSpPr>
            <p:cNvPr id="26" name="Tekstiruutu 25"/>
            <p:cNvSpPr txBox="1"/>
            <p:nvPr/>
          </p:nvSpPr>
          <p:spPr>
            <a:xfrm>
              <a:off x="1321623" y="4453192"/>
              <a:ext cx="2934993" cy="688256"/>
            </a:xfrm>
            <a:prstGeom prst="rect">
              <a:avLst/>
            </a:prstGeom>
            <a:noFill/>
          </p:spPr>
          <p:txBody>
            <a:bodyPr wrap="square" lIns="72000" tIns="36000" rIns="72000" bIns="36000" rtlCol="0">
              <a:spAutoFit/>
            </a:bodyPr>
            <a:lstStyle/>
            <a:p>
              <a:pPr algn="ctr"/>
              <a:r>
                <a:rPr lang="fi-FI" sz="2000" b="1" dirty="0" smtClean="0">
                  <a:solidFill>
                    <a:srgbClr val="6BBD46"/>
                  </a:solidFill>
                </a:rPr>
                <a:t>Päivittäistavara-</a:t>
              </a:r>
            </a:p>
            <a:p>
              <a:pPr algn="ctr"/>
              <a:r>
                <a:rPr lang="fi-FI" sz="2000" b="1" dirty="0" smtClean="0">
                  <a:solidFill>
                    <a:srgbClr val="6BBD46"/>
                  </a:solidFill>
                </a:rPr>
                <a:t>kaupan kilpailukyky</a:t>
              </a:r>
              <a:endParaRPr lang="fi-FI" sz="2000" dirty="0" smtClean="0">
                <a:solidFill>
                  <a:srgbClr val="6BBD46"/>
                </a:solidFill>
              </a:endParaRPr>
            </a:p>
          </p:txBody>
        </p:sp>
        <p:sp>
          <p:nvSpPr>
            <p:cNvPr id="27" name="Tekstiruutu 26"/>
            <p:cNvSpPr txBox="1"/>
            <p:nvPr/>
          </p:nvSpPr>
          <p:spPr>
            <a:xfrm>
              <a:off x="5137535" y="4414068"/>
              <a:ext cx="2420539" cy="688256"/>
            </a:xfrm>
            <a:prstGeom prst="rect">
              <a:avLst/>
            </a:prstGeom>
            <a:noFill/>
          </p:spPr>
          <p:txBody>
            <a:bodyPr wrap="square" lIns="72000" tIns="36000" rIns="72000" bIns="36000" rtlCol="0">
              <a:spAutoFit/>
            </a:bodyPr>
            <a:lstStyle/>
            <a:p>
              <a:pPr algn="ctr"/>
              <a:r>
                <a:rPr lang="fi-FI" sz="2000" b="1" dirty="0" smtClean="0">
                  <a:solidFill>
                    <a:srgbClr val="6BBD46"/>
                  </a:solidFill>
                </a:rPr>
                <a:t>Asiakashyötyä</a:t>
              </a:r>
            </a:p>
            <a:p>
              <a:pPr algn="ctr"/>
              <a:r>
                <a:rPr lang="fi-FI" sz="2000" b="1" dirty="0" smtClean="0">
                  <a:solidFill>
                    <a:srgbClr val="6BBD46"/>
                  </a:solidFill>
                </a:rPr>
                <a:t>digitaalisuudesta</a:t>
              </a:r>
              <a:endParaRPr lang="fi-FI" sz="2000" dirty="0" smtClean="0">
                <a:solidFill>
                  <a:srgbClr val="6BBD46"/>
                </a:solidFill>
              </a:endParaRPr>
            </a:p>
          </p:txBody>
        </p:sp>
        <p:sp>
          <p:nvSpPr>
            <p:cNvPr id="28" name="Tekstiruutu 27"/>
            <p:cNvSpPr txBox="1"/>
            <p:nvPr/>
          </p:nvSpPr>
          <p:spPr>
            <a:xfrm>
              <a:off x="8240851" y="4420227"/>
              <a:ext cx="2960482" cy="698446"/>
            </a:xfrm>
            <a:prstGeom prst="rect">
              <a:avLst/>
            </a:prstGeom>
            <a:noFill/>
          </p:spPr>
          <p:txBody>
            <a:bodyPr wrap="square" lIns="72000" tIns="36000" rIns="72000" bIns="36000" rtlCol="0">
              <a:spAutoFit/>
            </a:bodyPr>
            <a:lstStyle/>
            <a:p>
              <a:pPr algn="ctr"/>
              <a:r>
                <a:rPr lang="fi-FI" sz="2000" b="1" dirty="0" smtClean="0">
                  <a:solidFill>
                    <a:srgbClr val="6BBD46"/>
                  </a:solidFill>
                </a:rPr>
                <a:t>Käyttötavarakaupan tuloksellisuus</a:t>
              </a:r>
              <a:endParaRPr lang="fi-FI" sz="2000" dirty="0" smtClean="0">
                <a:solidFill>
                  <a:srgbClr val="6BBD46"/>
                </a:solidFill>
              </a:endParaRPr>
            </a:p>
          </p:txBody>
        </p:sp>
      </p:grpSp>
      <p:sp>
        <p:nvSpPr>
          <p:cNvPr id="38" name="Otsikko 37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839727"/>
          </a:xfrm>
        </p:spPr>
        <p:txBody>
          <a:bodyPr/>
          <a:lstStyle/>
          <a:p>
            <a:r>
              <a:rPr lang="fi-FI" sz="3600" dirty="0" smtClean="0"/>
              <a:t>S-ryhmän strategia 2017</a:t>
            </a:r>
            <a:endParaRPr lang="fi-FI" sz="3600" dirty="0"/>
          </a:p>
        </p:txBody>
      </p:sp>
      <p:sp>
        <p:nvSpPr>
          <p:cNvPr id="2" name="Alatunnisteen paikkamerkki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12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30" name="Suorakulmio 29"/>
          <p:cNvSpPr/>
          <p:nvPr/>
        </p:nvSpPr>
        <p:spPr>
          <a:xfrm>
            <a:off x="308141" y="1261923"/>
            <a:ext cx="230435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1200" b="1" dirty="0" smtClean="0">
                <a:solidFill>
                  <a:prstClr val="white">
                    <a:lumMod val="50000"/>
                  </a:prstClr>
                </a:solidFill>
              </a:rPr>
              <a:t>Visiomme</a:t>
            </a:r>
            <a:endParaRPr lang="fi-FI" b="1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13" name="Suora yhdysviiva 12"/>
          <p:cNvCxnSpPr/>
          <p:nvPr/>
        </p:nvCxnSpPr>
        <p:spPr>
          <a:xfrm>
            <a:off x="1548648" y="5805264"/>
            <a:ext cx="9587912" cy="0"/>
          </a:xfrm>
          <a:prstGeom prst="line">
            <a:avLst/>
          </a:prstGeom>
          <a:ln w="38100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uorakulmio 39"/>
          <p:cNvSpPr/>
          <p:nvPr/>
        </p:nvSpPr>
        <p:spPr>
          <a:xfrm>
            <a:off x="302348" y="5778083"/>
            <a:ext cx="11521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1200" b="1" dirty="0" smtClean="0">
                <a:solidFill>
                  <a:prstClr val="white">
                    <a:lumMod val="50000"/>
                  </a:prstClr>
                </a:solidFill>
              </a:rPr>
              <a:t>Toiminnan tarkoitus</a:t>
            </a:r>
            <a:endParaRPr lang="fi-FI" b="1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5" name="Kuva 14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225" y="2358913"/>
            <a:ext cx="10815896" cy="2365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138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z="2000" dirty="0" smtClean="0"/>
              <a:t>Pysyvä painopiste: </a:t>
            </a:r>
            <a:r>
              <a:rPr lang="fi-FI" sz="7200" dirty="0" smtClean="0"/>
              <a:t/>
            </a:r>
            <a:br>
              <a:rPr lang="fi-FI" sz="7200" dirty="0" smtClean="0"/>
            </a:br>
            <a:r>
              <a:rPr lang="fi-FI" dirty="0" smtClean="0"/>
              <a:t>Onnistunut asiakaskohtaaminen</a:t>
            </a:r>
            <a:endParaRPr lang="fi-FI" dirty="0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13</a:t>
            </a:fld>
            <a:endParaRPr lang="fi-FI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196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7"/>
          <a:stretch/>
        </p:blipFill>
        <p:spPr>
          <a:xfrm>
            <a:off x="911225" y="1140542"/>
            <a:ext cx="10513367" cy="4822101"/>
          </a:xfrm>
          <a:prstGeom prst="rect">
            <a:avLst/>
          </a:prstGeom>
        </p:spPr>
      </p:pic>
      <p:graphicFrame>
        <p:nvGraphicFramePr>
          <p:cNvPr id="3" name="Objekti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126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tsikko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z="3600" dirty="0" smtClean="0"/>
              <a:t>Onnistunut asiakaskohtaaminen</a:t>
            </a:r>
            <a:endParaRPr lang="fi-FI" sz="3600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smtClean="0">
                <a:solidFill>
                  <a:srgbClr val="0B4499"/>
                </a:solidFill>
              </a:rPr>
              <a:t>S-ryhmän strategia 2017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14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17" name="Suorakulmio 16"/>
          <p:cNvSpPr/>
          <p:nvPr/>
        </p:nvSpPr>
        <p:spPr>
          <a:xfrm>
            <a:off x="916872" y="1140542"/>
            <a:ext cx="10507720" cy="4778477"/>
          </a:xfrm>
          <a:prstGeom prst="rect">
            <a:avLst/>
          </a:prstGeom>
          <a:solidFill>
            <a:schemeClr val="tx1">
              <a:lumMod val="85000"/>
              <a:lumOff val="15000"/>
              <a:alpha val="2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6041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z="2000" dirty="0" smtClean="0"/>
              <a:t>Pysyvä painopiste: </a:t>
            </a:r>
            <a:r>
              <a:rPr lang="fi-FI" sz="7200" dirty="0" smtClean="0"/>
              <a:t/>
            </a:r>
            <a:br>
              <a:rPr lang="fi-FI" sz="7200" dirty="0" smtClean="0"/>
            </a:br>
            <a:r>
              <a:rPr lang="fi-FI" dirty="0" smtClean="0"/>
              <a:t>Osuustoiminta </a:t>
            </a:r>
            <a:r>
              <a:rPr lang="fi-FI" dirty="0"/>
              <a:t>ja vastuullisuus</a:t>
            </a:r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 smtClean="0"/>
              <a:t>S-ryhmän strategia 2017</a:t>
            </a:r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pPr/>
              <a:t>15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57074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i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0755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Kuva 24" descr="iStock_88247319_XLARGE.jpg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170" y="3443608"/>
            <a:ext cx="5958325" cy="3287789"/>
          </a:xfrm>
          <a:prstGeom prst="rect">
            <a:avLst/>
          </a:prstGeom>
        </p:spPr>
      </p:pic>
      <p:pic>
        <p:nvPicPr>
          <p:cNvPr id="13" name="Kuva 12" descr="IMG_9535[1].JPG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170" y="116539"/>
            <a:ext cx="6048840" cy="3377611"/>
          </a:xfrm>
          <a:prstGeom prst="rect">
            <a:avLst/>
          </a:prstGeom>
        </p:spPr>
      </p:pic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prstClr val="white"/>
                </a:solidFill>
              </a:rPr>
              <a:t>S-ryhmän strategia 2017</a:t>
            </a:r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prstClr val="white"/>
                </a:solidFill>
              </a:rPr>
              <a:pPr/>
              <a:t>16</a:t>
            </a:fld>
            <a:endParaRPr lang="fi-FI">
              <a:solidFill>
                <a:prstClr val="white"/>
              </a:solidFill>
            </a:endParaRPr>
          </a:p>
        </p:txBody>
      </p:sp>
      <p:pic>
        <p:nvPicPr>
          <p:cNvPr id="26" name="Kuva 25" descr="iStock_62295732_XLARGE.jpg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077495" y="116540"/>
            <a:ext cx="5983995" cy="3327068"/>
          </a:xfrm>
          <a:prstGeom prst="rect">
            <a:avLst/>
          </a:prstGeom>
        </p:spPr>
      </p:pic>
      <p:pic>
        <p:nvPicPr>
          <p:cNvPr id="27" name="Kuva 26" descr="iStock_76272997_LARGE.jpg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77495" y="3428999"/>
            <a:ext cx="5991785" cy="3302397"/>
          </a:xfrm>
          <a:prstGeom prst="rect">
            <a:avLst/>
          </a:prstGeom>
        </p:spPr>
      </p:pic>
      <p:pic>
        <p:nvPicPr>
          <p:cNvPr id="14" name="Kuva 13" descr="pääikonit.png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07460" y="1656580"/>
            <a:ext cx="3540688" cy="1584000"/>
          </a:xfrm>
          <a:prstGeom prst="rect">
            <a:avLst/>
          </a:prstGeom>
        </p:spPr>
      </p:pic>
      <p:pic>
        <p:nvPicPr>
          <p:cNvPr id="15" name="Kuva 14" descr="pääikonit.png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19948" y="1656580"/>
            <a:ext cx="3483206" cy="1512000"/>
          </a:xfrm>
          <a:prstGeom prst="rect">
            <a:avLst/>
          </a:prstGeom>
        </p:spPr>
      </p:pic>
      <p:pic>
        <p:nvPicPr>
          <p:cNvPr id="16" name="Kuva 15" descr="pääikonit.png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69475" y="3389652"/>
            <a:ext cx="3478673" cy="1548000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60412" y="3389555"/>
            <a:ext cx="3472621" cy="154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Otsikko 1"/>
          <p:cNvSpPr txBox="1">
            <a:spLocks/>
          </p:cNvSpPr>
          <p:nvPr/>
        </p:nvSpPr>
        <p:spPr>
          <a:xfrm>
            <a:off x="8597941" y="5445224"/>
            <a:ext cx="3672408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 spc="-3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i-FI" dirty="0" smtClean="0">
                <a:solidFill>
                  <a:prstClr val="white"/>
                </a:solidFill>
              </a:rPr>
              <a:t>#</a:t>
            </a:r>
            <a:r>
              <a:rPr lang="fi-FI" dirty="0" err="1" smtClean="0">
                <a:solidFill>
                  <a:prstClr val="white"/>
                </a:solidFill>
              </a:rPr>
              <a:t>satatekoa</a:t>
            </a:r>
            <a:endParaRPr lang="fi-FI" dirty="0" smtClean="0">
              <a:solidFill>
                <a:prstClr val="white"/>
              </a:solidFill>
            </a:endParaRPr>
          </a:p>
          <a:p>
            <a:r>
              <a:rPr lang="fi-FI" dirty="0" smtClean="0">
                <a:solidFill>
                  <a:prstClr val="white"/>
                </a:solidFill>
              </a:rPr>
              <a:t>#paraspaikka</a:t>
            </a:r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18" name="Freeform 7"/>
          <p:cNvSpPr>
            <a:spLocks noEditPoints="1"/>
          </p:cNvSpPr>
          <p:nvPr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433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 descr="iStock_76272997_LARGE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90" t="15148" r="22838" b="6598"/>
          <a:stretch/>
        </p:blipFill>
        <p:spPr>
          <a:xfrm>
            <a:off x="119170" y="116539"/>
            <a:ext cx="6090783" cy="6599275"/>
          </a:xfrm>
          <a:prstGeom prst="rect">
            <a:avLst/>
          </a:prstGeom>
        </p:spPr>
      </p:pic>
      <p:sp>
        <p:nvSpPr>
          <p:cNvPr id="13" name="Sisällön paikkamerkki 2"/>
          <p:cNvSpPr>
            <a:spLocks noGrp="1"/>
          </p:cNvSpPr>
          <p:nvPr>
            <p:ph idx="1"/>
          </p:nvPr>
        </p:nvSpPr>
        <p:spPr>
          <a:xfrm>
            <a:off x="6456050" y="692620"/>
            <a:ext cx="5184720" cy="5760800"/>
          </a:xfrm>
        </p:spPr>
        <p:txBody>
          <a:bodyPr/>
          <a:lstStyle/>
          <a:p>
            <a:pPr marL="285750" indent="-285750">
              <a:spcBef>
                <a:spcPts val="1200"/>
              </a:spcBef>
              <a:buFont typeface="Arial"/>
              <a:buChar char="•"/>
            </a:pPr>
            <a:r>
              <a:rPr lang="fi-FI" sz="1400" b="1" dirty="0">
                <a:solidFill>
                  <a:srgbClr val="6BBD46"/>
                </a:solidFill>
              </a:rPr>
              <a:t>Miksi </a:t>
            </a:r>
            <a:r>
              <a:rPr lang="fi-FI" sz="1400" dirty="0">
                <a:solidFill>
                  <a:schemeClr val="tx1"/>
                </a:solidFill>
              </a:rPr>
              <a:t>S-ryhmä tavoittelee työyhteisötutkimuksessa kokonaistulosta, joka on vähintään viisi pistettä korkeampi kuin Suomen yleisnormi?</a:t>
            </a:r>
            <a:br>
              <a:rPr lang="fi-FI" sz="1400" dirty="0">
                <a:solidFill>
                  <a:schemeClr val="tx1"/>
                </a:solidFill>
              </a:rPr>
            </a:br>
            <a:r>
              <a:rPr lang="fi-FI" sz="1400" dirty="0">
                <a:solidFill>
                  <a:schemeClr val="tx1"/>
                </a:solidFill>
              </a:rPr>
              <a:t/>
            </a:r>
            <a:br>
              <a:rPr lang="fi-FI" sz="1400" dirty="0">
                <a:solidFill>
                  <a:schemeClr val="tx1"/>
                </a:solidFill>
              </a:rPr>
            </a:br>
            <a:r>
              <a:rPr lang="fi-FI" sz="1400" dirty="0">
                <a:solidFill>
                  <a:schemeClr val="tx1"/>
                </a:solidFill>
              </a:rPr>
              <a:t>Työyhteisötutkimuksessa mitataan työntekijöiden tyytyväisyyttä. Hyvinvoiva henkilöstö on meille keskeinen tavoite. Siksi pyrimme työyhteisötutkimuksessa kokonaistulokseen, joka on vähintään viisi pistettä korkeampi kuin Suomen yleisnormi. </a:t>
            </a:r>
          </a:p>
          <a:p>
            <a:pPr marL="285750" indent="-285750">
              <a:spcBef>
                <a:spcPts val="1200"/>
              </a:spcBef>
              <a:buFont typeface="Arial"/>
              <a:buChar char="•"/>
            </a:pPr>
            <a:r>
              <a:rPr lang="fi-FI" sz="1400" b="1" i="1" dirty="0" smtClean="0">
                <a:solidFill>
                  <a:srgbClr val="6BBD46"/>
                </a:solidFill>
              </a:rPr>
              <a:t>Miksi</a:t>
            </a:r>
            <a:r>
              <a:rPr lang="fi-FI" sz="1400" i="1" dirty="0" smtClean="0">
                <a:solidFill>
                  <a:schemeClr val="tx1"/>
                </a:solidFill>
              </a:rPr>
              <a:t> </a:t>
            </a:r>
            <a:r>
              <a:rPr lang="fi-FI" sz="1400" i="1" dirty="0">
                <a:solidFill>
                  <a:schemeClr val="tx1"/>
                </a:solidFill>
              </a:rPr>
              <a:t>S-ryhmä panostaa Nuori </a:t>
            </a:r>
            <a:r>
              <a:rPr lang="fi-FI" sz="1400" i="1" dirty="0" smtClean="0">
                <a:solidFill>
                  <a:schemeClr val="tx1"/>
                </a:solidFill>
              </a:rPr>
              <a:t>Mieli </a:t>
            </a:r>
            <a:r>
              <a:rPr lang="fi-FI" sz="1400" i="1" dirty="0" err="1" smtClean="0">
                <a:solidFill>
                  <a:schemeClr val="tx1"/>
                </a:solidFill>
              </a:rPr>
              <a:t>Työssä-ohjelmaan</a:t>
            </a:r>
            <a:r>
              <a:rPr lang="fi-FI" sz="1400" i="1" dirty="0">
                <a:solidFill>
                  <a:schemeClr val="tx1"/>
                </a:solidFill>
              </a:rPr>
              <a:t>?</a:t>
            </a:r>
            <a:br>
              <a:rPr lang="fi-FI" sz="1400" i="1" dirty="0">
                <a:solidFill>
                  <a:schemeClr val="tx1"/>
                </a:solidFill>
              </a:rPr>
            </a:br>
            <a:r>
              <a:rPr lang="fi-FI" sz="1400" i="1" dirty="0">
                <a:solidFill>
                  <a:schemeClr val="tx1"/>
                </a:solidFill>
              </a:rPr>
              <a:t/>
            </a:r>
            <a:br>
              <a:rPr lang="fi-FI" sz="1400" i="1" dirty="0">
                <a:solidFill>
                  <a:schemeClr val="tx1"/>
                </a:solidFill>
              </a:rPr>
            </a:br>
            <a:r>
              <a:rPr lang="fi-FI" sz="1400" i="1" dirty="0">
                <a:solidFill>
                  <a:schemeClr val="tx1"/>
                </a:solidFill>
              </a:rPr>
              <a:t>Luomme Nuori </a:t>
            </a:r>
            <a:r>
              <a:rPr lang="fi-FI" sz="1400" i="1" dirty="0" smtClean="0">
                <a:solidFill>
                  <a:schemeClr val="tx1"/>
                </a:solidFill>
              </a:rPr>
              <a:t>Mieli Työssä </a:t>
            </a:r>
            <a:r>
              <a:rPr lang="fi-FI" sz="1400" i="1" dirty="0">
                <a:solidFill>
                  <a:schemeClr val="tx1"/>
                </a:solidFill>
              </a:rPr>
              <a:t>-ohjelman nuorten </a:t>
            </a:r>
            <a:r>
              <a:rPr lang="fi-FI" sz="1400" i="1" dirty="0" smtClean="0">
                <a:solidFill>
                  <a:schemeClr val="tx1"/>
                </a:solidFill>
              </a:rPr>
              <a:t>työelämään kiinnittymisen, hyvän työelämän ensikokemuksen ja </a:t>
            </a:r>
            <a:r>
              <a:rPr lang="fi-FI" sz="1400" i="1" dirty="0" err="1" smtClean="0">
                <a:solidFill>
                  <a:schemeClr val="tx1"/>
                </a:solidFill>
              </a:rPr>
              <a:t>työhyvinvoinnin</a:t>
            </a:r>
            <a:r>
              <a:rPr lang="fi-FI" sz="1400" i="1" dirty="0" smtClean="0">
                <a:solidFill>
                  <a:schemeClr val="tx1"/>
                </a:solidFill>
              </a:rPr>
              <a:t> lisäämiseksi</a:t>
            </a:r>
            <a:r>
              <a:rPr lang="fi-FI" sz="1400" i="1" dirty="0">
                <a:solidFill>
                  <a:schemeClr val="tx1"/>
                </a:solidFill>
              </a:rPr>
              <a:t>. Samalla etsimme uusia keinoja nuorten mielenterveyden edistämiseksi. Nuorissa on tulevaisuus, ja haluamme olla rakentamassa siitä mahdollisimman valoisaa. Siksi panostamme Nuori </a:t>
            </a:r>
            <a:r>
              <a:rPr lang="fi-FI" sz="1400" i="1" dirty="0" smtClean="0">
                <a:solidFill>
                  <a:schemeClr val="tx1"/>
                </a:solidFill>
              </a:rPr>
              <a:t>Mieli Työssä -ohjelmaan.</a:t>
            </a:r>
          </a:p>
          <a:p>
            <a:pPr marL="285750" indent="-285750">
              <a:spcBef>
                <a:spcPts val="1200"/>
              </a:spcBef>
              <a:buFont typeface="Arial"/>
              <a:buChar char="•"/>
            </a:pPr>
            <a:r>
              <a:rPr lang="fi-FI" sz="1400" b="1" dirty="0">
                <a:solidFill>
                  <a:srgbClr val="6BBD46"/>
                </a:solidFill>
              </a:rPr>
              <a:t>Miksi </a:t>
            </a:r>
            <a:r>
              <a:rPr lang="fi-FI" sz="1400" dirty="0">
                <a:solidFill>
                  <a:schemeClr val="tx1"/>
                </a:solidFill>
              </a:rPr>
              <a:t>S-ryhmä kannustaa työntekijöitään työmatkaliikuntaan ja joukkoliikenteen käyttöön?</a:t>
            </a:r>
            <a:br>
              <a:rPr lang="fi-FI" sz="1400" dirty="0">
                <a:solidFill>
                  <a:schemeClr val="tx1"/>
                </a:solidFill>
              </a:rPr>
            </a:br>
            <a:r>
              <a:rPr lang="fi-FI" sz="1400" dirty="0">
                <a:solidFill>
                  <a:schemeClr val="tx1"/>
                </a:solidFill>
              </a:rPr>
              <a:t/>
            </a:r>
            <a:br>
              <a:rPr lang="fi-FI" sz="1400" dirty="0">
                <a:solidFill>
                  <a:schemeClr val="tx1"/>
                </a:solidFill>
              </a:rPr>
            </a:br>
            <a:r>
              <a:rPr lang="fi-FI" sz="1400" dirty="0">
                <a:solidFill>
                  <a:schemeClr val="tx1"/>
                </a:solidFill>
              </a:rPr>
              <a:t>Suurena työllistäjänä haluamme kannustaa henkilöstöämme vähäpäästöisempään liikkumiseen. Liikunnallinen elämäntapa tukee myös työssä jaksamista. Siksi kannustamme työmatkaliikuntaan ja joukkoliikenteen käyttöön.</a:t>
            </a:r>
          </a:p>
          <a:p>
            <a:pPr marL="285750" indent="-285750">
              <a:spcBef>
                <a:spcPts val="1200"/>
              </a:spcBef>
              <a:buFont typeface="Arial"/>
              <a:buChar char="•"/>
            </a:pPr>
            <a:endParaRPr lang="fi-FI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1200"/>
              </a:spcBef>
              <a:buFont typeface="Arial"/>
              <a:buChar char="•"/>
            </a:pPr>
            <a:endParaRPr lang="fi-FI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1200"/>
              </a:spcBef>
              <a:buFont typeface="Arial"/>
              <a:buChar char="•"/>
            </a:pPr>
            <a:endParaRPr lang="fi-FI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1200"/>
              </a:spcBef>
              <a:buFont typeface="Arial"/>
              <a:buChar char="•"/>
            </a:pPr>
            <a:endParaRPr lang="fi-FI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1200"/>
              </a:spcBef>
              <a:buFont typeface="Arial"/>
              <a:buChar char="•"/>
            </a:pPr>
            <a:endParaRPr lang="fi-FI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1200"/>
              </a:spcBef>
              <a:buFont typeface="Arial"/>
              <a:buChar char="•"/>
            </a:pPr>
            <a:endParaRPr lang="fi-FI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1200"/>
              </a:spcBef>
              <a:buFont typeface="Arial"/>
              <a:buChar char="•"/>
            </a:pPr>
            <a:endParaRPr lang="fi-FI" sz="1400" dirty="0">
              <a:solidFill>
                <a:schemeClr val="tx1"/>
              </a:solidFill>
            </a:endParaRPr>
          </a:p>
          <a:p>
            <a:pPr>
              <a:spcBef>
                <a:spcPts val="1200"/>
              </a:spcBef>
            </a:pPr>
            <a:endParaRPr lang="fi-FI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1200"/>
              </a:spcBef>
              <a:buFont typeface="Arial"/>
              <a:buChar char="•"/>
            </a:pPr>
            <a:endParaRPr lang="fi-FI" sz="1400" dirty="0">
              <a:solidFill>
                <a:schemeClr val="tx1"/>
              </a:solidFill>
            </a:endParaRPr>
          </a:p>
          <a:p>
            <a:pPr>
              <a:spcBef>
                <a:spcPts val="1200"/>
              </a:spcBef>
            </a:pPr>
            <a:endParaRPr lang="fi-FI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1200"/>
              </a:spcBef>
              <a:buFont typeface="Arial"/>
              <a:buChar char="•"/>
            </a:pPr>
            <a:endParaRPr lang="fi-FI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1200"/>
              </a:spcBef>
              <a:buFont typeface="Arial"/>
              <a:buChar char="•"/>
            </a:pPr>
            <a:endParaRPr lang="fi-FI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1200"/>
              </a:spcBef>
              <a:buFont typeface="Arial"/>
              <a:buChar char="•"/>
            </a:pPr>
            <a:endParaRPr lang="fi-FI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1200"/>
              </a:spcBef>
              <a:buFont typeface="Arial"/>
              <a:buChar char="•"/>
            </a:pPr>
            <a:endParaRPr lang="fi-FI" sz="14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1200"/>
              </a:spcBef>
              <a:buFont typeface="Arial"/>
              <a:buChar char="•"/>
            </a:pPr>
            <a:endParaRPr lang="fi-FI" sz="1400" dirty="0">
              <a:solidFill>
                <a:schemeClr val="tx1"/>
              </a:solidFill>
            </a:endParaRPr>
          </a:p>
        </p:txBody>
      </p:sp>
      <p:pic>
        <p:nvPicPr>
          <p:cNvPr id="10" name="Kuva 9" descr="pääikonit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4" t="-174" r="52464" b="52428"/>
          <a:stretch/>
        </p:blipFill>
        <p:spPr>
          <a:xfrm>
            <a:off x="529833" y="1988801"/>
            <a:ext cx="5181454" cy="2311814"/>
          </a:xfrm>
          <a:prstGeom prst="rect">
            <a:avLst/>
          </a:prstGeom>
        </p:spPr>
      </p:pic>
      <p:sp>
        <p:nvSpPr>
          <p:cNvPr id="2" name="Oval 1"/>
          <p:cNvSpPr/>
          <p:nvPr/>
        </p:nvSpPr>
        <p:spPr>
          <a:xfrm>
            <a:off x="6096000" y="2492896"/>
            <a:ext cx="5976664" cy="3073889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42304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 descr="IMG_9535[1]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" t="5586" r="2406" b="13349"/>
          <a:stretch/>
        </p:blipFill>
        <p:spPr>
          <a:xfrm>
            <a:off x="121395" y="93386"/>
            <a:ext cx="11943374" cy="6639712"/>
          </a:xfrm>
          <a:prstGeom prst="rect">
            <a:avLst/>
          </a:prstGeom>
        </p:spPr>
      </p:pic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908307" y="2754092"/>
            <a:ext cx="10369550" cy="3960496"/>
          </a:xfrm>
        </p:spPr>
        <p:txBody>
          <a:bodyPr/>
          <a:lstStyle/>
          <a:p>
            <a:pPr algn="ctr">
              <a:lnSpc>
                <a:spcPct val="80000"/>
              </a:lnSpc>
            </a:pPr>
            <a:r>
              <a:rPr lang="fi-FI" sz="6000" dirty="0" smtClean="0">
                <a:solidFill>
                  <a:schemeClr val="bg1"/>
                </a:solidFill>
              </a:rPr>
              <a:t>PARAS PAIKKA ELÄÄ</a:t>
            </a:r>
          </a:p>
          <a:p>
            <a:pPr algn="ctr">
              <a:lnSpc>
                <a:spcPct val="80000"/>
              </a:lnSpc>
            </a:pPr>
            <a:r>
              <a:rPr lang="fi-FI" sz="3200" dirty="0">
                <a:solidFill>
                  <a:schemeClr val="bg1"/>
                </a:solidFill>
              </a:rPr>
              <a:t>p</a:t>
            </a:r>
            <a:r>
              <a:rPr lang="fi-FI" sz="3200" dirty="0" smtClean="0">
                <a:solidFill>
                  <a:schemeClr val="bg1"/>
                </a:solidFill>
              </a:rPr>
              <a:t>araspaikkaelaa.fi		#paraspaikka</a:t>
            </a:r>
            <a:endParaRPr lang="fi-FI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33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i-FI" dirty="0" smtClean="0"/>
              <a:t>Nuori Mieli </a:t>
            </a:r>
            <a:r>
              <a:rPr lang="fi-FI" dirty="0" err="1" smtClean="0"/>
              <a:t>Työssä-</a:t>
            </a:r>
            <a:r>
              <a:rPr lang="fi-FI" dirty="0" smtClean="0"/>
              <a:t> ohjelma tavoittelee nuorten työelämän </a:t>
            </a:r>
            <a:r>
              <a:rPr lang="fi-FI" smtClean="0"/>
              <a:t>hyvää alkua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416" y="1988840"/>
            <a:ext cx="10515600" cy="4587876"/>
          </a:xfrm>
        </p:spPr>
        <p:txBody>
          <a:bodyPr>
            <a:noAutofit/>
          </a:bodyPr>
          <a:lstStyle/>
          <a:p>
            <a:r>
              <a:rPr lang="fi-FI" sz="2400" dirty="0" smtClean="0"/>
              <a:t>Nuori Mieli työssä on S-ryhmän ja usean muun organisaation yhteishanke, jonka tarkoituksena on kiinnittää huomiota nuorten työntekijöiden ensimmäisiin työvuosiin ja niihin liittyviin teemoihin. </a:t>
            </a:r>
            <a:endParaRPr lang="fi-FI" sz="2400" dirty="0"/>
          </a:p>
          <a:p>
            <a:r>
              <a:rPr lang="fi-FI" sz="2400" dirty="0" smtClean="0"/>
              <a:t>Tarkoituksena on löytää yhteisiä käytänteitä ja työkaluja kaupan alalle edistämään nuorten työntekijöiden työelämätaitojen kehittymistä, työelämään kiinnittymistä ja työkykyisyyttä.</a:t>
            </a:r>
          </a:p>
          <a:p>
            <a:r>
              <a:rPr lang="fi-FI" sz="2400" dirty="0" smtClean="0"/>
              <a:t>Perinteisesti </a:t>
            </a:r>
            <a:r>
              <a:rPr lang="fi-FI" sz="2400" dirty="0" err="1" smtClean="0"/>
              <a:t>työhyvinvointi</a:t>
            </a:r>
            <a:r>
              <a:rPr lang="fi-FI" sz="2400" dirty="0" smtClean="0"/>
              <a:t> ja työssä jaksamisen edistämisen hankkeet on keskistetty työuran loppuvaiheille. Tämä ohjelma kiinnittää huomiota nimenomaan työuran ensimmäisiin askeliin ja niissä onnistumiseen.</a:t>
            </a:r>
          </a:p>
          <a:p>
            <a:endParaRPr lang="fi-FI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A1972FE-AC51-4DA9-82C0-8EF0F5650D67}" type="datetime1">
              <a:rPr lang="fi-FI" smtClean="0">
                <a:solidFill>
                  <a:prstClr val="black"/>
                </a:solidFill>
              </a:rPr>
              <a:pPr/>
              <a:t>28.2.2018</a:t>
            </a:fld>
            <a:endParaRPr lang="fi-FI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i-FI" smtClean="0">
                <a:solidFill>
                  <a:prstClr val="black"/>
                </a:solidFill>
              </a:rPr>
              <a:t>Sanna-Mari Myllynen / Nuori Mieli Työssä</a:t>
            </a:r>
            <a:endParaRPr lang="fi-FI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prstClr val="black"/>
                </a:solidFill>
              </a:rPr>
              <a:pPr/>
              <a:t>2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8881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Nuori</a:t>
            </a:r>
            <a:r>
              <a:rPr lang="en-US" dirty="0" smtClean="0"/>
              <a:t> </a:t>
            </a:r>
            <a:r>
              <a:rPr lang="en-US" dirty="0" err="1" smtClean="0"/>
              <a:t>Mieli</a:t>
            </a:r>
            <a:r>
              <a:rPr lang="en-US" dirty="0" smtClean="0"/>
              <a:t> </a:t>
            </a:r>
            <a:r>
              <a:rPr lang="en-US" dirty="0" err="1"/>
              <a:t>T</a:t>
            </a:r>
            <a:r>
              <a:rPr lang="en-US" dirty="0" err="1" smtClean="0"/>
              <a:t>yössä</a:t>
            </a:r>
            <a:r>
              <a:rPr lang="en-US" dirty="0" smtClean="0"/>
              <a:t> -</a:t>
            </a:r>
            <a:r>
              <a:rPr lang="en-US" dirty="0" err="1" smtClean="0"/>
              <a:t>ohjelman</a:t>
            </a:r>
            <a:r>
              <a:rPr lang="en-US" dirty="0" smtClean="0"/>
              <a:t> </a:t>
            </a:r>
            <a:r>
              <a:rPr lang="en-US" dirty="0" err="1" smtClean="0"/>
              <a:t>osa-alueet</a:t>
            </a:r>
            <a:endParaRPr lang="en-US" dirty="0"/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84760005"/>
              </p:ext>
            </p:extLst>
          </p:nvPr>
        </p:nvGraphicFramePr>
        <p:xfrm>
          <a:off x="407368" y="1052736"/>
          <a:ext cx="11449272" cy="54726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02039" y="6597352"/>
            <a:ext cx="1375048" cy="187553"/>
          </a:xfrm>
        </p:spPr>
        <p:txBody>
          <a:bodyPr/>
          <a:lstStyle/>
          <a:p>
            <a:fld id="{A48E1FEA-DEC1-44DA-90FF-13FFA438F9E8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6491" y="6597352"/>
            <a:ext cx="5185171" cy="188328"/>
          </a:xfrm>
        </p:spPr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597352"/>
            <a:ext cx="360239" cy="187553"/>
          </a:xfrm>
        </p:spPr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t>3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7937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Nuori</a:t>
            </a:r>
            <a:r>
              <a:rPr lang="en-US" dirty="0" smtClean="0"/>
              <a:t> </a:t>
            </a:r>
            <a:r>
              <a:rPr lang="en-US" dirty="0" err="1"/>
              <a:t>M</a:t>
            </a:r>
            <a:r>
              <a:rPr lang="en-US" dirty="0" err="1" smtClean="0"/>
              <a:t>ieli</a:t>
            </a:r>
            <a:r>
              <a:rPr lang="en-US" dirty="0" smtClean="0"/>
              <a:t> </a:t>
            </a:r>
            <a:r>
              <a:rPr lang="en-US" dirty="0" err="1" smtClean="0"/>
              <a:t>Työssä</a:t>
            </a:r>
            <a:r>
              <a:rPr lang="en-US" dirty="0" smtClean="0"/>
              <a:t>- </a:t>
            </a:r>
            <a:r>
              <a:rPr lang="en-US" dirty="0" err="1" smtClean="0"/>
              <a:t>ohjelman</a:t>
            </a:r>
            <a:r>
              <a:rPr lang="en-US" dirty="0" smtClean="0"/>
              <a:t> </a:t>
            </a:r>
            <a:r>
              <a:rPr lang="en-US" dirty="0" err="1" smtClean="0"/>
              <a:t>tavoitteet</a:t>
            </a:r>
            <a:r>
              <a:rPr lang="en-US" dirty="0" smtClean="0"/>
              <a:t>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424" y="1845245"/>
            <a:ext cx="10369551" cy="4608091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 smtClean="0"/>
              <a:t>Tukea</a:t>
            </a:r>
            <a:r>
              <a:rPr lang="en-US" sz="2400" dirty="0" smtClean="0"/>
              <a:t> </a:t>
            </a:r>
            <a:r>
              <a:rPr lang="en-US" sz="2400" dirty="0" err="1" smtClean="0"/>
              <a:t>nuorten</a:t>
            </a:r>
            <a:r>
              <a:rPr lang="en-US" sz="2400" dirty="0" smtClean="0"/>
              <a:t> </a:t>
            </a:r>
            <a:r>
              <a:rPr lang="en-US" sz="2400" dirty="0" err="1" smtClean="0"/>
              <a:t>työntekijöiden</a:t>
            </a:r>
            <a:r>
              <a:rPr lang="en-US" sz="2400" dirty="0" smtClean="0"/>
              <a:t> </a:t>
            </a:r>
            <a:r>
              <a:rPr lang="en-US" sz="2400" dirty="0" err="1" smtClean="0"/>
              <a:t>siirtymävaihetta</a:t>
            </a:r>
            <a:r>
              <a:rPr lang="en-US" sz="2400" dirty="0" smtClean="0"/>
              <a:t> </a:t>
            </a:r>
            <a:r>
              <a:rPr lang="en-US" sz="2400" dirty="0" err="1" smtClean="0"/>
              <a:t>opiskelusta</a:t>
            </a:r>
            <a:r>
              <a:rPr lang="en-US" sz="2400" dirty="0" smtClean="0"/>
              <a:t> </a:t>
            </a:r>
            <a:r>
              <a:rPr lang="en-US" sz="2400" dirty="0" err="1" smtClean="0"/>
              <a:t>työelämään</a:t>
            </a:r>
            <a:r>
              <a:rPr lang="en-US" sz="2400" dirty="0" smtClean="0"/>
              <a:t> ja </a:t>
            </a:r>
            <a:r>
              <a:rPr lang="en-US" sz="2400" dirty="0" err="1" smtClean="0"/>
              <a:t>työelämään</a:t>
            </a:r>
            <a:r>
              <a:rPr lang="en-US" sz="2400" dirty="0" smtClean="0"/>
              <a:t> </a:t>
            </a:r>
            <a:r>
              <a:rPr lang="en-US" sz="2400" dirty="0" err="1" smtClean="0"/>
              <a:t>kiinnittymistä</a:t>
            </a:r>
            <a:endParaRPr lang="en-US" sz="2400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 smtClean="0"/>
              <a:t>Kehittää</a:t>
            </a:r>
            <a:r>
              <a:rPr lang="en-US" sz="2400" dirty="0" smtClean="0"/>
              <a:t> </a:t>
            </a:r>
            <a:r>
              <a:rPr lang="en-US" sz="2400" dirty="0" err="1" smtClean="0"/>
              <a:t>nuorten</a:t>
            </a:r>
            <a:r>
              <a:rPr lang="en-US" sz="2400" dirty="0" smtClean="0"/>
              <a:t> </a:t>
            </a:r>
            <a:r>
              <a:rPr lang="en-US" sz="2400" dirty="0" err="1" smtClean="0"/>
              <a:t>työelämätaitoja</a:t>
            </a:r>
            <a:r>
              <a:rPr lang="en-US" sz="2400" dirty="0" smtClean="0"/>
              <a:t> ja </a:t>
            </a:r>
            <a:r>
              <a:rPr lang="en-US" sz="2400" dirty="0" err="1" smtClean="0"/>
              <a:t>valmiuksia</a:t>
            </a:r>
            <a:r>
              <a:rPr lang="en-US" sz="2400" dirty="0"/>
              <a:t> </a:t>
            </a:r>
            <a:r>
              <a:rPr lang="en-US" sz="2400" dirty="0" err="1" smtClean="0"/>
              <a:t>työelämässä</a:t>
            </a:r>
            <a:endParaRPr lang="en-US" sz="2400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fi-FI" sz="2400" dirty="0"/>
              <a:t>Lisätä organisaation tietoisuutta ja esimiesten osaamista työelämään tulevien nuorten odotuksista, motivaatioista ja valmiuksista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 smtClean="0"/>
              <a:t>Kehittää</a:t>
            </a:r>
            <a:r>
              <a:rPr lang="en-US" sz="2400" dirty="0" smtClean="0"/>
              <a:t> </a:t>
            </a:r>
            <a:r>
              <a:rPr lang="en-US" sz="2400" dirty="0" err="1" smtClean="0"/>
              <a:t>nuorten</a:t>
            </a:r>
            <a:r>
              <a:rPr lang="en-US" sz="2400" dirty="0" smtClean="0"/>
              <a:t> </a:t>
            </a:r>
            <a:r>
              <a:rPr lang="en-US" sz="2400" dirty="0" err="1" smtClean="0"/>
              <a:t>itsensä</a:t>
            </a:r>
            <a:r>
              <a:rPr lang="en-US" sz="2400" dirty="0" smtClean="0"/>
              <a:t> </a:t>
            </a:r>
            <a:r>
              <a:rPr lang="en-US" sz="2400" dirty="0" err="1" smtClean="0"/>
              <a:t>johtamista</a:t>
            </a:r>
            <a:r>
              <a:rPr lang="en-US" sz="2400" dirty="0" smtClean="0"/>
              <a:t> </a:t>
            </a:r>
            <a:r>
              <a:rPr lang="en-US" sz="2400" dirty="0" err="1" smtClean="0"/>
              <a:t>oman</a:t>
            </a:r>
            <a:r>
              <a:rPr lang="en-US" sz="2400" dirty="0" smtClean="0"/>
              <a:t> </a:t>
            </a:r>
            <a:r>
              <a:rPr lang="en-US" sz="2400" dirty="0" err="1" smtClean="0"/>
              <a:t>työkyvystä</a:t>
            </a:r>
            <a:r>
              <a:rPr lang="en-US" sz="2400" dirty="0" smtClean="0"/>
              <a:t> </a:t>
            </a:r>
            <a:r>
              <a:rPr lang="en-US" sz="2400" dirty="0" err="1" smtClean="0"/>
              <a:t>huolehtimisessa</a:t>
            </a:r>
            <a:r>
              <a:rPr lang="en-US" sz="2400" dirty="0" smtClean="0"/>
              <a:t> ja </a:t>
            </a:r>
            <a:r>
              <a:rPr lang="en-US" sz="2400" dirty="0" err="1" smtClean="0"/>
              <a:t>työkykyisyyttä</a:t>
            </a:r>
            <a:r>
              <a:rPr lang="en-US" sz="2400" dirty="0" smtClean="0"/>
              <a:t> </a:t>
            </a:r>
            <a:r>
              <a:rPr lang="en-US" sz="2400" dirty="0" err="1" smtClean="0"/>
              <a:t>tukevien</a:t>
            </a:r>
            <a:r>
              <a:rPr lang="en-US" sz="2400" dirty="0" smtClean="0"/>
              <a:t> </a:t>
            </a:r>
            <a:r>
              <a:rPr lang="en-US" sz="2400" dirty="0" err="1" smtClean="0"/>
              <a:t>elämäntapojen</a:t>
            </a:r>
            <a:r>
              <a:rPr lang="en-US" sz="2400" dirty="0" smtClean="0"/>
              <a:t> </a:t>
            </a:r>
            <a:r>
              <a:rPr lang="en-US" sz="2400" dirty="0" err="1" smtClean="0"/>
              <a:t>edistämisessä</a:t>
            </a:r>
            <a:endParaRPr lang="en-US" sz="2400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dirty="0" err="1" smtClean="0"/>
              <a:t>Vahvistaa</a:t>
            </a:r>
            <a:r>
              <a:rPr lang="en-US" sz="2400" dirty="0" smtClean="0"/>
              <a:t> S-</a:t>
            </a:r>
            <a:r>
              <a:rPr lang="en-US" sz="2400" dirty="0"/>
              <a:t>r</a:t>
            </a:r>
            <a:r>
              <a:rPr lang="en-US" sz="2400" dirty="0" smtClean="0"/>
              <a:t>yhmän </a:t>
            </a:r>
            <a:r>
              <a:rPr lang="en-US" sz="2400" dirty="0" err="1" smtClean="0"/>
              <a:t>työnantajakuvaa</a:t>
            </a:r>
            <a:r>
              <a:rPr lang="en-US" sz="2400" dirty="0" smtClean="0"/>
              <a:t> </a:t>
            </a:r>
            <a:r>
              <a:rPr lang="en-US" sz="2400" dirty="0" err="1" smtClean="0"/>
              <a:t>hyvänä</a:t>
            </a:r>
            <a:r>
              <a:rPr lang="en-US" sz="2400" dirty="0" smtClean="0"/>
              <a:t> </a:t>
            </a:r>
            <a:r>
              <a:rPr lang="en-US" sz="2400" dirty="0" err="1" smtClean="0"/>
              <a:t>ensimmäisenä</a:t>
            </a:r>
            <a:r>
              <a:rPr lang="en-US" sz="2400" dirty="0" smtClean="0"/>
              <a:t> ja </a:t>
            </a:r>
            <a:r>
              <a:rPr lang="en-US" sz="2400" dirty="0" err="1" smtClean="0"/>
              <a:t>vastuullisena</a:t>
            </a:r>
            <a:r>
              <a:rPr lang="en-US" sz="2400" dirty="0" smtClean="0"/>
              <a:t> </a:t>
            </a:r>
            <a:r>
              <a:rPr lang="en-US" sz="2400" dirty="0" err="1" smtClean="0"/>
              <a:t>työnantajana</a:t>
            </a:r>
            <a:r>
              <a:rPr lang="en-US" sz="2400" dirty="0" smtClean="0"/>
              <a:t> </a:t>
            </a:r>
            <a:r>
              <a:rPr lang="en-US" sz="2400" dirty="0" err="1" smtClean="0"/>
              <a:t>nuorille</a:t>
            </a:r>
            <a:r>
              <a:rPr lang="en-US" sz="2400" dirty="0" smtClean="0"/>
              <a:t> </a:t>
            </a:r>
            <a:r>
              <a:rPr lang="en-US" sz="2400" dirty="0" err="1" smtClean="0"/>
              <a:t>työntekijöille</a:t>
            </a:r>
            <a:endParaRPr lang="en-US" sz="2400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A801E08-07D7-40F4-943B-635B13CA55CE}" type="datetime1">
              <a:rPr lang="fi-FI" smtClean="0">
                <a:solidFill>
                  <a:srgbClr val="0B4499"/>
                </a:solidFill>
              </a:rPr>
              <a:pPr/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4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0850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Suuri suomalainen työllistäjä</a:t>
            </a:r>
            <a:br>
              <a:rPr lang="fi-FI" dirty="0"/>
            </a:br>
            <a:r>
              <a:rPr lang="fi-FI" dirty="0"/>
              <a:t/>
            </a:r>
            <a:br>
              <a:rPr lang="fi-FI" dirty="0"/>
            </a:b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911225" y="1773237"/>
            <a:ext cx="6264926" cy="4248151"/>
          </a:xfrm>
        </p:spPr>
        <p:txBody>
          <a:bodyPr/>
          <a:lstStyle/>
          <a:p>
            <a:pPr marL="342900" indent="-342900">
              <a:buFont typeface="Arial"/>
              <a:buChar char="•"/>
            </a:pPr>
            <a:endParaRPr lang="fi-FI" dirty="0"/>
          </a:p>
          <a:p>
            <a:endParaRPr lang="fi-FI" dirty="0"/>
          </a:p>
          <a:p>
            <a:endParaRPr lang="fi-FI" dirty="0"/>
          </a:p>
        </p:txBody>
      </p:sp>
      <p:pic>
        <p:nvPicPr>
          <p:cNvPr id="8" name="Kuva 7" descr="henkilostonhyvinvointi-ja-motivaatio-3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48" y="1556792"/>
            <a:ext cx="4494071" cy="4494071"/>
          </a:xfrm>
          <a:prstGeom prst="rect">
            <a:avLst/>
          </a:prstGeom>
        </p:spPr>
      </p:pic>
      <p:pic>
        <p:nvPicPr>
          <p:cNvPr id="9" name="Kuva 8" descr="henkilostonhyvinvointi-ja-motivaatio-3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048" y="1556792"/>
            <a:ext cx="4332483" cy="433248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27647" y="6525344"/>
            <a:ext cx="1375048" cy="144016"/>
          </a:xfrm>
        </p:spPr>
        <p:txBody>
          <a:bodyPr/>
          <a:lstStyle/>
          <a:p>
            <a:fld id="{FBCCAAAE-6077-4ADA-AC67-B967B2BB8353}" type="datetime1">
              <a:rPr lang="fi-FI" sz="800" smtClean="0">
                <a:solidFill>
                  <a:srgbClr val="0B4499"/>
                </a:solidFill>
              </a:rPr>
              <a:t>28.2.2018</a:t>
            </a:fld>
            <a:endParaRPr lang="fi-FI" sz="800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95799" y="6524749"/>
            <a:ext cx="5185171" cy="144611"/>
          </a:xfrm>
        </p:spPr>
        <p:txBody>
          <a:bodyPr/>
          <a:lstStyle/>
          <a:p>
            <a:r>
              <a:rPr lang="fi-FI" sz="800" smtClean="0">
                <a:solidFill>
                  <a:srgbClr val="0B4499"/>
                </a:solidFill>
              </a:rPr>
              <a:t>Sanna-Mari Myllynen / Nuori Mieli Työssä</a:t>
            </a:r>
            <a:endParaRPr lang="fi-FI" sz="800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7408" y="6525344"/>
            <a:ext cx="360239" cy="144016"/>
          </a:xfrm>
        </p:spPr>
        <p:txBody>
          <a:bodyPr/>
          <a:lstStyle/>
          <a:p>
            <a:fld id="{D5B008F9-AA2E-4FBA-9C76-30BCD8AD3008}" type="slidenum">
              <a:rPr lang="fi-FI" sz="800" smtClean="0">
                <a:solidFill>
                  <a:srgbClr val="0B4499"/>
                </a:solidFill>
              </a:rPr>
              <a:pPr/>
              <a:t>5</a:t>
            </a:fld>
            <a:endParaRPr lang="fi-FI" sz="800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9893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3884" y="1258568"/>
            <a:ext cx="3430711" cy="43608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766" y="44624"/>
            <a:ext cx="9412705" cy="1037531"/>
          </a:xfrm>
        </p:spPr>
        <p:txBody>
          <a:bodyPr/>
          <a:lstStyle/>
          <a:p>
            <a:r>
              <a:rPr lang="en-US" dirty="0" err="1" smtClean="0"/>
              <a:t>Miksi</a:t>
            </a:r>
            <a:r>
              <a:rPr lang="en-US" dirty="0" smtClean="0"/>
              <a:t> </a:t>
            </a:r>
            <a:r>
              <a:rPr lang="en-US" dirty="0" err="1" smtClean="0"/>
              <a:t>asia</a:t>
            </a:r>
            <a:r>
              <a:rPr lang="en-US" dirty="0" smtClean="0"/>
              <a:t> on </a:t>
            </a:r>
            <a:r>
              <a:rPr lang="en-US" dirty="0" err="1" smtClean="0"/>
              <a:t>niin</a:t>
            </a:r>
            <a:r>
              <a:rPr lang="en-US" dirty="0" smtClean="0"/>
              <a:t> </a:t>
            </a:r>
            <a:r>
              <a:rPr lang="en-US" dirty="0" err="1" smtClean="0"/>
              <a:t>tärkeä</a:t>
            </a:r>
            <a:r>
              <a:rPr lang="en-US" dirty="0" smtClean="0"/>
              <a:t>?</a:t>
            </a:r>
            <a:endParaRPr lang="en-US" dirty="0"/>
          </a:p>
        </p:txBody>
      </p:sp>
      <p:pic>
        <p:nvPicPr>
          <p:cNvPr id="1027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472" y="1196752"/>
            <a:ext cx="4577209" cy="3024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959F084-CBB7-46F4-B45C-C314530327EA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i-FI" smtClean="0">
                <a:solidFill>
                  <a:srgbClr val="0B4499"/>
                </a:solidFill>
              </a:rPr>
              <a:t>Sanna-Mari Myllynen / Nuori Mieli Työssä</a:t>
            </a:r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t>6</a:t>
            </a:fld>
            <a:endParaRPr lang="fi-FI">
              <a:solidFill>
                <a:srgbClr val="0B4499"/>
              </a:solidFill>
            </a:endParaRPr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4595" y="1484784"/>
            <a:ext cx="4661753" cy="4653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344" y="4437112"/>
            <a:ext cx="4917764" cy="2143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ounded Rectangle 9"/>
          <p:cNvSpPr/>
          <p:nvPr/>
        </p:nvSpPr>
        <p:spPr>
          <a:xfrm>
            <a:off x="2855640" y="2204865"/>
            <a:ext cx="6624736" cy="3414518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b="1" i="1" dirty="0" smtClean="0"/>
              <a:t>S-ryhmän </a:t>
            </a:r>
            <a:r>
              <a:rPr lang="en-US" sz="3200" b="1" i="1" dirty="0" err="1" smtClean="0"/>
              <a:t>työntekijöistä</a:t>
            </a:r>
            <a:r>
              <a:rPr lang="en-US" sz="3200" b="1" i="1" dirty="0" smtClean="0"/>
              <a:t> </a:t>
            </a:r>
            <a:r>
              <a:rPr lang="en-US" sz="3200" b="1" i="1" dirty="0" err="1" smtClean="0"/>
              <a:t>noin</a:t>
            </a:r>
            <a:r>
              <a:rPr lang="en-US" sz="3200" b="1" i="1" dirty="0" smtClean="0"/>
              <a:t> 25% on </a:t>
            </a:r>
            <a:r>
              <a:rPr lang="en-US" sz="3200" b="1" i="1" dirty="0" err="1" smtClean="0"/>
              <a:t>alle</a:t>
            </a:r>
            <a:r>
              <a:rPr lang="en-US" sz="3200" b="1" i="1" dirty="0" smtClean="0"/>
              <a:t> 25- </a:t>
            </a:r>
            <a:r>
              <a:rPr lang="en-US" sz="3200" b="1" i="1" dirty="0" err="1" smtClean="0"/>
              <a:t>vuotiaita</a:t>
            </a:r>
            <a:endParaRPr lang="en-US" sz="3200" b="1" i="1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b="1" i="1" dirty="0" err="1" smtClean="0"/>
              <a:t>Noin</a:t>
            </a:r>
            <a:r>
              <a:rPr lang="en-US" sz="3200" b="1" i="1" dirty="0" smtClean="0"/>
              <a:t> 10 000 </a:t>
            </a:r>
            <a:r>
              <a:rPr lang="en-US" sz="3200" b="1" i="1" dirty="0" err="1" smtClean="0"/>
              <a:t>työntekijää</a:t>
            </a:r>
            <a:endParaRPr lang="en-US" sz="3200" b="1" i="1" dirty="0"/>
          </a:p>
        </p:txBody>
      </p:sp>
    </p:spTree>
    <p:extLst>
      <p:ext uri="{BB962C8B-B14F-4D97-AF65-F5344CB8AC3E}">
        <p14:creationId xmlns:p14="http://schemas.microsoft.com/office/powerpoint/2010/main" val="17252244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623392" y="188640"/>
            <a:ext cx="10873208" cy="1584176"/>
          </a:xfrm>
        </p:spPr>
        <p:txBody>
          <a:bodyPr/>
          <a:lstStyle/>
          <a:p>
            <a:r>
              <a:rPr lang="fi-FI" sz="3600" dirty="0" smtClean="0"/>
              <a:t>Useamman saman tavoitteen eteen </a:t>
            </a:r>
            <a:br>
              <a:rPr lang="fi-FI" sz="3600" dirty="0" smtClean="0"/>
            </a:br>
            <a:r>
              <a:rPr lang="fi-FI" sz="3600" dirty="0" smtClean="0"/>
              <a:t>työskentelevän organisaation yhteishanke</a:t>
            </a:r>
            <a:endParaRPr lang="fi-FI" sz="3600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551384" y="1700808"/>
            <a:ext cx="10657383" cy="496855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/>
              <a:t>S-ryhmän alueosuuskaupa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 smtClean="0"/>
              <a:t>SOK-yhtymä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 smtClean="0"/>
              <a:t>Eläkevakuutusyhtiö El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/>
              <a:t>Työterveyslaitos (</a:t>
            </a:r>
            <a:r>
              <a:rPr lang="fi-FI" dirty="0" err="1"/>
              <a:t>Combo-hanke</a:t>
            </a:r>
            <a:r>
              <a:rPr lang="fi-FI" dirty="0"/>
              <a:t>) </a:t>
            </a:r>
            <a:endParaRPr lang="fi-FI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/>
              <a:t>Suomen ammatillisen koulutuksen kulttuuri- ja urheiluliitto (SAKU ry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/>
              <a:t>Suomen mielenterveysseur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/>
              <a:t>PA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 err="1" smtClean="0"/>
              <a:t>Opteam</a:t>
            </a:r>
            <a:r>
              <a:rPr lang="fi-FI" dirty="0" smtClean="0"/>
              <a:t> </a:t>
            </a:r>
            <a:endParaRPr lang="fi-FI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/>
              <a:t>Työelämä </a:t>
            </a:r>
            <a:r>
              <a:rPr lang="fi-FI" dirty="0" smtClean="0"/>
              <a:t>2020-ohjelm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 smtClean="0"/>
              <a:t>Terveystalo</a:t>
            </a:r>
            <a:endParaRPr lang="fi-FI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dirty="0" smtClean="0"/>
              <a:t>Muut projektien tuottamiseen liittyvät tahot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78805-0818-4546-8219-6CCAD9656868}" type="datetime1">
              <a:rPr lang="fi-FI" smtClean="0">
                <a:solidFill>
                  <a:srgbClr val="0B4499"/>
                </a:solidFill>
              </a:rPr>
              <a:t>28.2.201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991544" y="6597352"/>
            <a:ext cx="5185171" cy="144611"/>
          </a:xfrm>
        </p:spPr>
        <p:txBody>
          <a:bodyPr/>
          <a:lstStyle/>
          <a:p>
            <a:r>
              <a:rPr lang="fi-FI" dirty="0" smtClean="0">
                <a:solidFill>
                  <a:srgbClr val="0B4499"/>
                </a:solidFill>
              </a:rPr>
              <a:t>Sanna-Mari Myllynen / Nuori Mieli Työssä</a:t>
            </a:r>
            <a:endParaRPr lang="fi-FI" dirty="0">
              <a:solidFill>
                <a:srgbClr val="0B4499"/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t>7</a:t>
            </a:fld>
            <a:endParaRPr lang="fi-FI">
              <a:solidFill>
                <a:srgbClr val="0B44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4928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376" y="260648"/>
            <a:ext cx="11377264" cy="769437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sz="4000" dirty="0" err="1"/>
              <a:t>O</a:t>
            </a:r>
            <a:r>
              <a:rPr lang="en-US" sz="4000" dirty="0" err="1" smtClean="0"/>
              <a:t>hjausryhmä</a:t>
            </a:r>
            <a:r>
              <a:rPr lang="en-US" sz="4000" dirty="0" smtClean="0"/>
              <a:t> ja </a:t>
            </a:r>
            <a:r>
              <a:rPr lang="en-US" sz="4000" dirty="0" err="1" smtClean="0"/>
              <a:t>projektit</a:t>
            </a:r>
            <a:endParaRPr lang="en-US" sz="40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t>8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623392" y="1795467"/>
            <a:ext cx="2952328" cy="4032448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 err="1" smtClean="0"/>
              <a:t>Ohjausryhmä</a:t>
            </a:r>
            <a:endParaRPr lang="en-US" sz="2800" dirty="0"/>
          </a:p>
        </p:txBody>
      </p:sp>
      <p:sp>
        <p:nvSpPr>
          <p:cNvPr id="9" name="Rounded Rectangle 8"/>
          <p:cNvSpPr/>
          <p:nvPr/>
        </p:nvSpPr>
        <p:spPr>
          <a:xfrm>
            <a:off x="5381898" y="1795467"/>
            <a:ext cx="5400600" cy="72008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err="1" smtClean="0"/>
              <a:t>Nuorten</a:t>
            </a:r>
            <a:r>
              <a:rPr lang="en-US" sz="2400" dirty="0" smtClean="0"/>
              <a:t> </a:t>
            </a:r>
            <a:r>
              <a:rPr lang="en-US" sz="2400" dirty="0" err="1" smtClean="0"/>
              <a:t>työelämäodotusten</a:t>
            </a:r>
            <a:r>
              <a:rPr lang="en-US" sz="2400" dirty="0" smtClean="0"/>
              <a:t> </a:t>
            </a:r>
            <a:r>
              <a:rPr lang="en-US" sz="2400" dirty="0" err="1" smtClean="0"/>
              <a:t>selvitys</a:t>
            </a:r>
            <a:r>
              <a:rPr lang="en-US" sz="2400" dirty="0" smtClean="0"/>
              <a:t> </a:t>
            </a:r>
            <a:endParaRPr lang="en-US" sz="2400" dirty="0"/>
          </a:p>
        </p:txBody>
      </p:sp>
      <p:sp>
        <p:nvSpPr>
          <p:cNvPr id="10" name="Rounded Rectangle 9"/>
          <p:cNvSpPr/>
          <p:nvPr/>
        </p:nvSpPr>
        <p:spPr>
          <a:xfrm>
            <a:off x="5375920" y="2780928"/>
            <a:ext cx="5400600" cy="72008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err="1" smtClean="0"/>
              <a:t>Työkykykypassi-työkalu</a:t>
            </a:r>
            <a:endParaRPr lang="en-US" sz="2400" dirty="0"/>
          </a:p>
        </p:txBody>
      </p:sp>
      <p:sp>
        <p:nvSpPr>
          <p:cNvPr id="11" name="Rounded Rectangle 10"/>
          <p:cNvSpPr/>
          <p:nvPr/>
        </p:nvSpPr>
        <p:spPr>
          <a:xfrm>
            <a:off x="5378909" y="4636797"/>
            <a:ext cx="5400600" cy="72008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err="1" smtClean="0"/>
              <a:t>Nuoren</a:t>
            </a:r>
            <a:r>
              <a:rPr lang="en-US" sz="2400" dirty="0" smtClean="0"/>
              <a:t> </a:t>
            </a:r>
            <a:r>
              <a:rPr lang="en-US" sz="2400" dirty="0" err="1" smtClean="0"/>
              <a:t>mielenterveyden</a:t>
            </a:r>
            <a:r>
              <a:rPr lang="en-US" sz="2400" dirty="0" smtClean="0"/>
              <a:t> </a:t>
            </a:r>
            <a:r>
              <a:rPr lang="en-US" sz="2400" dirty="0" err="1" smtClean="0"/>
              <a:t>tukityökalut</a:t>
            </a:r>
            <a:endParaRPr lang="en-US" sz="2400" dirty="0"/>
          </a:p>
        </p:txBody>
      </p:sp>
      <p:sp>
        <p:nvSpPr>
          <p:cNvPr id="12" name="Rounded Rectangle 11"/>
          <p:cNvSpPr/>
          <p:nvPr/>
        </p:nvSpPr>
        <p:spPr>
          <a:xfrm>
            <a:off x="2956248" y="5445224"/>
            <a:ext cx="2448272" cy="936104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err="1" smtClean="0"/>
              <a:t>Kummijohtoryhmä</a:t>
            </a:r>
            <a:endParaRPr lang="en-US" sz="2000" dirty="0"/>
          </a:p>
        </p:txBody>
      </p:sp>
      <p:sp>
        <p:nvSpPr>
          <p:cNvPr id="15" name="Left-Right Arrow 14"/>
          <p:cNvSpPr/>
          <p:nvPr/>
        </p:nvSpPr>
        <p:spPr>
          <a:xfrm>
            <a:off x="3626155" y="3365504"/>
            <a:ext cx="1656184" cy="648072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ed Rectangle 12"/>
          <p:cNvSpPr/>
          <p:nvPr/>
        </p:nvSpPr>
        <p:spPr>
          <a:xfrm>
            <a:off x="5409531" y="3667675"/>
            <a:ext cx="5400600" cy="72008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err="1" smtClean="0"/>
              <a:t>Työpaikka</a:t>
            </a:r>
            <a:r>
              <a:rPr lang="en-US" sz="2400" dirty="0" smtClean="0"/>
              <a:t>/</a:t>
            </a:r>
            <a:r>
              <a:rPr lang="en-US" sz="2400" dirty="0" err="1" smtClean="0"/>
              <a:t>elämäluotsi</a:t>
            </a:r>
            <a:r>
              <a:rPr lang="en-US" sz="2400" dirty="0" smtClean="0"/>
              <a:t> - </a:t>
            </a:r>
            <a:r>
              <a:rPr lang="en-US" sz="2400" dirty="0" err="1" smtClean="0"/>
              <a:t>työote</a:t>
            </a:r>
            <a:endParaRPr lang="en-US" sz="2400" dirty="0"/>
          </a:p>
        </p:txBody>
      </p:sp>
      <p:sp>
        <p:nvSpPr>
          <p:cNvPr id="3" name="Rounded Rectangle 2"/>
          <p:cNvSpPr/>
          <p:nvPr/>
        </p:nvSpPr>
        <p:spPr>
          <a:xfrm>
            <a:off x="10560496" y="1628800"/>
            <a:ext cx="1484535" cy="88674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Työterveyslaitos</a:t>
            </a:r>
            <a:r>
              <a:rPr lang="en-US" sz="1400" dirty="0" smtClean="0"/>
              <a:t>, </a:t>
            </a:r>
            <a:r>
              <a:rPr lang="en-US" sz="1400" dirty="0" err="1" smtClean="0"/>
              <a:t>Elo</a:t>
            </a:r>
            <a:r>
              <a:rPr lang="en-US" sz="1400" dirty="0" smtClean="0"/>
              <a:t> ja S-</a:t>
            </a:r>
            <a:r>
              <a:rPr lang="en-US" sz="1400" dirty="0" err="1" smtClean="0"/>
              <a:t>ryhmä</a:t>
            </a:r>
            <a:endParaRPr lang="en-US" sz="1400" dirty="0"/>
          </a:p>
        </p:txBody>
      </p:sp>
      <p:sp>
        <p:nvSpPr>
          <p:cNvPr id="14" name="Rounded Rectangle 13"/>
          <p:cNvSpPr/>
          <p:nvPr/>
        </p:nvSpPr>
        <p:spPr>
          <a:xfrm>
            <a:off x="10560496" y="2614261"/>
            <a:ext cx="1501028" cy="88674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Työterveyslaitos</a:t>
            </a:r>
            <a:r>
              <a:rPr lang="en-US" sz="1400" dirty="0"/>
              <a:t> </a:t>
            </a:r>
            <a:r>
              <a:rPr lang="en-US" sz="1400" dirty="0" smtClean="0"/>
              <a:t>ja SAKU ry</a:t>
            </a:r>
            <a:endParaRPr lang="en-US" sz="1400" dirty="0"/>
          </a:p>
        </p:txBody>
      </p:sp>
      <p:sp>
        <p:nvSpPr>
          <p:cNvPr id="16" name="Rounded Rectangle 15"/>
          <p:cNvSpPr/>
          <p:nvPr/>
        </p:nvSpPr>
        <p:spPr>
          <a:xfrm>
            <a:off x="10560496" y="4486469"/>
            <a:ext cx="1484535" cy="88674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Suomen</a:t>
            </a:r>
            <a:r>
              <a:rPr lang="en-US" sz="1400" dirty="0" smtClean="0"/>
              <a:t> </a:t>
            </a:r>
            <a:r>
              <a:rPr lang="en-US" sz="1400" dirty="0" err="1" smtClean="0"/>
              <a:t>mielenterveysseura</a:t>
            </a:r>
            <a:r>
              <a:rPr lang="en-US" sz="1400" dirty="0" smtClean="0"/>
              <a:t> ja </a:t>
            </a:r>
            <a:r>
              <a:rPr lang="en-US" sz="1400" dirty="0" err="1" smtClean="0"/>
              <a:t>Terveystalo</a:t>
            </a:r>
            <a:endParaRPr lang="en-US" sz="1400" dirty="0"/>
          </a:p>
        </p:txBody>
      </p:sp>
      <p:sp>
        <p:nvSpPr>
          <p:cNvPr id="17" name="Rounded Rectangle 16"/>
          <p:cNvSpPr/>
          <p:nvPr/>
        </p:nvSpPr>
        <p:spPr>
          <a:xfrm>
            <a:off x="10560496" y="3573016"/>
            <a:ext cx="1512168" cy="88674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/>
              <a:t>Työterveyslaitos</a:t>
            </a:r>
            <a:r>
              <a:rPr lang="en-US" sz="1400" dirty="0"/>
              <a:t> </a:t>
            </a:r>
            <a:r>
              <a:rPr lang="en-US" sz="1400" dirty="0" smtClean="0"/>
              <a:t>ja SAKU ry</a:t>
            </a:r>
          </a:p>
        </p:txBody>
      </p:sp>
    </p:spTree>
    <p:extLst>
      <p:ext uri="{BB962C8B-B14F-4D97-AF65-F5344CB8AC3E}">
        <p14:creationId xmlns:p14="http://schemas.microsoft.com/office/powerpoint/2010/main" val="1193867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767010" y="72008"/>
            <a:ext cx="10513566" cy="980728"/>
          </a:xfrm>
        </p:spPr>
        <p:txBody>
          <a:bodyPr>
            <a:noAutofit/>
          </a:bodyPr>
          <a:lstStyle/>
          <a:p>
            <a:r>
              <a:rPr lang="fi-FI" sz="3200" dirty="0" smtClean="0"/>
              <a:t>Nuoret </a:t>
            </a:r>
            <a:r>
              <a:rPr lang="fi-FI" sz="3200" dirty="0" err="1" smtClean="0"/>
              <a:t>osallistetaan</a:t>
            </a:r>
            <a:r>
              <a:rPr lang="fi-FI" sz="3200" dirty="0" smtClean="0"/>
              <a:t> mukaan kaikkien työkalujen kehittämiseen!</a:t>
            </a:r>
            <a:endParaRPr lang="fi-FI" sz="3200" dirty="0"/>
          </a:p>
        </p:txBody>
      </p:sp>
      <p:graphicFrame>
        <p:nvGraphicFramePr>
          <p:cNvPr id="8" name="Sisällön paikkamerkki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23934733"/>
              </p:ext>
            </p:extLst>
          </p:nvPr>
        </p:nvGraphicFramePr>
        <p:xfrm>
          <a:off x="839416" y="1008112"/>
          <a:ext cx="10801399" cy="58052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t>9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fi-FI" sz="2400" dirty="0" smtClean="0"/>
              <a:t> </a:t>
            </a:r>
            <a:endParaRPr lang="fi-FI" sz="2400" dirty="0"/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0551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ok_malli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on1" id="{F9DE5375-E56C-4CF9-88D5-7C1D13D103FC}" vid="{F7C38664-D49B-4851-887E-1026FBF3CCD4}"/>
    </a:ext>
  </a:extLst>
</a:theme>
</file>

<file path=ppt/theme/theme10.xml><?xml version="1.0" encoding="utf-8"?>
<a:theme xmlns:a="http://schemas.openxmlformats.org/drawingml/2006/main" name="SOK - käyttötavara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on1" id="{F9DE5375-E56C-4CF9-88D5-7C1D13D103FC}" vid="{F7C38664-D49B-4851-887E-1026FBF3CCD4}"/>
    </a:ext>
  </a:extLst>
</a:theme>
</file>

<file path=ppt/theme/theme11.xml><?xml version="1.0" encoding="utf-8"?>
<a:theme xmlns:a="http://schemas.openxmlformats.org/drawingml/2006/main" name="SOK - päivittäistavara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on1" id="{F9DE5375-E56C-4CF9-88D5-7C1D13D103FC}" vid="{F7C38664-D49B-4851-887E-1026FBF3CCD4}"/>
    </a:ext>
  </a:extLst>
</a:theme>
</file>

<file path=ppt/theme/theme12.xml><?xml version="1.0" encoding="utf-8"?>
<a:theme xmlns:a="http://schemas.openxmlformats.org/drawingml/2006/main" name="1_TOMILLE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on1" id="{F9DE5375-E56C-4CF9-88D5-7C1D13D103FC}" vid="{F7C38664-D49B-4851-887E-1026FBF3CCD4}"/>
    </a:ext>
  </a:extLst>
</a:theme>
</file>

<file path=ppt/theme/theme13.xml><?xml version="1.0" encoding="utf-8"?>
<a:theme xmlns:a="http://schemas.openxmlformats.org/drawingml/2006/main" name="1_SOK - HR-palvelut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on1" id="{F9DE5375-E56C-4CF9-88D5-7C1D13D103FC}" vid="{F7C38664-D49B-4851-887E-1026FBF3CCD4}"/>
    </a:ext>
  </a:extLst>
</a:theme>
</file>

<file path=ppt/theme/theme14.xml><?xml version="1.0" encoding="utf-8"?>
<a:theme xmlns:a="http://schemas.openxmlformats.org/drawingml/2006/main" name="2_SOK - HR-palvelut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on1" id="{F9DE5375-E56C-4CF9-88D5-7C1D13D103FC}" vid="{F7C38664-D49B-4851-887E-1026FBF3CCD4}"/>
    </a:ext>
  </a:extLst>
</a:theme>
</file>

<file path=ppt/theme/theme15.xml><?xml version="1.0" encoding="utf-8"?>
<a:theme xmlns:a="http://schemas.openxmlformats.org/drawingml/2006/main" name="NMT PPT pohja v.3 (1)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Esitys2" id="{0ED0A433-68E1-6C42-A23A-EAC70C31A090}" vid="{804B0454-FD04-DF46-93D9-A2170B6706CF}"/>
    </a:ext>
  </a:extLst>
</a:theme>
</file>

<file path=ppt/theme/theme16.xml><?xml version="1.0" encoding="utf-8"?>
<a:theme xmlns:a="http://schemas.openxmlformats.org/drawingml/2006/main" name="sok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on1" id="{F9DE5375-E56C-4CF9-88D5-7C1D13D103FC}" vid="{F7C38664-D49B-4851-887E-1026FBF3CCD4}"/>
    </a:ext>
  </a:extLst>
</a:theme>
</file>

<file path=ppt/theme/theme17.xml><?xml version="1.0" encoding="utf-8"?>
<a:theme xmlns:a="http://schemas.openxmlformats.org/drawingml/2006/main" name="1_sok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on1" id="{F9DE5375-E56C-4CF9-88D5-7C1D13D103FC}" vid="{F7C38664-D49B-4851-887E-1026FBF3CCD4}"/>
    </a:ext>
  </a:extLst>
</a:theme>
</file>

<file path=ppt/theme/theme18.xml><?xml version="1.0" encoding="utf-8"?>
<a:theme xmlns:a="http://schemas.openxmlformats.org/drawingml/2006/main" name="1_NMT PPT pohja v.3 (1)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Esitys2" id="{0ED0A433-68E1-6C42-A23A-EAC70C31A090}" vid="{804B0454-FD04-DF46-93D9-A2170B6706CF}"/>
    </a:ext>
  </a:extLst>
</a:theme>
</file>

<file path=ppt/theme/theme19.xml><?xml version="1.0" encoding="utf-8"?>
<a:theme xmlns:a="http://schemas.openxmlformats.org/drawingml/2006/main" name="diapohja">
  <a:themeElements>
    <a:clrScheme name="SOK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95C11F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on1" id="{F9DE5375-E56C-4CF9-88D5-7C1D13D103FC}" vid="{F7C38664-D49B-4851-887E-1026FBF3CCD4}"/>
    </a:ext>
  </a:extLst>
</a:theme>
</file>

<file path=ppt/theme/theme2.xml><?xml version="1.0" encoding="utf-8"?>
<a:theme xmlns:a="http://schemas.openxmlformats.org/drawingml/2006/main" name="SOK - HR-palvelut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on1" id="{F9DE5375-E56C-4CF9-88D5-7C1D13D103FC}" vid="{F7C38664-D49B-4851-887E-1026FBF3CCD4}"/>
    </a:ext>
  </a:extLst>
</a:theme>
</file>

<file path=ppt/theme/theme20.xml><?xml version="1.0" encoding="utf-8"?>
<a:theme xmlns:a="http://schemas.openxmlformats.org/drawingml/2006/main" name="4_SOK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on1" id="{F9DE5375-E56C-4CF9-88D5-7C1D13D103FC}" vid="{F7C38664-D49B-4851-887E-1026FBF3CCD4}"/>
    </a:ext>
  </a:extLst>
</a:theme>
</file>

<file path=ppt/theme/theme21.xml><?xml version="1.0" encoding="utf-8"?>
<a:theme xmlns:a="http://schemas.openxmlformats.org/drawingml/2006/main" name="3_SOK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on1" id="{F9DE5375-E56C-4CF9-88D5-7C1D13D103FC}" vid="{F7C38664-D49B-4851-887E-1026FBF3CCD4}"/>
    </a:ext>
  </a:extLst>
</a:theme>
</file>

<file path=ppt/theme/theme22.xml><?xml version="1.0" encoding="utf-8"?>
<a:theme xmlns:a="http://schemas.openxmlformats.org/drawingml/2006/main" name="2_SOK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on1" id="{F9DE5375-E56C-4CF9-88D5-7C1D13D103FC}" vid="{F7C38664-D49B-4851-887E-1026FBF3CCD4}"/>
    </a:ext>
  </a:extLst>
</a:theme>
</file>

<file path=ppt/theme/theme23.xml><?xml version="1.0" encoding="utf-8"?>
<a:theme xmlns:a="http://schemas.openxmlformats.org/drawingml/2006/main" name="Office Theme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Office Theme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OK - hotelliliiketoiminta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on1" id="{F9DE5375-E56C-4CF9-88D5-7C1D13D103FC}" vid="{F7C38664-D49B-4851-887E-1026FBF3CCD4}"/>
    </a:ext>
  </a:extLst>
</a:theme>
</file>

<file path=ppt/theme/theme4.xml><?xml version="1.0" encoding="utf-8"?>
<a:theme xmlns:a="http://schemas.openxmlformats.org/drawingml/2006/main" name="SOK - erikoisliikekauppa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on1" id="{F9DE5375-E56C-4CF9-88D5-7C1D13D103FC}" vid="{F7C38664-D49B-4851-887E-1026FBF3CCD4}"/>
    </a:ext>
  </a:extLst>
</a:theme>
</file>

<file path=ppt/theme/theme5.xml><?xml version="1.0" encoding="utf-8"?>
<a:theme xmlns:a="http://schemas.openxmlformats.org/drawingml/2006/main" name="SOK - ravitsemiskauppa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on1" id="{F9DE5375-E56C-4CF9-88D5-7C1D13D103FC}" vid="{F7C38664-D49B-4851-887E-1026FBF3CCD4}"/>
    </a:ext>
  </a:extLst>
</a:theme>
</file>

<file path=ppt/theme/theme6.xml><?xml version="1.0" encoding="utf-8"?>
<a:theme xmlns:a="http://schemas.openxmlformats.org/drawingml/2006/main" name="SOK - polttonestekauppa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on1" id="{F9DE5375-E56C-4CF9-88D5-7C1D13D103FC}" vid="{F7C38664-D49B-4851-887E-1026FBF3CCD4}"/>
    </a:ext>
  </a:extLst>
</a:theme>
</file>

<file path=ppt/theme/theme7.xml><?xml version="1.0" encoding="utf-8"?>
<a:theme xmlns:a="http://schemas.openxmlformats.org/drawingml/2006/main" name="SOK - marketkauppa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on1" id="{F9DE5375-E56C-4CF9-88D5-7C1D13D103FC}" vid="{F7C38664-D49B-4851-887E-1026FBF3CCD4}"/>
    </a:ext>
  </a:extLst>
</a:theme>
</file>

<file path=ppt/theme/theme8.xml><?xml version="1.0" encoding="utf-8"?>
<a:theme xmlns:a="http://schemas.openxmlformats.org/drawingml/2006/main" name="SOK - tuulivoima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on1" id="{F9DE5375-E56C-4CF9-88D5-7C1D13D103FC}" vid="{F7C38664-D49B-4851-887E-1026FBF3CCD4}"/>
    </a:ext>
  </a:extLst>
</a:theme>
</file>

<file path=ppt/theme/theme9.xml><?xml version="1.0" encoding="utf-8"?>
<a:theme xmlns:a="http://schemas.openxmlformats.org/drawingml/2006/main" name="SOK - s-mobiili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on1" id="{F9DE5375-E56C-4CF9-88D5-7C1D13D103FC}" vid="{F7C38664-D49B-4851-887E-1026FBF3CCD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ok_malli</Template>
  <TotalTime>13350</TotalTime>
  <Words>554</Words>
  <Application>Microsoft Office PowerPoint</Application>
  <PresentationFormat>Custom</PresentationFormat>
  <Paragraphs>154</Paragraphs>
  <Slides>18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2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41" baseType="lpstr">
      <vt:lpstr>sok_malli</vt:lpstr>
      <vt:lpstr>SOK - HR-palvelut</vt:lpstr>
      <vt:lpstr>SOK - hotelliliiketoiminta</vt:lpstr>
      <vt:lpstr>SOK - erikoisliikekauppa</vt:lpstr>
      <vt:lpstr>SOK - ravitsemiskauppa</vt:lpstr>
      <vt:lpstr>SOK - polttonestekauppa</vt:lpstr>
      <vt:lpstr>SOK - marketkauppa</vt:lpstr>
      <vt:lpstr>SOK - tuulivoima</vt:lpstr>
      <vt:lpstr>SOK - s-mobiili</vt:lpstr>
      <vt:lpstr>SOK - käyttötavara</vt:lpstr>
      <vt:lpstr>SOK - päivittäistavara</vt:lpstr>
      <vt:lpstr>1_TOMILLE</vt:lpstr>
      <vt:lpstr>1_SOK - HR-palvelut</vt:lpstr>
      <vt:lpstr>2_SOK - HR-palvelut</vt:lpstr>
      <vt:lpstr>NMT PPT pohja v.3 (1)</vt:lpstr>
      <vt:lpstr>sok</vt:lpstr>
      <vt:lpstr>1_sok</vt:lpstr>
      <vt:lpstr>1_NMT PPT pohja v.3 (1)</vt:lpstr>
      <vt:lpstr>diapohja</vt:lpstr>
      <vt:lpstr>4_SOK</vt:lpstr>
      <vt:lpstr>3_SOK</vt:lpstr>
      <vt:lpstr>2_SOK</vt:lpstr>
      <vt:lpstr>think-cell Slide</vt:lpstr>
      <vt:lpstr>Nuori Mieli Työssä</vt:lpstr>
      <vt:lpstr>Nuori Mieli Työssä- ohjelma tavoittelee nuorten työelämän hyvää alkua</vt:lpstr>
      <vt:lpstr>Nuori Mieli Työssä -ohjelman osa-alueet</vt:lpstr>
      <vt:lpstr>Nuori Mieli Työssä- ohjelman tavoitteet:</vt:lpstr>
      <vt:lpstr>Suuri suomalainen työllistäjä  </vt:lpstr>
      <vt:lpstr>Miksi asia on niin tärkeä?</vt:lpstr>
      <vt:lpstr>Useamman saman tavoitteen eteen  työskentelevän organisaation yhteishanke</vt:lpstr>
      <vt:lpstr> Ohjausryhmä ja projektit</vt:lpstr>
      <vt:lpstr>Nuoret osallistetaan mukaan kaikkien työkalujen kehittämiseen!</vt:lpstr>
      <vt:lpstr>PowerPoint Presentation</vt:lpstr>
      <vt:lpstr>Nuori Mieli Työssä –ohjelma kuuluu S-ryhmän strategian painopistealueisiin  Onnistunut asiakaskohtaaminen sekä  Osuustoiminta ja vastuullisuus</vt:lpstr>
      <vt:lpstr>S-ryhmän strategia 2017</vt:lpstr>
      <vt:lpstr>Pysyvä painopiste:  Onnistunut asiakaskohtaaminen</vt:lpstr>
      <vt:lpstr>Onnistunut asiakaskohtaaminen</vt:lpstr>
      <vt:lpstr>Pysyvä painopiste:  Osuustoiminta ja vastuullisuus</vt:lpstr>
      <vt:lpstr>PowerPoint Presentation</vt:lpstr>
      <vt:lpstr>PowerPoint Presentation</vt:lpstr>
      <vt:lpstr>PowerPoint Presentation</vt:lpstr>
    </vt:vector>
  </TitlesOfParts>
  <Company>S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-ryhmä PowerPoint template</dc:title>
  <dc:creator>Hämäläinen Marja, Jollas Instituutti</dc:creator>
  <cp:lastModifiedBy>Myllynen Sanna-Mari, SOK Henkilöstötoiminnot</cp:lastModifiedBy>
  <cp:revision>325</cp:revision>
  <cp:lastPrinted>2017-08-30T05:22:06Z</cp:lastPrinted>
  <dcterms:created xsi:type="dcterms:W3CDTF">2016-08-17T12:38:22Z</dcterms:created>
  <dcterms:modified xsi:type="dcterms:W3CDTF">2018-02-28T11:54:03Z</dcterms:modified>
</cp:coreProperties>
</file>